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notesSlides/notesSlide15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6.xml" ContentType="application/vnd.openxmlformats-officedocument.presentationml.notesSlide+xml"/>
  <Override PartName="/ppt/tags/tag116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20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21.xml" ContentType="application/vnd.openxmlformats-officedocument.presentationml.notesSlide+xml"/>
  <Override PartName="/ppt/tags/tag121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22.xml" ContentType="application/vnd.openxmlformats-officedocument.presentationml.tags+xml"/>
  <Override PartName="/ppt/notesSlides/notesSlide23.xml" ContentType="application/vnd.openxmlformats-officedocument.presentationml.notesSlide+xml"/>
  <Override PartName="/ppt/tags/tag123.xml" ContentType="application/vnd.openxmlformats-officedocument.presentationml.tags+xml"/>
  <Override PartName="/ppt/notesSlides/notesSlide24.xml" ContentType="application/vnd.openxmlformats-officedocument.presentationml.notesSlide+xml"/>
  <Override PartName="/ppt/tags/tag124.xml" ContentType="application/vnd.openxmlformats-officedocument.presentationml.tags+xml"/>
  <Override PartName="/ppt/notesSlides/notesSlide25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bookmarkIdSeed="2">
  <p:sldMasterIdLst>
    <p:sldMasterId id="2147483665" r:id="rId4"/>
    <p:sldMasterId id="2147483673" r:id="rId5"/>
  </p:sldMasterIdLst>
  <p:notesMasterIdLst>
    <p:notesMasterId r:id="rId40"/>
  </p:notesMasterIdLst>
  <p:handoutMasterIdLst>
    <p:handoutMasterId r:id="rId41"/>
  </p:handoutMasterIdLst>
  <p:sldIdLst>
    <p:sldId id="946" r:id="rId6"/>
    <p:sldId id="1373" r:id="rId7"/>
    <p:sldId id="984" r:id="rId8"/>
    <p:sldId id="960" r:id="rId9"/>
    <p:sldId id="1377" r:id="rId10"/>
    <p:sldId id="1378" r:id="rId11"/>
    <p:sldId id="1457" r:id="rId12"/>
    <p:sldId id="1396" r:id="rId13"/>
    <p:sldId id="854" r:id="rId14"/>
    <p:sldId id="961" r:id="rId15"/>
    <p:sldId id="1463" r:id="rId16"/>
    <p:sldId id="1460" r:id="rId17"/>
    <p:sldId id="962" r:id="rId18"/>
    <p:sldId id="1382" r:id="rId19"/>
    <p:sldId id="1384" r:id="rId20"/>
    <p:sldId id="1379" r:id="rId21"/>
    <p:sldId id="1418" r:id="rId22"/>
    <p:sldId id="1403" r:id="rId23"/>
    <p:sldId id="963" r:id="rId24"/>
    <p:sldId id="1477" r:id="rId25"/>
    <p:sldId id="1507" r:id="rId26"/>
    <p:sldId id="1385" r:id="rId27"/>
    <p:sldId id="1480" r:id="rId28"/>
    <p:sldId id="1481" r:id="rId29"/>
    <p:sldId id="1482" r:id="rId30"/>
    <p:sldId id="1484" r:id="rId31"/>
    <p:sldId id="966" r:id="rId32"/>
    <p:sldId id="2448" r:id="rId33"/>
    <p:sldId id="2449" r:id="rId34"/>
    <p:sldId id="2431" r:id="rId35"/>
    <p:sldId id="2432" r:id="rId36"/>
    <p:sldId id="948" r:id="rId37"/>
    <p:sldId id="270" r:id="rId38"/>
    <p:sldId id="974" r:id="rId39"/>
  </p:sldIdLst>
  <p:sldSz cx="8961438" cy="6721475"/>
  <p:notesSz cx="6797675" cy="9874250"/>
  <p:custDataLst>
    <p:tags r:id="rId4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4" userDrawn="1">
          <p15:clr>
            <a:srgbClr val="A4A3A4"/>
          </p15:clr>
        </p15:guide>
        <p15:guide id="2" pos="28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eganarayanan Muthuk" initials="M" lastIdx="1" clrIdx="0"/>
  <p:cmAuthor id="7" name="Juliana Zimmerman" initials="JZ [4]" lastIdx="1" clrIdx="7">
    <p:extLst/>
  </p:cmAuthor>
  <p:cmAuthor id="1" name="Vladimir Pinheiro Ponczek" initials="VPP" lastIdx="2" clrIdx="1"/>
  <p:cmAuthor id="8" name="Juliana Zimmerman" initials="JZ [5]" lastIdx="1" clrIdx="8">
    <p:extLst/>
  </p:cmAuthor>
  <p:cmAuthor id="2" name="Sandro Castro" initials="SC" lastIdx="1" clrIdx="2">
    <p:extLst/>
  </p:cmAuthor>
  <p:cmAuthor id="3" name="ISG" initials="I" lastIdx="1" clrIdx="3">
    <p:extLst/>
  </p:cmAuthor>
  <p:cmAuthor id="4" name="Juliana Zimmerman" initials="JZ" lastIdx="1" clrIdx="4">
    <p:extLst/>
  </p:cmAuthor>
  <p:cmAuthor id="5" name="Juliana Zimmerman" initials="JZ [2]" lastIdx="1" clrIdx="5">
    <p:extLst/>
  </p:cmAuthor>
  <p:cmAuthor id="6" name="Juliana Zimmerman" initials="JZ [3]" lastIdx="1" clrIdx="6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64AD"/>
    <a:srgbClr val="FFFFFF"/>
    <a:srgbClr val="4AA5F1"/>
    <a:srgbClr val="FDB82B"/>
    <a:srgbClr val="009999"/>
    <a:srgbClr val="169396"/>
    <a:srgbClr val="FEC450"/>
    <a:srgbClr val="0F76CB"/>
    <a:srgbClr val="B9DA7B"/>
    <a:srgbClr val="8F8F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2DE63D5-997A-4646-A377-4702673A728D}" styleName="Estilo Claro 2 - Ênfas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Estilo Claro 2 - Ênfase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660B408-B3CF-4A94-85FC-2B1E0A45F4A2}" styleName="Estilo Escuro 2 - Ênfase 1/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3" autoAdjust="0"/>
    <p:restoredTop sz="94394" autoAdjust="0"/>
  </p:normalViewPr>
  <p:slideViewPr>
    <p:cSldViewPr snapToGrid="0" snapToObjects="1">
      <p:cViewPr varScale="1">
        <p:scale>
          <a:sx n="112" d="100"/>
          <a:sy n="112" d="100"/>
        </p:scale>
        <p:origin x="1746" y="120"/>
      </p:cViewPr>
      <p:guideLst>
        <p:guide orient="horz" pos="4234"/>
        <p:guide pos="2845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3066"/>
    </p:cViewPr>
  </p:sorterViewPr>
  <p:notesViewPr>
    <p:cSldViewPr snapToGrid="0" snapToObjects="1">
      <p:cViewPr varScale="1">
        <p:scale>
          <a:sx n="83" d="100"/>
          <a:sy n="83" d="100"/>
        </p:scale>
        <p:origin x="-3930" y="-7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commentAuthors" Target="commentAuthors.xml"/><Relationship Id="rId48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ro Castro" userId="03ba5519-d089-40e7-938d-8049513b74a5" providerId="ADAL" clId="{35D273BF-E7C7-4EEF-8D77-E132CA39AAB6}"/>
    <pc:docChg chg="custSel modSld">
      <pc:chgData name="Sandro Castro" userId="03ba5519-d089-40e7-938d-8049513b74a5" providerId="ADAL" clId="{35D273BF-E7C7-4EEF-8D77-E132CA39AAB6}" dt="2018-12-11T19:32:00.651" v="170" actId="1036"/>
      <pc:docMkLst>
        <pc:docMk/>
      </pc:docMkLst>
      <pc:sldChg chg="addSp modSp">
        <pc:chgData name="Sandro Castro" userId="03ba5519-d089-40e7-938d-8049513b74a5" providerId="ADAL" clId="{35D273BF-E7C7-4EEF-8D77-E132CA39AAB6}" dt="2018-12-11T19:31:53.786" v="159" actId="1035"/>
        <pc:sldMkLst>
          <pc:docMk/>
          <pc:sldMk cId="1230402188" sldId="966"/>
        </pc:sldMkLst>
        <pc:spChg chg="mod">
          <ac:chgData name="Sandro Castro" userId="03ba5519-d089-40e7-938d-8049513b74a5" providerId="ADAL" clId="{35D273BF-E7C7-4EEF-8D77-E132CA39AAB6}" dt="2018-12-11T19:31:48.380" v="110" actId="20577"/>
          <ac:spMkLst>
            <pc:docMk/>
            <pc:sldMk cId="1230402188" sldId="966"/>
            <ac:spMk id="2" creationId="{00000000-0000-0000-0000-000000000000}"/>
          </ac:spMkLst>
        </pc:spChg>
        <pc:spChg chg="mod">
          <ac:chgData name="Sandro Castro" userId="03ba5519-d089-40e7-938d-8049513b74a5" providerId="ADAL" clId="{35D273BF-E7C7-4EEF-8D77-E132CA39AAB6}" dt="2018-12-11T19:31:48.977" v="151" actId="6549"/>
          <ac:spMkLst>
            <pc:docMk/>
            <pc:sldMk cId="1230402188" sldId="966"/>
            <ac:spMk id="4" creationId="{6F7EF71B-5543-481E-9E58-EAB33B4B4F26}"/>
          </ac:spMkLst>
        </pc:spChg>
        <pc:spChg chg="add mod">
          <ac:chgData name="Sandro Castro" userId="03ba5519-d089-40e7-938d-8049513b74a5" providerId="ADAL" clId="{35D273BF-E7C7-4EEF-8D77-E132CA39AAB6}" dt="2018-12-11T19:31:53.786" v="159" actId="1035"/>
          <ac:spMkLst>
            <pc:docMk/>
            <pc:sldMk cId="1230402188" sldId="966"/>
            <ac:spMk id="22" creationId="{51227F77-17E2-40FC-8BFF-7E09CD58E45E}"/>
          </ac:spMkLst>
        </pc:spChg>
        <pc:graphicFrameChg chg="mod">
          <ac:chgData name="Sandro Castro" userId="03ba5519-d089-40e7-938d-8049513b74a5" providerId="ADAL" clId="{35D273BF-E7C7-4EEF-8D77-E132CA39AAB6}" dt="2018-12-11T19:31:48.987" v="153" actId="1035"/>
          <ac:graphicFrameMkLst>
            <pc:docMk/>
            <pc:sldMk cId="1230402188" sldId="966"/>
            <ac:graphicFrameMk id="5" creationId="{AAA00162-1703-4314-8880-541FFA5DA8CB}"/>
          </ac:graphicFrameMkLst>
        </pc:graphicFrameChg>
        <pc:cxnChg chg="add mod">
          <ac:chgData name="Sandro Castro" userId="03ba5519-d089-40e7-938d-8049513b74a5" providerId="ADAL" clId="{35D273BF-E7C7-4EEF-8D77-E132CA39AAB6}" dt="2018-12-11T19:31:53.786" v="159" actId="1035"/>
          <ac:cxnSpMkLst>
            <pc:docMk/>
            <pc:sldMk cId="1230402188" sldId="966"/>
            <ac:cxnSpMk id="21" creationId="{8BEFB122-85AE-4E54-9078-C7CA42075777}"/>
          </ac:cxnSpMkLst>
        </pc:cxnChg>
        <pc:cxnChg chg="add mod">
          <ac:chgData name="Sandro Castro" userId="03ba5519-d089-40e7-938d-8049513b74a5" providerId="ADAL" clId="{35D273BF-E7C7-4EEF-8D77-E132CA39AAB6}" dt="2018-12-11T19:31:53.786" v="159" actId="1035"/>
          <ac:cxnSpMkLst>
            <pc:docMk/>
            <pc:sldMk cId="1230402188" sldId="966"/>
            <ac:cxnSpMk id="23" creationId="{56C903E9-9F89-48CF-8914-3057D550CB25}"/>
          </ac:cxnSpMkLst>
        </pc:cxnChg>
      </pc:sldChg>
      <pc:sldChg chg="addSp modSp">
        <pc:chgData name="Sandro Castro" userId="03ba5519-d089-40e7-938d-8049513b74a5" providerId="ADAL" clId="{35D273BF-E7C7-4EEF-8D77-E132CA39AAB6}" dt="2018-12-11T19:31:33.057" v="108" actId="1036"/>
        <pc:sldMkLst>
          <pc:docMk/>
          <pc:sldMk cId="3856224692" sldId="2431"/>
        </pc:sldMkLst>
        <pc:spChg chg="mod">
          <ac:chgData name="Sandro Castro" userId="03ba5519-d089-40e7-938d-8049513b74a5" providerId="ADAL" clId="{35D273BF-E7C7-4EEF-8D77-E132CA39AAB6}" dt="2018-12-11T19:31:32.050" v="107" actId="1076"/>
          <ac:spMkLst>
            <pc:docMk/>
            <pc:sldMk cId="3856224692" sldId="2431"/>
            <ac:spMk id="12" creationId="{42636301-5D24-4223-A772-5FF223073CF9}"/>
          </ac:spMkLst>
        </pc:spChg>
        <pc:grpChg chg="add">
          <ac:chgData name="Sandro Castro" userId="03ba5519-d089-40e7-938d-8049513b74a5" providerId="ADAL" clId="{35D273BF-E7C7-4EEF-8D77-E132CA39AAB6}" dt="2018-12-11T19:31:33.057" v="108" actId="1036"/>
          <ac:grpSpMkLst>
            <pc:docMk/>
            <pc:sldMk cId="3856224692" sldId="2431"/>
            <ac:grpSpMk id="15" creationId="{5A982207-E6C1-486C-AE5D-93D1C99CB8A5}"/>
          </ac:grpSpMkLst>
        </pc:grpChg>
      </pc:sldChg>
      <pc:sldChg chg="addSp">
        <pc:chgData name="Sandro Castro" userId="03ba5519-d089-40e7-938d-8049513b74a5" providerId="ADAL" clId="{35D273BF-E7C7-4EEF-8D77-E132CA39AAB6}" dt="2018-12-11T19:31:36.702" v="109" actId="1036"/>
        <pc:sldMkLst>
          <pc:docMk/>
          <pc:sldMk cId="3765220458" sldId="2432"/>
        </pc:sldMkLst>
        <pc:grpChg chg="add">
          <ac:chgData name="Sandro Castro" userId="03ba5519-d089-40e7-938d-8049513b74a5" providerId="ADAL" clId="{35D273BF-E7C7-4EEF-8D77-E132CA39AAB6}" dt="2018-12-11T19:31:36.702" v="109" actId="1036"/>
          <ac:grpSpMkLst>
            <pc:docMk/>
            <pc:sldMk cId="3765220458" sldId="2432"/>
            <ac:grpSpMk id="8" creationId="{5F5349D2-F786-47E0-A8B2-1C34AA0B9A29}"/>
          </ac:grpSpMkLst>
        </pc:grpChg>
      </pc:sldChg>
      <pc:sldChg chg="addSp modSp">
        <pc:chgData name="Sandro Castro" userId="03ba5519-d089-40e7-938d-8049513b74a5" providerId="ADAL" clId="{35D273BF-E7C7-4EEF-8D77-E132CA39AAB6}" dt="2018-12-11T19:32:00.651" v="170" actId="1036"/>
        <pc:sldMkLst>
          <pc:docMk/>
          <pc:sldMk cId="3650627232" sldId="2448"/>
        </pc:sldMkLst>
        <pc:spChg chg="mod">
          <ac:chgData name="Sandro Castro" userId="03ba5519-d089-40e7-938d-8049513b74a5" providerId="ADAL" clId="{35D273BF-E7C7-4EEF-8D77-E132CA39AAB6}" dt="2018-12-11T19:31:18.760" v="104" actId="1076"/>
          <ac:spMkLst>
            <pc:docMk/>
            <pc:sldMk cId="3650627232" sldId="2448"/>
            <ac:spMk id="12" creationId="{42636301-5D24-4223-A772-5FF223073CF9}"/>
          </ac:spMkLst>
        </pc:spChg>
        <pc:spChg chg="add mod">
          <ac:chgData name="Sandro Castro" userId="03ba5519-d089-40e7-938d-8049513b74a5" providerId="ADAL" clId="{35D273BF-E7C7-4EEF-8D77-E132CA39AAB6}" dt="2018-12-11T19:31:15.505" v="103" actId="164"/>
          <ac:spMkLst>
            <pc:docMk/>
            <pc:sldMk cId="3650627232" sldId="2448"/>
            <ac:spMk id="21" creationId="{12C63B44-5615-432F-A107-DF39B982A140}"/>
          </ac:spMkLst>
        </pc:spChg>
        <pc:grpChg chg="add mod">
          <ac:chgData name="Sandro Castro" userId="03ba5519-d089-40e7-938d-8049513b74a5" providerId="ADAL" clId="{35D273BF-E7C7-4EEF-8D77-E132CA39AAB6}" dt="2018-12-11T19:32:00.651" v="170" actId="1036"/>
          <ac:grpSpMkLst>
            <pc:docMk/>
            <pc:sldMk cId="3650627232" sldId="2448"/>
            <ac:grpSpMk id="3" creationId="{A5CCCC3F-D9DF-4336-B97B-31641CFC3799}"/>
          </ac:grpSpMkLst>
        </pc:grpChg>
        <pc:cxnChg chg="add mod">
          <ac:chgData name="Sandro Castro" userId="03ba5519-d089-40e7-938d-8049513b74a5" providerId="ADAL" clId="{35D273BF-E7C7-4EEF-8D77-E132CA39AAB6}" dt="2018-12-11T19:31:15.505" v="103" actId="164"/>
          <ac:cxnSpMkLst>
            <pc:docMk/>
            <pc:sldMk cId="3650627232" sldId="2448"/>
            <ac:cxnSpMk id="19" creationId="{BF8B5512-353C-4926-A202-8F66A2F30B99}"/>
          </ac:cxnSpMkLst>
        </pc:cxnChg>
        <pc:cxnChg chg="add mod">
          <ac:chgData name="Sandro Castro" userId="03ba5519-d089-40e7-938d-8049513b74a5" providerId="ADAL" clId="{35D273BF-E7C7-4EEF-8D77-E132CA39AAB6}" dt="2018-12-11T19:31:15.505" v="103" actId="164"/>
          <ac:cxnSpMkLst>
            <pc:docMk/>
            <pc:sldMk cId="3650627232" sldId="2448"/>
            <ac:cxnSpMk id="22" creationId="{7DCF9C99-B5BF-4132-AB99-F6D32F51BEFF}"/>
          </ac:cxnSpMkLst>
        </pc:cxnChg>
      </pc:sldChg>
      <pc:sldChg chg="addSp modSp">
        <pc:chgData name="Sandro Castro" userId="03ba5519-d089-40e7-938d-8049513b74a5" providerId="ADAL" clId="{35D273BF-E7C7-4EEF-8D77-E132CA39AAB6}" dt="2018-12-11T19:31:27.695" v="106" actId="1036"/>
        <pc:sldMkLst>
          <pc:docMk/>
          <pc:sldMk cId="3670050211" sldId="2449"/>
        </pc:sldMkLst>
        <pc:spChg chg="mod">
          <ac:chgData name="Sandro Castro" userId="03ba5519-d089-40e7-938d-8049513b74a5" providerId="ADAL" clId="{35D273BF-E7C7-4EEF-8D77-E132CA39AAB6}" dt="2018-12-11T19:31:26.832" v="105" actId="1076"/>
          <ac:spMkLst>
            <pc:docMk/>
            <pc:sldMk cId="3670050211" sldId="2449"/>
            <ac:spMk id="12" creationId="{42636301-5D24-4223-A772-5FF223073CF9}"/>
          </ac:spMkLst>
        </pc:spChg>
        <pc:grpChg chg="add">
          <ac:chgData name="Sandro Castro" userId="03ba5519-d089-40e7-938d-8049513b74a5" providerId="ADAL" clId="{35D273BF-E7C7-4EEF-8D77-E132CA39AAB6}" dt="2018-12-11T19:31:27.695" v="106" actId="1036"/>
          <ac:grpSpMkLst>
            <pc:docMk/>
            <pc:sldMk cId="3670050211" sldId="2449"/>
            <ac:grpSpMk id="15" creationId="{FE63B5C6-BEF7-4347-9705-C1E4CF366D64}"/>
          </ac:grpSpMkLst>
        </pc:grpChg>
      </pc:sldChg>
    </pc:docChg>
  </pc:docChgLst>
  <pc:docChgLst>
    <pc:chgData name="Sandro Castro" userId="03ba5519-d089-40e7-938d-8049513b74a5" providerId="ADAL" clId="{38BF265E-9868-4FA6-9D0E-24BF708A9375}"/>
    <pc:docChg chg="delSld modSld">
      <pc:chgData name="Sandro Castro" userId="03ba5519-d089-40e7-938d-8049513b74a5" providerId="ADAL" clId="{38BF265E-9868-4FA6-9D0E-24BF708A9375}" dt="2018-12-11T15:02:47.177" v="104" actId="2696"/>
      <pc:docMkLst>
        <pc:docMk/>
      </pc:docMkLst>
      <pc:sldChg chg="del">
        <pc:chgData name="Sandro Castro" userId="03ba5519-d089-40e7-938d-8049513b74a5" providerId="ADAL" clId="{38BF265E-9868-4FA6-9D0E-24BF708A9375}" dt="2018-12-11T15:02:47.177" v="104" actId="2696"/>
        <pc:sldMkLst>
          <pc:docMk/>
          <pc:sldMk cId="770082890" sldId="933"/>
        </pc:sldMkLst>
      </pc:sldChg>
      <pc:sldChg chg="addSp modSp">
        <pc:chgData name="Sandro Castro" userId="03ba5519-d089-40e7-938d-8049513b74a5" providerId="ADAL" clId="{38BF265E-9868-4FA6-9D0E-24BF708A9375}" dt="2018-12-11T15:01:44.424" v="103" actId="6549"/>
        <pc:sldMkLst>
          <pc:docMk/>
          <pc:sldMk cId="3765220458" sldId="2432"/>
        </pc:sldMkLst>
        <pc:spChg chg="add mod">
          <ac:chgData name="Sandro Castro" userId="03ba5519-d089-40e7-938d-8049513b74a5" providerId="ADAL" clId="{38BF265E-9868-4FA6-9D0E-24BF708A9375}" dt="2018-12-11T15:01:44.424" v="103" actId="6549"/>
          <ac:spMkLst>
            <pc:docMk/>
            <pc:sldMk cId="3765220458" sldId="2432"/>
            <ac:spMk id="7" creationId="{E30A53B0-DEBF-4955-B816-C4F98BE80C5B}"/>
          </ac:spMkLst>
        </pc:spChg>
        <pc:spChg chg="mod">
          <ac:chgData name="Sandro Castro" userId="03ba5519-d089-40e7-938d-8049513b74a5" providerId="ADAL" clId="{38BF265E-9868-4FA6-9D0E-24BF708A9375}" dt="2018-12-11T14:59:13.311" v="4" actId="465"/>
          <ac:spMkLst>
            <pc:docMk/>
            <pc:sldMk cId="3765220458" sldId="2432"/>
            <ac:spMk id="15" creationId="{FBA2EA78-D55C-4EC3-88CF-E7375BC5890C}"/>
          </ac:spMkLst>
        </pc:spChg>
        <pc:spChg chg="mod">
          <ac:chgData name="Sandro Castro" userId="03ba5519-d089-40e7-938d-8049513b74a5" providerId="ADAL" clId="{38BF265E-9868-4FA6-9D0E-24BF708A9375}" dt="2018-12-11T14:59:13.311" v="4" actId="465"/>
          <ac:spMkLst>
            <pc:docMk/>
            <pc:sldMk cId="3765220458" sldId="2432"/>
            <ac:spMk id="19" creationId="{240656AF-92D2-4322-B8F5-E55D1A6F8A92}"/>
          </ac:spMkLst>
        </pc:spChg>
        <pc:spChg chg="mod">
          <ac:chgData name="Sandro Castro" userId="03ba5519-d089-40e7-938d-8049513b74a5" providerId="ADAL" clId="{38BF265E-9868-4FA6-9D0E-24BF708A9375}" dt="2018-12-11T14:59:13.311" v="4" actId="465"/>
          <ac:spMkLst>
            <pc:docMk/>
            <pc:sldMk cId="3765220458" sldId="2432"/>
            <ac:spMk id="20" creationId="{1C04EA5D-0596-498D-BC74-7C11DDBA868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aleretech-my.sharepoint.com/personal/natalia_braga_institutosonhogrande_org/Documents/180730_INSE_v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Planilha_do_Microsoft_Excel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894475681878423E-2"/>
          <c:y val="0.11533119658119659"/>
          <c:w val="0.93632538572913815"/>
          <c:h val="0.689509615384615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C$34</c:f>
              <c:strCache>
                <c:ptCount val="1"/>
                <c:pt idx="0">
                  <c:v>Média Ideb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4"/>
                    </a:solidFill>
                    <a:latin typeface="+mj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B$35:$B$39</c:f>
              <c:strCache>
                <c:ptCount val="5"/>
                <c:pt idx="0">
                  <c:v>Parciais</c:v>
                </c:pt>
                <c:pt idx="1">
                  <c:v>Semi-integrais</c:v>
                </c:pt>
                <c:pt idx="2">
                  <c:v>Integrais</c:v>
                </c:pt>
                <c:pt idx="3">
                  <c:v>Integrais Técnicas</c:v>
                </c:pt>
                <c:pt idx="4">
                  <c:v>Privadas</c:v>
                </c:pt>
              </c:strCache>
            </c:strRef>
          </c:cat>
          <c:val>
            <c:numRef>
              <c:f>Planilha1!$C$35:$C$39</c:f>
              <c:numCache>
                <c:formatCode>General</c:formatCode>
                <c:ptCount val="5"/>
                <c:pt idx="0">
                  <c:v>3.8</c:v>
                </c:pt>
                <c:pt idx="1">
                  <c:v>4.2</c:v>
                </c:pt>
                <c:pt idx="2">
                  <c:v>4.5999999999999996</c:v>
                </c:pt>
                <c:pt idx="3">
                  <c:v>5.0999999999999996</c:v>
                </c:pt>
                <c:pt idx="4">
                  <c:v>5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56C-4679-B489-A837ED33FEE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2944024"/>
        <c:axId val="172944416"/>
      </c:barChart>
      <c:catAx>
        <c:axId val="172944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accent4"/>
                </a:solidFill>
                <a:latin typeface="Candara" panose="020E0502030303020204" pitchFamily="34" charset="0"/>
                <a:ea typeface="+mn-ea"/>
                <a:cs typeface="+mn-cs"/>
              </a:defRPr>
            </a:pPr>
            <a:endParaRPr lang="pt-BR"/>
          </a:p>
        </c:txPr>
        <c:crossAx val="172944416"/>
        <c:crosses val="autoZero"/>
        <c:auto val="1"/>
        <c:lblAlgn val="ctr"/>
        <c:lblOffset val="100"/>
        <c:noMultiLvlLbl val="0"/>
      </c:catAx>
      <c:valAx>
        <c:axId val="172944416"/>
        <c:scaling>
          <c:orientation val="minMax"/>
          <c:max val="6"/>
          <c:min val="2.5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7294402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199715586238747E-2"/>
          <c:y val="3.6776279388042302E-2"/>
          <c:w val="0.68517766744252473"/>
          <c:h val="0.79422211365028161"/>
        </c:manualLayout>
      </c:layout>
      <c:scatterChart>
        <c:scatterStyle val="lineMarker"/>
        <c:varyColors val="0"/>
        <c:ser>
          <c:idx val="0"/>
          <c:order val="0"/>
          <c:tx>
            <c:v>Integral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chemeClr val="bg1"/>
                </a:solidFill>
              </a:ln>
              <a:effectLst/>
            </c:spPr>
          </c:marker>
          <c:trendline>
            <c:spPr>
              <a:ln w="38100" cap="rnd">
                <a:solidFill>
                  <a:schemeClr val="bg1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xVal>
            <c:numRef>
              <c:f>'INEPE vs INSE'!$AS$7:$AS$189</c:f>
              <c:numCache>
                <c:formatCode>General</c:formatCode>
                <c:ptCount val="183"/>
                <c:pt idx="0">
                  <c:v>42.65</c:v>
                </c:pt>
                <c:pt idx="1">
                  <c:v>38.130000000000003</c:v>
                </c:pt>
                <c:pt idx="2">
                  <c:v>37.08</c:v>
                </c:pt>
                <c:pt idx="3">
                  <c:v>40.090000000000003</c:v>
                </c:pt>
                <c:pt idx="4">
                  <c:v>43.84</c:v>
                </c:pt>
                <c:pt idx="5">
                  <c:v>44.55</c:v>
                </c:pt>
                <c:pt idx="6">
                  <c:v>40.119999999999997</c:v>
                </c:pt>
                <c:pt idx="7">
                  <c:v>46.1</c:v>
                </c:pt>
                <c:pt idx="8">
                  <c:v>45.58</c:v>
                </c:pt>
                <c:pt idx="9">
                  <c:v>43.01</c:v>
                </c:pt>
                <c:pt idx="10">
                  <c:v>38.51</c:v>
                </c:pt>
                <c:pt idx="11">
                  <c:v>43.63</c:v>
                </c:pt>
                <c:pt idx="12">
                  <c:v>45</c:v>
                </c:pt>
                <c:pt idx="13">
                  <c:v>50.65</c:v>
                </c:pt>
                <c:pt idx="14">
                  <c:v>46.61</c:v>
                </c:pt>
                <c:pt idx="15">
                  <c:v>41.94</c:v>
                </c:pt>
                <c:pt idx="16">
                  <c:v>39.119999999999997</c:v>
                </c:pt>
                <c:pt idx="17">
                  <c:v>40.82</c:v>
                </c:pt>
                <c:pt idx="18">
                  <c:v>42.88</c:v>
                </c:pt>
                <c:pt idx="19">
                  <c:v>40.26</c:v>
                </c:pt>
                <c:pt idx="20">
                  <c:v>39.67</c:v>
                </c:pt>
                <c:pt idx="21">
                  <c:v>34.76</c:v>
                </c:pt>
                <c:pt idx="22">
                  <c:v>44.52</c:v>
                </c:pt>
                <c:pt idx="23">
                  <c:v>45.96</c:v>
                </c:pt>
                <c:pt idx="24">
                  <c:v>44.98</c:v>
                </c:pt>
                <c:pt idx="25">
                  <c:v>48.51</c:v>
                </c:pt>
                <c:pt idx="26">
                  <c:v>44.52</c:v>
                </c:pt>
                <c:pt idx="27">
                  <c:v>40.950000000000003</c:v>
                </c:pt>
                <c:pt idx="28">
                  <c:v>43.67</c:v>
                </c:pt>
                <c:pt idx="29">
                  <c:v>45.77</c:v>
                </c:pt>
                <c:pt idx="30">
                  <c:v>43.38</c:v>
                </c:pt>
                <c:pt idx="31">
                  <c:v>39.68</c:v>
                </c:pt>
                <c:pt idx="32">
                  <c:v>34.29</c:v>
                </c:pt>
                <c:pt idx="33">
                  <c:v>39</c:v>
                </c:pt>
                <c:pt idx="34">
                  <c:v>38.86</c:v>
                </c:pt>
                <c:pt idx="35">
                  <c:v>48.5</c:v>
                </c:pt>
                <c:pt idx="36">
                  <c:v>46.83</c:v>
                </c:pt>
                <c:pt idx="37">
                  <c:v>46.33</c:v>
                </c:pt>
                <c:pt idx="38">
                  <c:v>41.03</c:v>
                </c:pt>
                <c:pt idx="39">
                  <c:v>48.67</c:v>
                </c:pt>
                <c:pt idx="40">
                  <c:v>37.01</c:v>
                </c:pt>
                <c:pt idx="41">
                  <c:v>44.06</c:v>
                </c:pt>
                <c:pt idx="42">
                  <c:v>42.14</c:v>
                </c:pt>
                <c:pt idx="43">
                  <c:v>35.799999999999997</c:v>
                </c:pt>
                <c:pt idx="44">
                  <c:v>43.2</c:v>
                </c:pt>
                <c:pt idx="45">
                  <c:v>40.99</c:v>
                </c:pt>
                <c:pt idx="46">
                  <c:v>37.51</c:v>
                </c:pt>
                <c:pt idx="47">
                  <c:v>42.15</c:v>
                </c:pt>
                <c:pt idx="48">
                  <c:v>40.51</c:v>
                </c:pt>
                <c:pt idx="49">
                  <c:v>36.78</c:v>
                </c:pt>
                <c:pt idx="50">
                  <c:v>39.81</c:v>
                </c:pt>
                <c:pt idx="51">
                  <c:v>40.18</c:v>
                </c:pt>
                <c:pt idx="52">
                  <c:v>43.84</c:v>
                </c:pt>
                <c:pt idx="53">
                  <c:v>39.340000000000003</c:v>
                </c:pt>
                <c:pt idx="54">
                  <c:v>38.64</c:v>
                </c:pt>
                <c:pt idx="55">
                  <c:v>37.840000000000003</c:v>
                </c:pt>
                <c:pt idx="56">
                  <c:v>38.21</c:v>
                </c:pt>
                <c:pt idx="57">
                  <c:v>36.58</c:v>
                </c:pt>
                <c:pt idx="58">
                  <c:v>38.630000000000003</c:v>
                </c:pt>
                <c:pt idx="59">
                  <c:v>39.799999999999997</c:v>
                </c:pt>
                <c:pt idx="60">
                  <c:v>43.99</c:v>
                </c:pt>
                <c:pt idx="61">
                  <c:v>41.09</c:v>
                </c:pt>
                <c:pt idx="62">
                  <c:v>37.21</c:v>
                </c:pt>
                <c:pt idx="63">
                  <c:v>42.18</c:v>
                </c:pt>
                <c:pt idx="64">
                  <c:v>39.159999999999997</c:v>
                </c:pt>
                <c:pt idx="65">
                  <c:v>39.450000000000003</c:v>
                </c:pt>
                <c:pt idx="66">
                  <c:v>35.04</c:v>
                </c:pt>
                <c:pt idx="67">
                  <c:v>33.33</c:v>
                </c:pt>
                <c:pt idx="68">
                  <c:v>40</c:v>
                </c:pt>
                <c:pt idx="69">
                  <c:v>47.83</c:v>
                </c:pt>
                <c:pt idx="70">
                  <c:v>41.23</c:v>
                </c:pt>
                <c:pt idx="71">
                  <c:v>40.549999999999997</c:v>
                </c:pt>
                <c:pt idx="72">
                  <c:v>40.93</c:v>
                </c:pt>
                <c:pt idx="73">
                  <c:v>41.74</c:v>
                </c:pt>
                <c:pt idx="74">
                  <c:v>44.03</c:v>
                </c:pt>
                <c:pt idx="75">
                  <c:v>42.88</c:v>
                </c:pt>
                <c:pt idx="76">
                  <c:v>47.67</c:v>
                </c:pt>
                <c:pt idx="77">
                  <c:v>40.97</c:v>
                </c:pt>
                <c:pt idx="78">
                  <c:v>38.42</c:v>
                </c:pt>
                <c:pt idx="79">
                  <c:v>39.04</c:v>
                </c:pt>
                <c:pt idx="80">
                  <c:v>39.79</c:v>
                </c:pt>
                <c:pt idx="81">
                  <c:v>39.79</c:v>
                </c:pt>
                <c:pt idx="82">
                  <c:v>43.68</c:v>
                </c:pt>
                <c:pt idx="83">
                  <c:v>40.020000000000003</c:v>
                </c:pt>
                <c:pt idx="84">
                  <c:v>42.54</c:v>
                </c:pt>
                <c:pt idx="85">
                  <c:v>43.23</c:v>
                </c:pt>
                <c:pt idx="86">
                  <c:v>47.16</c:v>
                </c:pt>
                <c:pt idx="87">
                  <c:v>44.15</c:v>
                </c:pt>
                <c:pt idx="88">
                  <c:v>44.43</c:v>
                </c:pt>
                <c:pt idx="89">
                  <c:v>41.44</c:v>
                </c:pt>
                <c:pt idx="90">
                  <c:v>42.49</c:v>
                </c:pt>
                <c:pt idx="91">
                  <c:v>41.35</c:v>
                </c:pt>
                <c:pt idx="92">
                  <c:v>39.229999999999997</c:v>
                </c:pt>
                <c:pt idx="93">
                  <c:v>44.73</c:v>
                </c:pt>
                <c:pt idx="94">
                  <c:v>42.76</c:v>
                </c:pt>
                <c:pt idx="95">
                  <c:v>44.66</c:v>
                </c:pt>
                <c:pt idx="96">
                  <c:v>40.53</c:v>
                </c:pt>
                <c:pt idx="97">
                  <c:v>43.84</c:v>
                </c:pt>
                <c:pt idx="98">
                  <c:v>47.23</c:v>
                </c:pt>
                <c:pt idx="99">
                  <c:v>48.13</c:v>
                </c:pt>
                <c:pt idx="100">
                  <c:v>46.27</c:v>
                </c:pt>
                <c:pt idx="101">
                  <c:v>44.76</c:v>
                </c:pt>
                <c:pt idx="102">
                  <c:v>46.18</c:v>
                </c:pt>
                <c:pt idx="103">
                  <c:v>44.87</c:v>
                </c:pt>
                <c:pt idx="104">
                  <c:v>44.72</c:v>
                </c:pt>
                <c:pt idx="105">
                  <c:v>45.13</c:v>
                </c:pt>
                <c:pt idx="106">
                  <c:v>47.38</c:v>
                </c:pt>
                <c:pt idx="107">
                  <c:v>46.01</c:v>
                </c:pt>
                <c:pt idx="108">
                  <c:v>48.42</c:v>
                </c:pt>
                <c:pt idx="109">
                  <c:v>45.5</c:v>
                </c:pt>
                <c:pt idx="110">
                  <c:v>46.4</c:v>
                </c:pt>
                <c:pt idx="111">
                  <c:v>47.68</c:v>
                </c:pt>
                <c:pt idx="112">
                  <c:v>46.04</c:v>
                </c:pt>
                <c:pt idx="113">
                  <c:v>43.47</c:v>
                </c:pt>
                <c:pt idx="114">
                  <c:v>49.79</c:v>
                </c:pt>
                <c:pt idx="115">
                  <c:v>45.37</c:v>
                </c:pt>
                <c:pt idx="116">
                  <c:v>44.38</c:v>
                </c:pt>
                <c:pt idx="117">
                  <c:v>42.86</c:v>
                </c:pt>
                <c:pt idx="118">
                  <c:v>48.8</c:v>
                </c:pt>
                <c:pt idx="119">
                  <c:v>46.72</c:v>
                </c:pt>
                <c:pt idx="120">
                  <c:v>46.44</c:v>
                </c:pt>
                <c:pt idx="121">
                  <c:v>43.16</c:v>
                </c:pt>
                <c:pt idx="122">
                  <c:v>46.9</c:v>
                </c:pt>
                <c:pt idx="123">
                  <c:v>46.41</c:v>
                </c:pt>
                <c:pt idx="124">
                  <c:v>48.47</c:v>
                </c:pt>
                <c:pt idx="125">
                  <c:v>46.28</c:v>
                </c:pt>
                <c:pt idx="126">
                  <c:v>43.95</c:v>
                </c:pt>
                <c:pt idx="127">
                  <c:v>44.87</c:v>
                </c:pt>
                <c:pt idx="128">
                  <c:v>43.46</c:v>
                </c:pt>
                <c:pt idx="129">
                  <c:v>43.22</c:v>
                </c:pt>
                <c:pt idx="130">
                  <c:v>44.11</c:v>
                </c:pt>
                <c:pt idx="131">
                  <c:v>45.62</c:v>
                </c:pt>
                <c:pt idx="132">
                  <c:v>45.05</c:v>
                </c:pt>
                <c:pt idx="133">
                  <c:v>56.14</c:v>
                </c:pt>
                <c:pt idx="134">
                  <c:v>39.950000000000003</c:v>
                </c:pt>
                <c:pt idx="135">
                  <c:v>44.47</c:v>
                </c:pt>
                <c:pt idx="136">
                  <c:v>43.92</c:v>
                </c:pt>
                <c:pt idx="137">
                  <c:v>46.68</c:v>
                </c:pt>
                <c:pt idx="138">
                  <c:v>42.91</c:v>
                </c:pt>
                <c:pt idx="139">
                  <c:v>47.55</c:v>
                </c:pt>
                <c:pt idx="140">
                  <c:v>40.049999999999997</c:v>
                </c:pt>
                <c:pt idx="141">
                  <c:v>38.299999999999997</c:v>
                </c:pt>
                <c:pt idx="142">
                  <c:v>45.16</c:v>
                </c:pt>
                <c:pt idx="143">
                  <c:v>36.86</c:v>
                </c:pt>
                <c:pt idx="144">
                  <c:v>37.770000000000003</c:v>
                </c:pt>
                <c:pt idx="145">
                  <c:v>40.049999999999997</c:v>
                </c:pt>
                <c:pt idx="146">
                  <c:v>41.52</c:v>
                </c:pt>
                <c:pt idx="147">
                  <c:v>47.26</c:v>
                </c:pt>
                <c:pt idx="148">
                  <c:v>46.95</c:v>
                </c:pt>
                <c:pt idx="149">
                  <c:v>42.21</c:v>
                </c:pt>
                <c:pt idx="150">
                  <c:v>44.83</c:v>
                </c:pt>
                <c:pt idx="151">
                  <c:v>40.880000000000003</c:v>
                </c:pt>
                <c:pt idx="152">
                  <c:v>44.87</c:v>
                </c:pt>
                <c:pt idx="153">
                  <c:v>44.65</c:v>
                </c:pt>
                <c:pt idx="154">
                  <c:v>46.16</c:v>
                </c:pt>
                <c:pt idx="155">
                  <c:v>43.6</c:v>
                </c:pt>
                <c:pt idx="156">
                  <c:v>45.12</c:v>
                </c:pt>
                <c:pt idx="157">
                  <c:v>42.42</c:v>
                </c:pt>
                <c:pt idx="158">
                  <c:v>48.79</c:v>
                </c:pt>
                <c:pt idx="159">
                  <c:v>41.16</c:v>
                </c:pt>
                <c:pt idx="160">
                  <c:v>42.1</c:v>
                </c:pt>
                <c:pt idx="161">
                  <c:v>45.77</c:v>
                </c:pt>
                <c:pt idx="162">
                  <c:v>46.14</c:v>
                </c:pt>
                <c:pt idx="163">
                  <c:v>42.95</c:v>
                </c:pt>
                <c:pt idx="164">
                  <c:v>44.93</c:v>
                </c:pt>
                <c:pt idx="165">
                  <c:v>46.3</c:v>
                </c:pt>
                <c:pt idx="166">
                  <c:v>48.53</c:v>
                </c:pt>
                <c:pt idx="167">
                  <c:v>45.37</c:v>
                </c:pt>
                <c:pt idx="168">
                  <c:v>39.99</c:v>
                </c:pt>
                <c:pt idx="169">
                  <c:v>47.01</c:v>
                </c:pt>
                <c:pt idx="170">
                  <c:v>35.880000000000003</c:v>
                </c:pt>
                <c:pt idx="171">
                  <c:v>38.26</c:v>
                </c:pt>
                <c:pt idx="172">
                  <c:v>41.43</c:v>
                </c:pt>
                <c:pt idx="173">
                  <c:v>44.1</c:v>
                </c:pt>
                <c:pt idx="174">
                  <c:v>40.29</c:v>
                </c:pt>
                <c:pt idx="175">
                  <c:v>44.29</c:v>
                </c:pt>
                <c:pt idx="176">
                  <c:v>41.26</c:v>
                </c:pt>
                <c:pt idx="177">
                  <c:v>43.14</c:v>
                </c:pt>
                <c:pt idx="178">
                  <c:v>46.63</c:v>
                </c:pt>
                <c:pt idx="179">
                  <c:v>40.56</c:v>
                </c:pt>
                <c:pt idx="180">
                  <c:v>42.04</c:v>
                </c:pt>
                <c:pt idx="181">
                  <c:v>39.42</c:v>
                </c:pt>
                <c:pt idx="182">
                  <c:v>36.54</c:v>
                </c:pt>
              </c:numCache>
            </c:numRef>
          </c:xVal>
          <c:yVal>
            <c:numRef>
              <c:f>'INEPE vs INSE'!$AT$7:$AT$189</c:f>
              <c:numCache>
                <c:formatCode>General</c:formatCode>
                <c:ptCount val="183"/>
                <c:pt idx="0">
                  <c:v>3.47</c:v>
                </c:pt>
                <c:pt idx="1">
                  <c:v>5.3</c:v>
                </c:pt>
                <c:pt idx="2">
                  <c:v>3.96</c:v>
                </c:pt>
                <c:pt idx="3">
                  <c:v>4.72</c:v>
                </c:pt>
                <c:pt idx="4">
                  <c:v>6</c:v>
                </c:pt>
                <c:pt idx="5">
                  <c:v>2.98</c:v>
                </c:pt>
                <c:pt idx="6">
                  <c:v>5.5</c:v>
                </c:pt>
                <c:pt idx="7">
                  <c:v>4.0199999999999996</c:v>
                </c:pt>
                <c:pt idx="8">
                  <c:v>5.9</c:v>
                </c:pt>
                <c:pt idx="9">
                  <c:v>5.56</c:v>
                </c:pt>
                <c:pt idx="10">
                  <c:v>4.43</c:v>
                </c:pt>
                <c:pt idx="11">
                  <c:v>5.34</c:v>
                </c:pt>
                <c:pt idx="12">
                  <c:v>5.57</c:v>
                </c:pt>
                <c:pt idx="13">
                  <c:v>3.78</c:v>
                </c:pt>
                <c:pt idx="14">
                  <c:v>4.2</c:v>
                </c:pt>
                <c:pt idx="15">
                  <c:v>5.79</c:v>
                </c:pt>
                <c:pt idx="16">
                  <c:v>4.3600000000000003</c:v>
                </c:pt>
                <c:pt idx="17">
                  <c:v>4.7300000000000004</c:v>
                </c:pt>
                <c:pt idx="18">
                  <c:v>4.99</c:v>
                </c:pt>
                <c:pt idx="19">
                  <c:v>4.9000000000000004</c:v>
                </c:pt>
                <c:pt idx="20">
                  <c:v>5.09</c:v>
                </c:pt>
                <c:pt idx="21">
                  <c:v>4.51</c:v>
                </c:pt>
                <c:pt idx="22">
                  <c:v>4.2</c:v>
                </c:pt>
                <c:pt idx="23">
                  <c:v>3.58</c:v>
                </c:pt>
                <c:pt idx="24">
                  <c:v>4.57</c:v>
                </c:pt>
                <c:pt idx="25">
                  <c:v>3.73</c:v>
                </c:pt>
                <c:pt idx="26">
                  <c:v>3.18</c:v>
                </c:pt>
                <c:pt idx="27">
                  <c:v>5.14</c:v>
                </c:pt>
                <c:pt idx="28">
                  <c:v>5.4</c:v>
                </c:pt>
                <c:pt idx="29">
                  <c:v>3.39</c:v>
                </c:pt>
                <c:pt idx="30">
                  <c:v>5.24</c:v>
                </c:pt>
                <c:pt idx="31">
                  <c:v>5.22</c:v>
                </c:pt>
                <c:pt idx="32">
                  <c:v>4.72</c:v>
                </c:pt>
                <c:pt idx="33">
                  <c:v>4.24</c:v>
                </c:pt>
                <c:pt idx="34">
                  <c:v>3.69</c:v>
                </c:pt>
                <c:pt idx="35">
                  <c:v>3.53</c:v>
                </c:pt>
                <c:pt idx="36">
                  <c:v>5.33</c:v>
                </c:pt>
                <c:pt idx="37">
                  <c:v>5.68</c:v>
                </c:pt>
                <c:pt idx="38">
                  <c:v>4.07</c:v>
                </c:pt>
                <c:pt idx="39">
                  <c:v>3.21</c:v>
                </c:pt>
                <c:pt idx="40">
                  <c:v>4.8</c:v>
                </c:pt>
                <c:pt idx="41">
                  <c:v>5.17</c:v>
                </c:pt>
                <c:pt idx="42">
                  <c:v>5.16</c:v>
                </c:pt>
                <c:pt idx="43">
                  <c:v>4.8600000000000003</c:v>
                </c:pt>
                <c:pt idx="44">
                  <c:v>5.0199999999999996</c:v>
                </c:pt>
                <c:pt idx="45">
                  <c:v>5.34</c:v>
                </c:pt>
                <c:pt idx="46">
                  <c:v>5.51</c:v>
                </c:pt>
                <c:pt idx="47">
                  <c:v>4.78</c:v>
                </c:pt>
                <c:pt idx="48">
                  <c:v>4.5999999999999996</c:v>
                </c:pt>
                <c:pt idx="49">
                  <c:v>4.74</c:v>
                </c:pt>
                <c:pt idx="50">
                  <c:v>5.43</c:v>
                </c:pt>
                <c:pt idx="51">
                  <c:v>5.45</c:v>
                </c:pt>
                <c:pt idx="52">
                  <c:v>4.59</c:v>
                </c:pt>
                <c:pt idx="53">
                  <c:v>5.58</c:v>
                </c:pt>
                <c:pt idx="54">
                  <c:v>7.98</c:v>
                </c:pt>
                <c:pt idx="55">
                  <c:v>4.63</c:v>
                </c:pt>
                <c:pt idx="56">
                  <c:v>4.3</c:v>
                </c:pt>
                <c:pt idx="57">
                  <c:v>4.67</c:v>
                </c:pt>
                <c:pt idx="58">
                  <c:v>5.05</c:v>
                </c:pt>
                <c:pt idx="59">
                  <c:v>4.33</c:v>
                </c:pt>
                <c:pt idx="60">
                  <c:v>4.3600000000000003</c:v>
                </c:pt>
                <c:pt idx="61">
                  <c:v>4.96</c:v>
                </c:pt>
                <c:pt idx="62">
                  <c:v>3.84</c:v>
                </c:pt>
                <c:pt idx="63">
                  <c:v>4.92</c:v>
                </c:pt>
                <c:pt idx="64">
                  <c:v>5.56</c:v>
                </c:pt>
                <c:pt idx="65">
                  <c:v>5.08</c:v>
                </c:pt>
                <c:pt idx="66">
                  <c:v>4.78</c:v>
                </c:pt>
                <c:pt idx="67">
                  <c:v>4.32</c:v>
                </c:pt>
                <c:pt idx="68">
                  <c:v>4.09</c:v>
                </c:pt>
                <c:pt idx="69">
                  <c:v>3.52</c:v>
                </c:pt>
                <c:pt idx="70">
                  <c:v>5.07</c:v>
                </c:pt>
                <c:pt idx="71">
                  <c:v>4.6900000000000004</c:v>
                </c:pt>
                <c:pt idx="72">
                  <c:v>4.28</c:v>
                </c:pt>
                <c:pt idx="73">
                  <c:v>4.84</c:v>
                </c:pt>
                <c:pt idx="74">
                  <c:v>3.11</c:v>
                </c:pt>
                <c:pt idx="75">
                  <c:v>6.18</c:v>
                </c:pt>
                <c:pt idx="76">
                  <c:v>3.45</c:v>
                </c:pt>
                <c:pt idx="77">
                  <c:v>3.71</c:v>
                </c:pt>
                <c:pt idx="78">
                  <c:v>5.0599999999999996</c:v>
                </c:pt>
                <c:pt idx="79">
                  <c:v>4.3099999999999996</c:v>
                </c:pt>
                <c:pt idx="80">
                  <c:v>4.3</c:v>
                </c:pt>
                <c:pt idx="81">
                  <c:v>5.04</c:v>
                </c:pt>
                <c:pt idx="82">
                  <c:v>2.95</c:v>
                </c:pt>
                <c:pt idx="83">
                  <c:v>4.62</c:v>
                </c:pt>
                <c:pt idx="84">
                  <c:v>4.45</c:v>
                </c:pt>
                <c:pt idx="85">
                  <c:v>5.23</c:v>
                </c:pt>
                <c:pt idx="86">
                  <c:v>5.26</c:v>
                </c:pt>
                <c:pt idx="87">
                  <c:v>4.99</c:v>
                </c:pt>
                <c:pt idx="88">
                  <c:v>3.42</c:v>
                </c:pt>
                <c:pt idx="89">
                  <c:v>4.68</c:v>
                </c:pt>
                <c:pt idx="90">
                  <c:v>4.43</c:v>
                </c:pt>
                <c:pt idx="91">
                  <c:v>4.08</c:v>
                </c:pt>
                <c:pt idx="92">
                  <c:v>4.5199999999999996</c:v>
                </c:pt>
                <c:pt idx="93">
                  <c:v>4.1900000000000004</c:v>
                </c:pt>
                <c:pt idx="94">
                  <c:v>3.39</c:v>
                </c:pt>
                <c:pt idx="95">
                  <c:v>3.99</c:v>
                </c:pt>
                <c:pt idx="96">
                  <c:v>3.4</c:v>
                </c:pt>
                <c:pt idx="97">
                  <c:v>4.43</c:v>
                </c:pt>
                <c:pt idx="98">
                  <c:v>3.17</c:v>
                </c:pt>
                <c:pt idx="99">
                  <c:v>5.5</c:v>
                </c:pt>
                <c:pt idx="100">
                  <c:v>4.3099999999999996</c:v>
                </c:pt>
                <c:pt idx="101">
                  <c:v>3.05</c:v>
                </c:pt>
                <c:pt idx="102">
                  <c:v>3.66</c:v>
                </c:pt>
                <c:pt idx="103">
                  <c:v>4.0599999999999996</c:v>
                </c:pt>
                <c:pt idx="104">
                  <c:v>3.39</c:v>
                </c:pt>
                <c:pt idx="105">
                  <c:v>4.68</c:v>
                </c:pt>
                <c:pt idx="106">
                  <c:v>3.51</c:v>
                </c:pt>
                <c:pt idx="107">
                  <c:v>4.6900000000000004</c:v>
                </c:pt>
                <c:pt idx="108">
                  <c:v>4.1399999999999997</c:v>
                </c:pt>
                <c:pt idx="109">
                  <c:v>4.74</c:v>
                </c:pt>
                <c:pt idx="110">
                  <c:v>4.05</c:v>
                </c:pt>
                <c:pt idx="111">
                  <c:v>5.3</c:v>
                </c:pt>
                <c:pt idx="112">
                  <c:v>4.2</c:v>
                </c:pt>
                <c:pt idx="113">
                  <c:v>4.9800000000000004</c:v>
                </c:pt>
                <c:pt idx="114">
                  <c:v>6.04</c:v>
                </c:pt>
                <c:pt idx="115">
                  <c:v>4.6900000000000004</c:v>
                </c:pt>
                <c:pt idx="116">
                  <c:v>3.75</c:v>
                </c:pt>
                <c:pt idx="117">
                  <c:v>3.82</c:v>
                </c:pt>
                <c:pt idx="118">
                  <c:v>4.1500000000000004</c:v>
                </c:pt>
                <c:pt idx="119">
                  <c:v>4.78</c:v>
                </c:pt>
                <c:pt idx="120">
                  <c:v>3.91</c:v>
                </c:pt>
                <c:pt idx="121">
                  <c:v>4.2300000000000004</c:v>
                </c:pt>
                <c:pt idx="122">
                  <c:v>3.39</c:v>
                </c:pt>
                <c:pt idx="123">
                  <c:v>4.97</c:v>
                </c:pt>
                <c:pt idx="124">
                  <c:v>4.6900000000000004</c:v>
                </c:pt>
                <c:pt idx="125">
                  <c:v>5.24</c:v>
                </c:pt>
                <c:pt idx="126">
                  <c:v>4.38</c:v>
                </c:pt>
                <c:pt idx="127">
                  <c:v>4.95</c:v>
                </c:pt>
                <c:pt idx="128">
                  <c:v>5.49</c:v>
                </c:pt>
                <c:pt idx="129">
                  <c:v>4.59</c:v>
                </c:pt>
                <c:pt idx="130">
                  <c:v>3.83</c:v>
                </c:pt>
                <c:pt idx="131">
                  <c:v>5.5</c:v>
                </c:pt>
                <c:pt idx="132">
                  <c:v>3.67</c:v>
                </c:pt>
                <c:pt idx="133">
                  <c:v>4.29</c:v>
                </c:pt>
                <c:pt idx="134">
                  <c:v>5.88</c:v>
                </c:pt>
                <c:pt idx="135">
                  <c:v>5.8</c:v>
                </c:pt>
                <c:pt idx="136">
                  <c:v>3.83</c:v>
                </c:pt>
                <c:pt idx="137">
                  <c:v>4.0999999999999996</c:v>
                </c:pt>
                <c:pt idx="138">
                  <c:v>4.12</c:v>
                </c:pt>
                <c:pt idx="139">
                  <c:v>3.37</c:v>
                </c:pt>
                <c:pt idx="140">
                  <c:v>5.4</c:v>
                </c:pt>
                <c:pt idx="141">
                  <c:v>4.83</c:v>
                </c:pt>
                <c:pt idx="142">
                  <c:v>4.79</c:v>
                </c:pt>
                <c:pt idx="143">
                  <c:v>5.08</c:v>
                </c:pt>
                <c:pt idx="144">
                  <c:v>5.38</c:v>
                </c:pt>
                <c:pt idx="145">
                  <c:v>4.79</c:v>
                </c:pt>
                <c:pt idx="146">
                  <c:v>4.8</c:v>
                </c:pt>
                <c:pt idx="147">
                  <c:v>5.83</c:v>
                </c:pt>
                <c:pt idx="148">
                  <c:v>4.67</c:v>
                </c:pt>
                <c:pt idx="149">
                  <c:v>6.05</c:v>
                </c:pt>
                <c:pt idx="150">
                  <c:v>5.22</c:v>
                </c:pt>
                <c:pt idx="151">
                  <c:v>4.93</c:v>
                </c:pt>
                <c:pt idx="152">
                  <c:v>5.21</c:v>
                </c:pt>
                <c:pt idx="153">
                  <c:v>3.13</c:v>
                </c:pt>
                <c:pt idx="154">
                  <c:v>5.12</c:v>
                </c:pt>
                <c:pt idx="155">
                  <c:v>5.85</c:v>
                </c:pt>
                <c:pt idx="156">
                  <c:v>5.82</c:v>
                </c:pt>
                <c:pt idx="157">
                  <c:v>4.5599999999999996</c:v>
                </c:pt>
                <c:pt idx="158">
                  <c:v>5.97</c:v>
                </c:pt>
                <c:pt idx="159">
                  <c:v>4.8</c:v>
                </c:pt>
                <c:pt idx="160">
                  <c:v>5.42</c:v>
                </c:pt>
                <c:pt idx="161">
                  <c:v>4.6399999999999997</c:v>
                </c:pt>
                <c:pt idx="162">
                  <c:v>5.07</c:v>
                </c:pt>
                <c:pt idx="163">
                  <c:v>4.55</c:v>
                </c:pt>
                <c:pt idx="164">
                  <c:v>5.05</c:v>
                </c:pt>
                <c:pt idx="165">
                  <c:v>5.58</c:v>
                </c:pt>
                <c:pt idx="166">
                  <c:v>5.23</c:v>
                </c:pt>
                <c:pt idx="167">
                  <c:v>5.47</c:v>
                </c:pt>
                <c:pt idx="168">
                  <c:v>4.6100000000000003</c:v>
                </c:pt>
                <c:pt idx="169">
                  <c:v>5.38</c:v>
                </c:pt>
                <c:pt idx="170">
                  <c:v>4.53</c:v>
                </c:pt>
                <c:pt idx="171">
                  <c:v>4</c:v>
                </c:pt>
                <c:pt idx="172">
                  <c:v>5.7</c:v>
                </c:pt>
                <c:pt idx="173">
                  <c:v>5.46</c:v>
                </c:pt>
                <c:pt idx="174">
                  <c:v>4.59</c:v>
                </c:pt>
                <c:pt idx="175">
                  <c:v>4.8</c:v>
                </c:pt>
                <c:pt idx="176">
                  <c:v>5.29</c:v>
                </c:pt>
                <c:pt idx="177">
                  <c:v>5.29</c:v>
                </c:pt>
                <c:pt idx="178">
                  <c:v>4.8899999999999997</c:v>
                </c:pt>
                <c:pt idx="179">
                  <c:v>5.38</c:v>
                </c:pt>
                <c:pt idx="180">
                  <c:v>4.34</c:v>
                </c:pt>
                <c:pt idx="181">
                  <c:v>4.5599999999999996</c:v>
                </c:pt>
                <c:pt idx="182">
                  <c:v>4.25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17A-4484-ADD2-A2622859FB74}"/>
            </c:ext>
          </c:extLst>
        </c:ser>
        <c:ser>
          <c:idx val="1"/>
          <c:order val="1"/>
          <c:tx>
            <c:v>Semi-integral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rgbClr val="FD7F7F"/>
                </a:solidFill>
              </a:ln>
              <a:effectLst/>
            </c:spPr>
          </c:marker>
          <c:trendline>
            <c:spPr>
              <a:ln w="47625" cap="rnd">
                <a:solidFill>
                  <a:srgbClr val="FD7F7F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xVal>
            <c:numRef>
              <c:f>'INEPE vs INSE'!$AU$7:$AU$148</c:f>
              <c:numCache>
                <c:formatCode>General</c:formatCode>
                <c:ptCount val="142"/>
                <c:pt idx="0">
                  <c:v>38.83</c:v>
                </c:pt>
                <c:pt idx="1">
                  <c:v>41.22</c:v>
                </c:pt>
                <c:pt idx="2">
                  <c:v>37.520000000000003</c:v>
                </c:pt>
                <c:pt idx="3">
                  <c:v>44</c:v>
                </c:pt>
                <c:pt idx="4">
                  <c:v>38.75</c:v>
                </c:pt>
                <c:pt idx="5">
                  <c:v>40.340000000000003</c:v>
                </c:pt>
                <c:pt idx="6">
                  <c:v>38.46</c:v>
                </c:pt>
                <c:pt idx="7">
                  <c:v>38.68</c:v>
                </c:pt>
                <c:pt idx="8">
                  <c:v>40.08</c:v>
                </c:pt>
                <c:pt idx="9">
                  <c:v>37.72</c:v>
                </c:pt>
                <c:pt idx="10">
                  <c:v>37.43</c:v>
                </c:pt>
                <c:pt idx="11">
                  <c:v>44.47</c:v>
                </c:pt>
                <c:pt idx="12">
                  <c:v>36.020000000000003</c:v>
                </c:pt>
                <c:pt idx="13">
                  <c:v>43.7</c:v>
                </c:pt>
                <c:pt idx="14">
                  <c:v>42.8</c:v>
                </c:pt>
                <c:pt idx="15">
                  <c:v>45.22</c:v>
                </c:pt>
                <c:pt idx="16">
                  <c:v>47.66</c:v>
                </c:pt>
                <c:pt idx="17">
                  <c:v>44.91</c:v>
                </c:pt>
                <c:pt idx="18">
                  <c:v>45.44</c:v>
                </c:pt>
                <c:pt idx="19">
                  <c:v>46.87</c:v>
                </c:pt>
                <c:pt idx="20">
                  <c:v>44.28</c:v>
                </c:pt>
                <c:pt idx="21">
                  <c:v>45.78</c:v>
                </c:pt>
                <c:pt idx="22">
                  <c:v>43.82</c:v>
                </c:pt>
                <c:pt idx="23">
                  <c:v>41.24</c:v>
                </c:pt>
                <c:pt idx="24">
                  <c:v>41.25</c:v>
                </c:pt>
                <c:pt idx="25">
                  <c:v>36.409999999999997</c:v>
                </c:pt>
                <c:pt idx="26">
                  <c:v>40.92</c:v>
                </c:pt>
                <c:pt idx="27">
                  <c:v>38.69</c:v>
                </c:pt>
                <c:pt idx="28">
                  <c:v>37.200000000000003</c:v>
                </c:pt>
                <c:pt idx="29">
                  <c:v>39.840000000000003</c:v>
                </c:pt>
                <c:pt idx="30">
                  <c:v>46.69</c:v>
                </c:pt>
                <c:pt idx="31">
                  <c:v>37.89</c:v>
                </c:pt>
                <c:pt idx="32">
                  <c:v>35.51</c:v>
                </c:pt>
                <c:pt idx="33">
                  <c:v>44.18</c:v>
                </c:pt>
                <c:pt idx="34">
                  <c:v>46.92</c:v>
                </c:pt>
                <c:pt idx="35">
                  <c:v>44.02</c:v>
                </c:pt>
                <c:pt idx="36">
                  <c:v>40.770000000000003</c:v>
                </c:pt>
                <c:pt idx="37">
                  <c:v>39.11</c:v>
                </c:pt>
                <c:pt idx="38">
                  <c:v>42.46</c:v>
                </c:pt>
                <c:pt idx="39">
                  <c:v>38.619999999999997</c:v>
                </c:pt>
                <c:pt idx="40">
                  <c:v>46.21</c:v>
                </c:pt>
                <c:pt idx="41">
                  <c:v>42.85</c:v>
                </c:pt>
                <c:pt idx="42">
                  <c:v>40.51</c:v>
                </c:pt>
                <c:pt idx="43">
                  <c:v>39.9</c:v>
                </c:pt>
                <c:pt idx="44">
                  <c:v>39.51</c:v>
                </c:pt>
                <c:pt idx="45">
                  <c:v>45.78</c:v>
                </c:pt>
                <c:pt idx="46">
                  <c:v>38.340000000000003</c:v>
                </c:pt>
                <c:pt idx="47">
                  <c:v>37.409999999999997</c:v>
                </c:pt>
                <c:pt idx="48">
                  <c:v>35.630000000000003</c:v>
                </c:pt>
                <c:pt idx="49">
                  <c:v>42.95</c:v>
                </c:pt>
                <c:pt idx="50">
                  <c:v>38.97</c:v>
                </c:pt>
                <c:pt idx="51">
                  <c:v>37.25</c:v>
                </c:pt>
                <c:pt idx="52">
                  <c:v>42.49</c:v>
                </c:pt>
                <c:pt idx="53">
                  <c:v>45.02</c:v>
                </c:pt>
                <c:pt idx="54">
                  <c:v>45.91</c:v>
                </c:pt>
                <c:pt idx="55">
                  <c:v>36.61</c:v>
                </c:pt>
                <c:pt idx="56">
                  <c:v>38.08</c:v>
                </c:pt>
                <c:pt idx="57">
                  <c:v>36.799999999999997</c:v>
                </c:pt>
                <c:pt idx="58">
                  <c:v>36.08</c:v>
                </c:pt>
                <c:pt idx="59">
                  <c:v>38.29</c:v>
                </c:pt>
                <c:pt idx="60">
                  <c:v>39.03</c:v>
                </c:pt>
                <c:pt idx="61">
                  <c:v>42.19</c:v>
                </c:pt>
                <c:pt idx="62">
                  <c:v>43.76</c:v>
                </c:pt>
                <c:pt idx="63">
                  <c:v>44.05</c:v>
                </c:pt>
                <c:pt idx="64">
                  <c:v>39.96</c:v>
                </c:pt>
                <c:pt idx="65">
                  <c:v>42.7</c:v>
                </c:pt>
                <c:pt idx="66">
                  <c:v>40.729999999999997</c:v>
                </c:pt>
                <c:pt idx="67">
                  <c:v>37.869999999999997</c:v>
                </c:pt>
                <c:pt idx="68">
                  <c:v>38.14</c:v>
                </c:pt>
                <c:pt idx="69">
                  <c:v>45.51</c:v>
                </c:pt>
                <c:pt idx="70">
                  <c:v>45.53</c:v>
                </c:pt>
                <c:pt idx="71">
                  <c:v>36.97</c:v>
                </c:pt>
                <c:pt idx="72">
                  <c:v>37.1</c:v>
                </c:pt>
                <c:pt idx="73">
                  <c:v>43.39</c:v>
                </c:pt>
                <c:pt idx="74">
                  <c:v>36.049999999999997</c:v>
                </c:pt>
                <c:pt idx="75">
                  <c:v>42.49</c:v>
                </c:pt>
                <c:pt idx="76">
                  <c:v>39.29</c:v>
                </c:pt>
                <c:pt idx="77">
                  <c:v>42.57</c:v>
                </c:pt>
                <c:pt idx="78">
                  <c:v>46.41</c:v>
                </c:pt>
                <c:pt idx="79">
                  <c:v>42.22</c:v>
                </c:pt>
                <c:pt idx="80">
                  <c:v>40.799999999999997</c:v>
                </c:pt>
                <c:pt idx="81">
                  <c:v>42.94</c:v>
                </c:pt>
                <c:pt idx="82">
                  <c:v>43.65</c:v>
                </c:pt>
                <c:pt idx="83">
                  <c:v>38.68</c:v>
                </c:pt>
                <c:pt idx="84">
                  <c:v>48.05</c:v>
                </c:pt>
                <c:pt idx="85">
                  <c:v>46.25</c:v>
                </c:pt>
                <c:pt idx="86">
                  <c:v>42.85</c:v>
                </c:pt>
                <c:pt idx="87">
                  <c:v>44.11</c:v>
                </c:pt>
                <c:pt idx="88">
                  <c:v>43.64</c:v>
                </c:pt>
                <c:pt idx="89">
                  <c:v>42.63</c:v>
                </c:pt>
                <c:pt idx="90">
                  <c:v>46.23</c:v>
                </c:pt>
                <c:pt idx="91">
                  <c:v>46.96</c:v>
                </c:pt>
                <c:pt idx="92">
                  <c:v>41.56</c:v>
                </c:pt>
                <c:pt idx="93">
                  <c:v>45.91</c:v>
                </c:pt>
                <c:pt idx="94">
                  <c:v>43.98</c:v>
                </c:pt>
                <c:pt idx="95">
                  <c:v>42.95</c:v>
                </c:pt>
                <c:pt idx="96">
                  <c:v>45</c:v>
                </c:pt>
                <c:pt idx="97">
                  <c:v>43.38</c:v>
                </c:pt>
                <c:pt idx="98">
                  <c:v>43.96</c:v>
                </c:pt>
                <c:pt idx="99">
                  <c:v>46.52</c:v>
                </c:pt>
                <c:pt idx="100">
                  <c:v>46.41</c:v>
                </c:pt>
                <c:pt idx="101">
                  <c:v>46.94</c:v>
                </c:pt>
                <c:pt idx="102">
                  <c:v>43.47</c:v>
                </c:pt>
                <c:pt idx="103">
                  <c:v>45.45</c:v>
                </c:pt>
                <c:pt idx="104">
                  <c:v>46.64</c:v>
                </c:pt>
                <c:pt idx="105">
                  <c:v>46.29</c:v>
                </c:pt>
                <c:pt idx="106">
                  <c:v>42.84</c:v>
                </c:pt>
                <c:pt idx="107">
                  <c:v>48.7</c:v>
                </c:pt>
                <c:pt idx="108">
                  <c:v>40.92</c:v>
                </c:pt>
                <c:pt idx="109">
                  <c:v>45.82</c:v>
                </c:pt>
                <c:pt idx="110">
                  <c:v>42.32</c:v>
                </c:pt>
                <c:pt idx="111">
                  <c:v>43.89</c:v>
                </c:pt>
                <c:pt idx="112">
                  <c:v>43.97</c:v>
                </c:pt>
                <c:pt idx="113">
                  <c:v>44.39</c:v>
                </c:pt>
                <c:pt idx="114">
                  <c:v>46.8</c:v>
                </c:pt>
                <c:pt idx="115">
                  <c:v>45.79</c:v>
                </c:pt>
                <c:pt idx="116">
                  <c:v>45.34</c:v>
                </c:pt>
                <c:pt idx="117">
                  <c:v>43.22</c:v>
                </c:pt>
                <c:pt idx="118">
                  <c:v>45.72</c:v>
                </c:pt>
                <c:pt idx="119">
                  <c:v>42.6</c:v>
                </c:pt>
                <c:pt idx="120">
                  <c:v>43.76</c:v>
                </c:pt>
                <c:pt idx="121">
                  <c:v>45.9</c:v>
                </c:pt>
                <c:pt idx="122">
                  <c:v>43.43</c:v>
                </c:pt>
                <c:pt idx="123">
                  <c:v>43.54</c:v>
                </c:pt>
                <c:pt idx="124">
                  <c:v>44.38</c:v>
                </c:pt>
                <c:pt idx="125">
                  <c:v>39.89</c:v>
                </c:pt>
                <c:pt idx="126">
                  <c:v>43.78</c:v>
                </c:pt>
                <c:pt idx="127">
                  <c:v>44.5</c:v>
                </c:pt>
                <c:pt idx="128">
                  <c:v>48.42</c:v>
                </c:pt>
                <c:pt idx="129">
                  <c:v>43.3</c:v>
                </c:pt>
                <c:pt idx="130">
                  <c:v>40.83</c:v>
                </c:pt>
                <c:pt idx="131">
                  <c:v>41.91</c:v>
                </c:pt>
                <c:pt idx="132">
                  <c:v>44.57</c:v>
                </c:pt>
                <c:pt idx="133">
                  <c:v>36.549999999999997</c:v>
                </c:pt>
                <c:pt idx="134">
                  <c:v>42.85</c:v>
                </c:pt>
                <c:pt idx="135">
                  <c:v>45.19</c:v>
                </c:pt>
                <c:pt idx="136">
                  <c:v>44.11</c:v>
                </c:pt>
                <c:pt idx="137">
                  <c:v>46.02</c:v>
                </c:pt>
                <c:pt idx="138">
                  <c:v>41.9</c:v>
                </c:pt>
                <c:pt idx="139">
                  <c:v>49.5</c:v>
                </c:pt>
                <c:pt idx="140">
                  <c:v>48.91</c:v>
                </c:pt>
                <c:pt idx="141">
                  <c:v>46.2</c:v>
                </c:pt>
              </c:numCache>
            </c:numRef>
          </c:xVal>
          <c:yVal>
            <c:numRef>
              <c:f>'INEPE vs INSE'!$AV$7:$AV$148</c:f>
              <c:numCache>
                <c:formatCode>General</c:formatCode>
                <c:ptCount val="142"/>
                <c:pt idx="0">
                  <c:v>4.93</c:v>
                </c:pt>
                <c:pt idx="1">
                  <c:v>4.1399999999999997</c:v>
                </c:pt>
                <c:pt idx="2">
                  <c:v>4.59</c:v>
                </c:pt>
                <c:pt idx="3">
                  <c:v>3.39</c:v>
                </c:pt>
                <c:pt idx="4">
                  <c:v>4.72</c:v>
                </c:pt>
                <c:pt idx="5">
                  <c:v>4.7</c:v>
                </c:pt>
                <c:pt idx="6">
                  <c:v>4.16</c:v>
                </c:pt>
                <c:pt idx="7">
                  <c:v>3.74</c:v>
                </c:pt>
                <c:pt idx="8">
                  <c:v>4.3600000000000003</c:v>
                </c:pt>
                <c:pt idx="9">
                  <c:v>4.72</c:v>
                </c:pt>
                <c:pt idx="10">
                  <c:v>3.99</c:v>
                </c:pt>
                <c:pt idx="11">
                  <c:v>4.1399999999999997</c:v>
                </c:pt>
                <c:pt idx="12">
                  <c:v>4.67</c:v>
                </c:pt>
                <c:pt idx="13">
                  <c:v>4.21</c:v>
                </c:pt>
                <c:pt idx="14">
                  <c:v>4.16</c:v>
                </c:pt>
                <c:pt idx="15">
                  <c:v>4.41</c:v>
                </c:pt>
                <c:pt idx="16">
                  <c:v>3.39</c:v>
                </c:pt>
                <c:pt idx="17">
                  <c:v>5.42</c:v>
                </c:pt>
                <c:pt idx="18">
                  <c:v>4.9800000000000004</c:v>
                </c:pt>
                <c:pt idx="19">
                  <c:v>3.87</c:v>
                </c:pt>
                <c:pt idx="20">
                  <c:v>4.6900000000000004</c:v>
                </c:pt>
                <c:pt idx="21">
                  <c:v>4.6900000000000004</c:v>
                </c:pt>
                <c:pt idx="22">
                  <c:v>4.67</c:v>
                </c:pt>
                <c:pt idx="23">
                  <c:v>4.45</c:v>
                </c:pt>
                <c:pt idx="24">
                  <c:v>4.33</c:v>
                </c:pt>
                <c:pt idx="25">
                  <c:v>4.8899999999999997</c:v>
                </c:pt>
                <c:pt idx="26">
                  <c:v>4.9000000000000004</c:v>
                </c:pt>
                <c:pt idx="27">
                  <c:v>3.58</c:v>
                </c:pt>
                <c:pt idx="28">
                  <c:v>4.01</c:v>
                </c:pt>
                <c:pt idx="29">
                  <c:v>4.66</c:v>
                </c:pt>
                <c:pt idx="30">
                  <c:v>3.5</c:v>
                </c:pt>
                <c:pt idx="31">
                  <c:v>4.16</c:v>
                </c:pt>
                <c:pt idx="32">
                  <c:v>3.65</c:v>
                </c:pt>
                <c:pt idx="33">
                  <c:v>4.53</c:v>
                </c:pt>
                <c:pt idx="34">
                  <c:v>5.01</c:v>
                </c:pt>
                <c:pt idx="35">
                  <c:v>4.55</c:v>
                </c:pt>
                <c:pt idx="36">
                  <c:v>4.79</c:v>
                </c:pt>
                <c:pt idx="37">
                  <c:v>4.17</c:v>
                </c:pt>
                <c:pt idx="38">
                  <c:v>3.64</c:v>
                </c:pt>
                <c:pt idx="39">
                  <c:v>4.45</c:v>
                </c:pt>
                <c:pt idx="40">
                  <c:v>3.59</c:v>
                </c:pt>
                <c:pt idx="41">
                  <c:v>4.57</c:v>
                </c:pt>
                <c:pt idx="42">
                  <c:v>4.79</c:v>
                </c:pt>
                <c:pt idx="43">
                  <c:v>4.72</c:v>
                </c:pt>
                <c:pt idx="44">
                  <c:v>4.7</c:v>
                </c:pt>
                <c:pt idx="45">
                  <c:v>3.3</c:v>
                </c:pt>
                <c:pt idx="46">
                  <c:v>5.49</c:v>
                </c:pt>
                <c:pt idx="47">
                  <c:v>5.12</c:v>
                </c:pt>
                <c:pt idx="48">
                  <c:v>4.82</c:v>
                </c:pt>
                <c:pt idx="49">
                  <c:v>3.24</c:v>
                </c:pt>
                <c:pt idx="50">
                  <c:v>3.91</c:v>
                </c:pt>
                <c:pt idx="51">
                  <c:v>3.83</c:v>
                </c:pt>
                <c:pt idx="52">
                  <c:v>4.01</c:v>
                </c:pt>
                <c:pt idx="53">
                  <c:v>4.22</c:v>
                </c:pt>
                <c:pt idx="54">
                  <c:v>4.22</c:v>
                </c:pt>
                <c:pt idx="55">
                  <c:v>2.85</c:v>
                </c:pt>
                <c:pt idx="56">
                  <c:v>4.25</c:v>
                </c:pt>
                <c:pt idx="57">
                  <c:v>4.3499999999999996</c:v>
                </c:pt>
                <c:pt idx="58">
                  <c:v>3.7</c:v>
                </c:pt>
                <c:pt idx="59">
                  <c:v>4.41</c:v>
                </c:pt>
                <c:pt idx="60">
                  <c:v>3.92</c:v>
                </c:pt>
                <c:pt idx="61">
                  <c:v>4.4400000000000004</c:v>
                </c:pt>
                <c:pt idx="62">
                  <c:v>3</c:v>
                </c:pt>
                <c:pt idx="63">
                  <c:v>3.58</c:v>
                </c:pt>
                <c:pt idx="64">
                  <c:v>3.53</c:v>
                </c:pt>
                <c:pt idx="65">
                  <c:v>3.89</c:v>
                </c:pt>
                <c:pt idx="66">
                  <c:v>3.48</c:v>
                </c:pt>
                <c:pt idx="67">
                  <c:v>3.59</c:v>
                </c:pt>
                <c:pt idx="68">
                  <c:v>4.3</c:v>
                </c:pt>
                <c:pt idx="69">
                  <c:v>3.21</c:v>
                </c:pt>
                <c:pt idx="70">
                  <c:v>3.01</c:v>
                </c:pt>
                <c:pt idx="71">
                  <c:v>4.01</c:v>
                </c:pt>
                <c:pt idx="72">
                  <c:v>3.86</c:v>
                </c:pt>
                <c:pt idx="73">
                  <c:v>4.17</c:v>
                </c:pt>
                <c:pt idx="74">
                  <c:v>4.09</c:v>
                </c:pt>
                <c:pt idx="75">
                  <c:v>4.45</c:v>
                </c:pt>
                <c:pt idx="76">
                  <c:v>4.01</c:v>
                </c:pt>
                <c:pt idx="77">
                  <c:v>3.54</c:v>
                </c:pt>
                <c:pt idx="78">
                  <c:v>3.59</c:v>
                </c:pt>
                <c:pt idx="79">
                  <c:v>4.42</c:v>
                </c:pt>
                <c:pt idx="80">
                  <c:v>4.87</c:v>
                </c:pt>
                <c:pt idx="81">
                  <c:v>2.99</c:v>
                </c:pt>
                <c:pt idx="82">
                  <c:v>3.96</c:v>
                </c:pt>
                <c:pt idx="83">
                  <c:v>4.07</c:v>
                </c:pt>
                <c:pt idx="84">
                  <c:v>4.45</c:v>
                </c:pt>
                <c:pt idx="85">
                  <c:v>3.76</c:v>
                </c:pt>
                <c:pt idx="86">
                  <c:v>3.45</c:v>
                </c:pt>
                <c:pt idx="87">
                  <c:v>4.1399999999999997</c:v>
                </c:pt>
                <c:pt idx="88">
                  <c:v>4.01</c:v>
                </c:pt>
                <c:pt idx="89">
                  <c:v>4.08</c:v>
                </c:pt>
                <c:pt idx="90">
                  <c:v>3.89</c:v>
                </c:pt>
                <c:pt idx="91">
                  <c:v>3.67</c:v>
                </c:pt>
                <c:pt idx="92">
                  <c:v>3.75</c:v>
                </c:pt>
                <c:pt idx="93">
                  <c:v>4.4400000000000004</c:v>
                </c:pt>
                <c:pt idx="94">
                  <c:v>3.75</c:v>
                </c:pt>
                <c:pt idx="95">
                  <c:v>4.33</c:v>
                </c:pt>
                <c:pt idx="96">
                  <c:v>4.21</c:v>
                </c:pt>
                <c:pt idx="97">
                  <c:v>4.6100000000000003</c:v>
                </c:pt>
                <c:pt idx="98">
                  <c:v>4.4000000000000004</c:v>
                </c:pt>
                <c:pt idx="99">
                  <c:v>4.6399999999999997</c:v>
                </c:pt>
                <c:pt idx="100">
                  <c:v>3.78</c:v>
                </c:pt>
                <c:pt idx="101">
                  <c:v>4.37</c:v>
                </c:pt>
                <c:pt idx="102">
                  <c:v>3.55</c:v>
                </c:pt>
                <c:pt idx="103">
                  <c:v>4.6900000000000004</c:v>
                </c:pt>
                <c:pt idx="104">
                  <c:v>4.6100000000000003</c:v>
                </c:pt>
                <c:pt idx="105">
                  <c:v>4.4000000000000004</c:v>
                </c:pt>
                <c:pt idx="106">
                  <c:v>4.09</c:v>
                </c:pt>
                <c:pt idx="107">
                  <c:v>4.76</c:v>
                </c:pt>
                <c:pt idx="108">
                  <c:v>4.5599999999999996</c:v>
                </c:pt>
                <c:pt idx="109">
                  <c:v>4.51</c:v>
                </c:pt>
                <c:pt idx="110">
                  <c:v>3.61</c:v>
                </c:pt>
                <c:pt idx="111">
                  <c:v>3.75</c:v>
                </c:pt>
                <c:pt idx="112">
                  <c:v>4.59</c:v>
                </c:pt>
                <c:pt idx="113">
                  <c:v>4.12</c:v>
                </c:pt>
                <c:pt idx="114">
                  <c:v>4.12</c:v>
                </c:pt>
                <c:pt idx="115">
                  <c:v>3.62</c:v>
                </c:pt>
                <c:pt idx="116">
                  <c:v>4.0199999999999996</c:v>
                </c:pt>
                <c:pt idx="117">
                  <c:v>4.22</c:v>
                </c:pt>
                <c:pt idx="118">
                  <c:v>3.7</c:v>
                </c:pt>
                <c:pt idx="119">
                  <c:v>4.0599999999999996</c:v>
                </c:pt>
                <c:pt idx="120">
                  <c:v>4.4400000000000004</c:v>
                </c:pt>
                <c:pt idx="121">
                  <c:v>3.61</c:v>
                </c:pt>
                <c:pt idx="122">
                  <c:v>4.1900000000000004</c:v>
                </c:pt>
                <c:pt idx="123">
                  <c:v>4.1900000000000004</c:v>
                </c:pt>
                <c:pt idx="124">
                  <c:v>3.25</c:v>
                </c:pt>
                <c:pt idx="125">
                  <c:v>3.72</c:v>
                </c:pt>
                <c:pt idx="126">
                  <c:v>4.3099999999999996</c:v>
                </c:pt>
                <c:pt idx="127">
                  <c:v>4</c:v>
                </c:pt>
                <c:pt idx="128">
                  <c:v>5.12</c:v>
                </c:pt>
                <c:pt idx="129">
                  <c:v>3.83</c:v>
                </c:pt>
                <c:pt idx="130">
                  <c:v>4.05</c:v>
                </c:pt>
                <c:pt idx="131">
                  <c:v>3.45</c:v>
                </c:pt>
                <c:pt idx="132">
                  <c:v>3.98</c:v>
                </c:pt>
                <c:pt idx="133">
                  <c:v>4.8899999999999997</c:v>
                </c:pt>
                <c:pt idx="134">
                  <c:v>5.93</c:v>
                </c:pt>
                <c:pt idx="135">
                  <c:v>5.36</c:v>
                </c:pt>
                <c:pt idx="136">
                  <c:v>3.74</c:v>
                </c:pt>
                <c:pt idx="137">
                  <c:v>3.74</c:v>
                </c:pt>
                <c:pt idx="138">
                  <c:v>3.67</c:v>
                </c:pt>
                <c:pt idx="139">
                  <c:v>3.66</c:v>
                </c:pt>
                <c:pt idx="140">
                  <c:v>4.37</c:v>
                </c:pt>
                <c:pt idx="141">
                  <c:v>4.22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B17A-4484-ADD2-A2622859FB74}"/>
            </c:ext>
          </c:extLst>
        </c:ser>
        <c:ser>
          <c:idx val="2"/>
          <c:order val="2"/>
          <c:tx>
            <c:v>Regular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rgbClr val="FFC000"/>
                </a:solidFill>
              </a:ln>
              <a:effectLst/>
            </c:spPr>
          </c:marker>
          <c:trendline>
            <c:spPr>
              <a:ln w="38100" cap="rnd">
                <a:solidFill>
                  <a:schemeClr val="accent4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xVal>
            <c:numRef>
              <c:f>'INEPE vs INSE'!$AY$7:$AY$319</c:f>
              <c:numCache>
                <c:formatCode>General</c:formatCode>
                <c:ptCount val="313"/>
                <c:pt idx="0">
                  <c:v>46.21</c:v>
                </c:pt>
                <c:pt idx="1">
                  <c:v>39.619999999999997</c:v>
                </c:pt>
                <c:pt idx="2">
                  <c:v>42.09</c:v>
                </c:pt>
                <c:pt idx="3">
                  <c:v>41.32</c:v>
                </c:pt>
                <c:pt idx="4">
                  <c:v>40.409999999999997</c:v>
                </c:pt>
                <c:pt idx="5">
                  <c:v>41.29</c:v>
                </c:pt>
                <c:pt idx="6">
                  <c:v>41.69</c:v>
                </c:pt>
                <c:pt idx="7">
                  <c:v>44.14</c:v>
                </c:pt>
                <c:pt idx="8">
                  <c:v>42.03</c:v>
                </c:pt>
                <c:pt idx="9">
                  <c:v>39.26</c:v>
                </c:pt>
                <c:pt idx="10">
                  <c:v>37.729999999999997</c:v>
                </c:pt>
                <c:pt idx="11">
                  <c:v>43.27</c:v>
                </c:pt>
                <c:pt idx="12">
                  <c:v>44.07</c:v>
                </c:pt>
                <c:pt idx="13">
                  <c:v>45.95</c:v>
                </c:pt>
                <c:pt idx="14">
                  <c:v>42.28</c:v>
                </c:pt>
                <c:pt idx="15">
                  <c:v>47.53</c:v>
                </c:pt>
                <c:pt idx="16">
                  <c:v>42.2</c:v>
                </c:pt>
                <c:pt idx="17">
                  <c:v>38.21</c:v>
                </c:pt>
                <c:pt idx="18">
                  <c:v>41.31</c:v>
                </c:pt>
                <c:pt idx="19">
                  <c:v>41.05</c:v>
                </c:pt>
                <c:pt idx="20">
                  <c:v>38.94</c:v>
                </c:pt>
                <c:pt idx="21">
                  <c:v>41.84</c:v>
                </c:pt>
                <c:pt idx="22">
                  <c:v>41.54</c:v>
                </c:pt>
                <c:pt idx="23">
                  <c:v>46.46</c:v>
                </c:pt>
                <c:pt idx="24">
                  <c:v>42.5</c:v>
                </c:pt>
                <c:pt idx="25">
                  <c:v>46.35</c:v>
                </c:pt>
                <c:pt idx="26">
                  <c:v>49.19</c:v>
                </c:pt>
                <c:pt idx="27">
                  <c:v>42.49</c:v>
                </c:pt>
                <c:pt idx="28">
                  <c:v>47.82</c:v>
                </c:pt>
                <c:pt idx="29">
                  <c:v>43.4</c:v>
                </c:pt>
                <c:pt idx="30">
                  <c:v>43.18</c:v>
                </c:pt>
                <c:pt idx="31">
                  <c:v>46.13</c:v>
                </c:pt>
                <c:pt idx="32">
                  <c:v>41.19</c:v>
                </c:pt>
                <c:pt idx="33">
                  <c:v>51.45</c:v>
                </c:pt>
                <c:pt idx="34">
                  <c:v>44.88</c:v>
                </c:pt>
                <c:pt idx="35">
                  <c:v>45.17</c:v>
                </c:pt>
                <c:pt idx="36">
                  <c:v>47.59</c:v>
                </c:pt>
                <c:pt idx="37">
                  <c:v>45.25</c:v>
                </c:pt>
                <c:pt idx="38">
                  <c:v>47.72</c:v>
                </c:pt>
                <c:pt idx="39">
                  <c:v>47.58</c:v>
                </c:pt>
                <c:pt idx="40">
                  <c:v>45.47</c:v>
                </c:pt>
                <c:pt idx="41">
                  <c:v>46.8</c:v>
                </c:pt>
                <c:pt idx="42">
                  <c:v>44.06</c:v>
                </c:pt>
                <c:pt idx="43">
                  <c:v>51.86</c:v>
                </c:pt>
                <c:pt idx="44">
                  <c:v>45.87</c:v>
                </c:pt>
                <c:pt idx="45">
                  <c:v>42.53</c:v>
                </c:pt>
                <c:pt idx="46">
                  <c:v>47.97</c:v>
                </c:pt>
                <c:pt idx="47">
                  <c:v>48</c:v>
                </c:pt>
                <c:pt idx="48">
                  <c:v>42.65</c:v>
                </c:pt>
                <c:pt idx="49">
                  <c:v>45.88</c:v>
                </c:pt>
                <c:pt idx="50">
                  <c:v>38.729999999999997</c:v>
                </c:pt>
                <c:pt idx="51">
                  <c:v>43.3</c:v>
                </c:pt>
                <c:pt idx="52">
                  <c:v>49.47</c:v>
                </c:pt>
                <c:pt idx="53">
                  <c:v>42.98</c:v>
                </c:pt>
                <c:pt idx="54">
                  <c:v>44.22</c:v>
                </c:pt>
                <c:pt idx="55">
                  <c:v>43.26</c:v>
                </c:pt>
                <c:pt idx="56">
                  <c:v>46.12</c:v>
                </c:pt>
                <c:pt idx="57">
                  <c:v>45.56</c:v>
                </c:pt>
                <c:pt idx="58">
                  <c:v>51.37</c:v>
                </c:pt>
                <c:pt idx="59">
                  <c:v>46.8</c:v>
                </c:pt>
                <c:pt idx="60">
                  <c:v>44.04</c:v>
                </c:pt>
                <c:pt idx="61">
                  <c:v>48.17</c:v>
                </c:pt>
                <c:pt idx="62">
                  <c:v>41.55</c:v>
                </c:pt>
                <c:pt idx="63">
                  <c:v>44.56</c:v>
                </c:pt>
                <c:pt idx="64">
                  <c:v>43.34</c:v>
                </c:pt>
                <c:pt idx="65">
                  <c:v>48.08</c:v>
                </c:pt>
                <c:pt idx="66">
                  <c:v>44.58</c:v>
                </c:pt>
                <c:pt idx="67">
                  <c:v>41.52</c:v>
                </c:pt>
                <c:pt idx="68">
                  <c:v>43.8</c:v>
                </c:pt>
                <c:pt idx="69">
                  <c:v>51.04</c:v>
                </c:pt>
                <c:pt idx="70">
                  <c:v>45.82</c:v>
                </c:pt>
                <c:pt idx="71">
                  <c:v>49.16</c:v>
                </c:pt>
                <c:pt idx="72">
                  <c:v>43.36</c:v>
                </c:pt>
                <c:pt idx="73">
                  <c:v>47.24</c:v>
                </c:pt>
                <c:pt idx="74">
                  <c:v>48.45</c:v>
                </c:pt>
                <c:pt idx="75">
                  <c:v>44.47</c:v>
                </c:pt>
                <c:pt idx="76">
                  <c:v>43.67</c:v>
                </c:pt>
                <c:pt idx="77">
                  <c:v>42.2</c:v>
                </c:pt>
                <c:pt idx="78">
                  <c:v>43.07</c:v>
                </c:pt>
                <c:pt idx="79">
                  <c:v>42.09</c:v>
                </c:pt>
                <c:pt idx="80">
                  <c:v>44.32</c:v>
                </c:pt>
                <c:pt idx="81">
                  <c:v>43.05</c:v>
                </c:pt>
                <c:pt idx="82">
                  <c:v>42.09</c:v>
                </c:pt>
                <c:pt idx="83">
                  <c:v>49.38</c:v>
                </c:pt>
                <c:pt idx="84">
                  <c:v>46.06</c:v>
                </c:pt>
                <c:pt idx="85">
                  <c:v>49.95</c:v>
                </c:pt>
                <c:pt idx="86">
                  <c:v>47.92</c:v>
                </c:pt>
                <c:pt idx="87">
                  <c:v>45.88</c:v>
                </c:pt>
                <c:pt idx="88">
                  <c:v>43.07</c:v>
                </c:pt>
                <c:pt idx="89">
                  <c:v>44.27</c:v>
                </c:pt>
                <c:pt idx="90">
                  <c:v>46.8</c:v>
                </c:pt>
                <c:pt idx="91">
                  <c:v>43.5</c:v>
                </c:pt>
                <c:pt idx="92">
                  <c:v>41.8</c:v>
                </c:pt>
                <c:pt idx="93">
                  <c:v>39.950000000000003</c:v>
                </c:pt>
                <c:pt idx="94">
                  <c:v>47.78</c:v>
                </c:pt>
                <c:pt idx="95">
                  <c:v>46.46</c:v>
                </c:pt>
                <c:pt idx="96">
                  <c:v>49.58</c:v>
                </c:pt>
                <c:pt idx="97">
                  <c:v>45.56</c:v>
                </c:pt>
                <c:pt idx="98">
                  <c:v>51.05</c:v>
                </c:pt>
                <c:pt idx="99">
                  <c:v>46.66</c:v>
                </c:pt>
                <c:pt idx="100">
                  <c:v>47.59</c:v>
                </c:pt>
                <c:pt idx="101">
                  <c:v>47.18</c:v>
                </c:pt>
                <c:pt idx="102">
                  <c:v>50.79</c:v>
                </c:pt>
                <c:pt idx="103">
                  <c:v>47.27</c:v>
                </c:pt>
                <c:pt idx="104">
                  <c:v>48</c:v>
                </c:pt>
                <c:pt idx="105">
                  <c:v>48.04</c:v>
                </c:pt>
                <c:pt idx="106">
                  <c:v>42.33</c:v>
                </c:pt>
                <c:pt idx="107">
                  <c:v>45.79</c:v>
                </c:pt>
                <c:pt idx="108">
                  <c:v>45.35</c:v>
                </c:pt>
                <c:pt idx="109">
                  <c:v>45.43</c:v>
                </c:pt>
                <c:pt idx="110">
                  <c:v>46.6</c:v>
                </c:pt>
                <c:pt idx="111">
                  <c:v>44.16</c:v>
                </c:pt>
                <c:pt idx="112">
                  <c:v>43.61</c:v>
                </c:pt>
                <c:pt idx="113">
                  <c:v>46.9</c:v>
                </c:pt>
                <c:pt idx="114">
                  <c:v>39.270000000000003</c:v>
                </c:pt>
                <c:pt idx="115">
                  <c:v>44.16</c:v>
                </c:pt>
                <c:pt idx="116">
                  <c:v>44.9</c:v>
                </c:pt>
                <c:pt idx="117">
                  <c:v>46.81</c:v>
                </c:pt>
                <c:pt idx="118">
                  <c:v>41.22</c:v>
                </c:pt>
                <c:pt idx="119">
                  <c:v>47.96</c:v>
                </c:pt>
                <c:pt idx="120">
                  <c:v>44.77</c:v>
                </c:pt>
                <c:pt idx="121">
                  <c:v>40.24</c:v>
                </c:pt>
                <c:pt idx="122">
                  <c:v>47.25</c:v>
                </c:pt>
                <c:pt idx="123">
                  <c:v>43.58</c:v>
                </c:pt>
                <c:pt idx="124">
                  <c:v>44.05</c:v>
                </c:pt>
                <c:pt idx="125">
                  <c:v>41.49</c:v>
                </c:pt>
                <c:pt idx="126">
                  <c:v>44.3</c:v>
                </c:pt>
                <c:pt idx="127">
                  <c:v>45.76</c:v>
                </c:pt>
                <c:pt idx="128">
                  <c:v>46.64</c:v>
                </c:pt>
                <c:pt idx="129">
                  <c:v>47.51</c:v>
                </c:pt>
                <c:pt idx="130">
                  <c:v>49.98</c:v>
                </c:pt>
                <c:pt idx="131">
                  <c:v>42.99</c:v>
                </c:pt>
                <c:pt idx="132">
                  <c:v>44.58</c:v>
                </c:pt>
                <c:pt idx="133">
                  <c:v>45</c:v>
                </c:pt>
                <c:pt idx="134">
                  <c:v>45.15</c:v>
                </c:pt>
                <c:pt idx="135">
                  <c:v>37.36</c:v>
                </c:pt>
                <c:pt idx="136">
                  <c:v>43.94</c:v>
                </c:pt>
                <c:pt idx="137">
                  <c:v>42.03</c:v>
                </c:pt>
                <c:pt idx="138">
                  <c:v>43.11</c:v>
                </c:pt>
                <c:pt idx="139">
                  <c:v>47.61</c:v>
                </c:pt>
                <c:pt idx="140">
                  <c:v>44.98</c:v>
                </c:pt>
                <c:pt idx="141">
                  <c:v>44.27</c:v>
                </c:pt>
                <c:pt idx="142">
                  <c:v>43.33</c:v>
                </c:pt>
                <c:pt idx="143">
                  <c:v>50.12</c:v>
                </c:pt>
                <c:pt idx="144">
                  <c:v>46.18</c:v>
                </c:pt>
                <c:pt idx="145">
                  <c:v>51.6</c:v>
                </c:pt>
                <c:pt idx="146">
                  <c:v>46.95</c:v>
                </c:pt>
                <c:pt idx="147">
                  <c:v>38.880000000000003</c:v>
                </c:pt>
                <c:pt idx="148">
                  <c:v>44.55</c:v>
                </c:pt>
                <c:pt idx="149">
                  <c:v>43.41</c:v>
                </c:pt>
                <c:pt idx="150">
                  <c:v>39.21</c:v>
                </c:pt>
                <c:pt idx="151">
                  <c:v>43.16</c:v>
                </c:pt>
                <c:pt idx="152">
                  <c:v>44.78</c:v>
                </c:pt>
                <c:pt idx="153">
                  <c:v>52.88</c:v>
                </c:pt>
                <c:pt idx="154">
                  <c:v>42.98</c:v>
                </c:pt>
                <c:pt idx="155">
                  <c:v>42.62</c:v>
                </c:pt>
                <c:pt idx="156">
                  <c:v>45.22</c:v>
                </c:pt>
                <c:pt idx="157">
                  <c:v>43.8</c:v>
                </c:pt>
                <c:pt idx="158">
                  <c:v>48.99</c:v>
                </c:pt>
                <c:pt idx="159">
                  <c:v>45.25</c:v>
                </c:pt>
                <c:pt idx="160">
                  <c:v>44.14</c:v>
                </c:pt>
                <c:pt idx="161">
                  <c:v>47.18</c:v>
                </c:pt>
                <c:pt idx="162">
                  <c:v>35.99</c:v>
                </c:pt>
                <c:pt idx="163">
                  <c:v>43.47</c:v>
                </c:pt>
                <c:pt idx="164">
                  <c:v>45.78</c:v>
                </c:pt>
                <c:pt idx="165">
                  <c:v>44.14</c:v>
                </c:pt>
                <c:pt idx="166">
                  <c:v>43.9</c:v>
                </c:pt>
                <c:pt idx="167">
                  <c:v>44.98</c:v>
                </c:pt>
                <c:pt idx="168">
                  <c:v>45.77</c:v>
                </c:pt>
                <c:pt idx="169">
                  <c:v>45.57</c:v>
                </c:pt>
                <c:pt idx="170">
                  <c:v>40.22</c:v>
                </c:pt>
                <c:pt idx="171">
                  <c:v>47.24</c:v>
                </c:pt>
                <c:pt idx="172">
                  <c:v>48.43</c:v>
                </c:pt>
                <c:pt idx="173">
                  <c:v>47.83</c:v>
                </c:pt>
                <c:pt idx="174">
                  <c:v>43.37</c:v>
                </c:pt>
                <c:pt idx="175">
                  <c:v>48.05</c:v>
                </c:pt>
                <c:pt idx="176">
                  <c:v>45.07</c:v>
                </c:pt>
                <c:pt idx="177">
                  <c:v>47.47</c:v>
                </c:pt>
                <c:pt idx="178">
                  <c:v>48.37</c:v>
                </c:pt>
                <c:pt idx="179">
                  <c:v>45.27</c:v>
                </c:pt>
                <c:pt idx="180">
                  <c:v>49.07</c:v>
                </c:pt>
                <c:pt idx="181">
                  <c:v>43.85</c:v>
                </c:pt>
                <c:pt idx="182">
                  <c:v>47.46</c:v>
                </c:pt>
                <c:pt idx="183">
                  <c:v>48.36</c:v>
                </c:pt>
                <c:pt idx="184">
                  <c:v>46.91</c:v>
                </c:pt>
                <c:pt idx="185">
                  <c:v>45.89</c:v>
                </c:pt>
                <c:pt idx="186">
                  <c:v>47.66</c:v>
                </c:pt>
                <c:pt idx="187">
                  <c:v>47.87</c:v>
                </c:pt>
                <c:pt idx="188">
                  <c:v>48.61</c:v>
                </c:pt>
                <c:pt idx="189">
                  <c:v>45.43</c:v>
                </c:pt>
                <c:pt idx="190">
                  <c:v>48.4</c:v>
                </c:pt>
                <c:pt idx="191">
                  <c:v>44.23</c:v>
                </c:pt>
                <c:pt idx="192">
                  <c:v>47.4</c:v>
                </c:pt>
                <c:pt idx="193">
                  <c:v>44.9</c:v>
                </c:pt>
                <c:pt idx="194">
                  <c:v>48.21</c:v>
                </c:pt>
                <c:pt idx="195">
                  <c:v>46.24</c:v>
                </c:pt>
                <c:pt idx="196">
                  <c:v>47.22</c:v>
                </c:pt>
                <c:pt idx="197">
                  <c:v>46.52</c:v>
                </c:pt>
                <c:pt idx="198">
                  <c:v>42.51</c:v>
                </c:pt>
                <c:pt idx="199">
                  <c:v>46.13</c:v>
                </c:pt>
                <c:pt idx="200">
                  <c:v>44.07</c:v>
                </c:pt>
                <c:pt idx="201">
                  <c:v>44.61</c:v>
                </c:pt>
                <c:pt idx="202">
                  <c:v>48.74</c:v>
                </c:pt>
                <c:pt idx="203">
                  <c:v>47.42</c:v>
                </c:pt>
                <c:pt idx="204">
                  <c:v>48.06</c:v>
                </c:pt>
                <c:pt idx="205">
                  <c:v>46.36</c:v>
                </c:pt>
                <c:pt idx="206">
                  <c:v>46.47</c:v>
                </c:pt>
                <c:pt idx="207">
                  <c:v>44.31</c:v>
                </c:pt>
                <c:pt idx="208">
                  <c:v>47.72</c:v>
                </c:pt>
                <c:pt idx="209">
                  <c:v>49.07</c:v>
                </c:pt>
                <c:pt idx="210">
                  <c:v>46.89</c:v>
                </c:pt>
                <c:pt idx="211">
                  <c:v>44.89</c:v>
                </c:pt>
                <c:pt idx="212">
                  <c:v>48.54</c:v>
                </c:pt>
                <c:pt idx="213">
                  <c:v>45.66</c:v>
                </c:pt>
                <c:pt idx="214">
                  <c:v>44.25</c:v>
                </c:pt>
                <c:pt idx="215">
                  <c:v>46.53</c:v>
                </c:pt>
                <c:pt idx="216">
                  <c:v>47.1</c:v>
                </c:pt>
                <c:pt idx="217">
                  <c:v>45.89</c:v>
                </c:pt>
                <c:pt idx="218">
                  <c:v>45.07</c:v>
                </c:pt>
                <c:pt idx="219">
                  <c:v>45.27</c:v>
                </c:pt>
                <c:pt idx="220">
                  <c:v>46.09</c:v>
                </c:pt>
                <c:pt idx="221">
                  <c:v>49.1</c:v>
                </c:pt>
                <c:pt idx="222">
                  <c:v>48.72</c:v>
                </c:pt>
                <c:pt idx="223">
                  <c:v>46.41</c:v>
                </c:pt>
                <c:pt idx="224">
                  <c:v>46.05</c:v>
                </c:pt>
                <c:pt idx="225">
                  <c:v>47.25</c:v>
                </c:pt>
                <c:pt idx="226">
                  <c:v>47.67</c:v>
                </c:pt>
                <c:pt idx="227">
                  <c:v>44.28</c:v>
                </c:pt>
                <c:pt idx="228">
                  <c:v>46.24</c:v>
                </c:pt>
                <c:pt idx="229">
                  <c:v>46.27</c:v>
                </c:pt>
                <c:pt idx="230">
                  <c:v>47.61</c:v>
                </c:pt>
                <c:pt idx="231">
                  <c:v>49.43</c:v>
                </c:pt>
                <c:pt idx="232">
                  <c:v>47.85</c:v>
                </c:pt>
                <c:pt idx="233">
                  <c:v>46.74</c:v>
                </c:pt>
                <c:pt idx="234">
                  <c:v>45.18</c:v>
                </c:pt>
                <c:pt idx="235">
                  <c:v>47.39</c:v>
                </c:pt>
                <c:pt idx="236">
                  <c:v>47.45</c:v>
                </c:pt>
                <c:pt idx="237">
                  <c:v>45.54</c:v>
                </c:pt>
                <c:pt idx="238">
                  <c:v>50.09</c:v>
                </c:pt>
                <c:pt idx="239">
                  <c:v>49.88</c:v>
                </c:pt>
                <c:pt idx="240">
                  <c:v>48.8</c:v>
                </c:pt>
                <c:pt idx="241">
                  <c:v>47.15</c:v>
                </c:pt>
                <c:pt idx="242">
                  <c:v>47.93</c:v>
                </c:pt>
                <c:pt idx="243">
                  <c:v>45.91</c:v>
                </c:pt>
                <c:pt idx="244">
                  <c:v>47.13</c:v>
                </c:pt>
                <c:pt idx="245">
                  <c:v>44.73</c:v>
                </c:pt>
                <c:pt idx="246">
                  <c:v>48.94</c:v>
                </c:pt>
                <c:pt idx="247">
                  <c:v>49.32</c:v>
                </c:pt>
                <c:pt idx="248">
                  <c:v>62.72</c:v>
                </c:pt>
                <c:pt idx="249">
                  <c:v>46.39</c:v>
                </c:pt>
                <c:pt idx="250">
                  <c:v>50.02</c:v>
                </c:pt>
                <c:pt idx="251">
                  <c:v>45.25</c:v>
                </c:pt>
                <c:pt idx="252">
                  <c:v>43.76</c:v>
                </c:pt>
                <c:pt idx="253">
                  <c:v>55.97</c:v>
                </c:pt>
                <c:pt idx="254">
                  <c:v>48.3</c:v>
                </c:pt>
                <c:pt idx="255">
                  <c:v>44.46</c:v>
                </c:pt>
                <c:pt idx="256">
                  <c:v>49.79</c:v>
                </c:pt>
                <c:pt idx="257">
                  <c:v>46.73</c:v>
                </c:pt>
                <c:pt idx="258">
                  <c:v>46.16</c:v>
                </c:pt>
                <c:pt idx="259">
                  <c:v>47.37</c:v>
                </c:pt>
                <c:pt idx="260">
                  <c:v>45.72</c:v>
                </c:pt>
                <c:pt idx="261">
                  <c:v>47.44</c:v>
                </c:pt>
                <c:pt idx="262">
                  <c:v>47.14</c:v>
                </c:pt>
                <c:pt idx="263">
                  <c:v>48.38</c:v>
                </c:pt>
                <c:pt idx="264">
                  <c:v>48.61</c:v>
                </c:pt>
                <c:pt idx="265">
                  <c:v>46.5</c:v>
                </c:pt>
                <c:pt idx="266">
                  <c:v>45.55</c:v>
                </c:pt>
                <c:pt idx="267">
                  <c:v>43.9</c:v>
                </c:pt>
                <c:pt idx="268">
                  <c:v>45.12</c:v>
                </c:pt>
                <c:pt idx="269">
                  <c:v>43.78</c:v>
                </c:pt>
                <c:pt idx="270">
                  <c:v>44.12</c:v>
                </c:pt>
                <c:pt idx="271">
                  <c:v>45.72</c:v>
                </c:pt>
                <c:pt idx="272">
                  <c:v>46.88</c:v>
                </c:pt>
                <c:pt idx="273">
                  <c:v>47.29</c:v>
                </c:pt>
                <c:pt idx="274">
                  <c:v>45.9</c:v>
                </c:pt>
                <c:pt idx="275">
                  <c:v>48.35</c:v>
                </c:pt>
                <c:pt idx="276">
                  <c:v>47.54</c:v>
                </c:pt>
                <c:pt idx="277">
                  <c:v>47.6</c:v>
                </c:pt>
                <c:pt idx="278">
                  <c:v>52.68</c:v>
                </c:pt>
                <c:pt idx="279">
                  <c:v>47.34</c:v>
                </c:pt>
                <c:pt idx="280">
                  <c:v>45.6</c:v>
                </c:pt>
                <c:pt idx="281">
                  <c:v>47.6</c:v>
                </c:pt>
                <c:pt idx="282">
                  <c:v>46.24</c:v>
                </c:pt>
                <c:pt idx="283">
                  <c:v>45.81</c:v>
                </c:pt>
                <c:pt idx="284">
                  <c:v>48.04</c:v>
                </c:pt>
                <c:pt idx="285">
                  <c:v>47.23</c:v>
                </c:pt>
                <c:pt idx="286">
                  <c:v>47.91</c:v>
                </c:pt>
                <c:pt idx="287">
                  <c:v>45.21</c:v>
                </c:pt>
                <c:pt idx="288">
                  <c:v>46.89</c:v>
                </c:pt>
                <c:pt idx="289">
                  <c:v>46.3</c:v>
                </c:pt>
                <c:pt idx="290">
                  <c:v>45.3</c:v>
                </c:pt>
                <c:pt idx="291">
                  <c:v>45.75</c:v>
                </c:pt>
                <c:pt idx="292">
                  <c:v>47.25</c:v>
                </c:pt>
                <c:pt idx="293">
                  <c:v>47.12</c:v>
                </c:pt>
                <c:pt idx="294">
                  <c:v>48.91</c:v>
                </c:pt>
                <c:pt idx="295">
                  <c:v>47.6</c:v>
                </c:pt>
                <c:pt idx="296">
                  <c:v>43.49</c:v>
                </c:pt>
                <c:pt idx="297">
                  <c:v>51.82</c:v>
                </c:pt>
                <c:pt idx="298">
                  <c:v>46.55</c:v>
                </c:pt>
                <c:pt idx="299">
                  <c:v>48.58</c:v>
                </c:pt>
                <c:pt idx="300">
                  <c:v>48.96</c:v>
                </c:pt>
                <c:pt idx="301">
                  <c:v>54.45</c:v>
                </c:pt>
                <c:pt idx="302">
                  <c:v>43.26</c:v>
                </c:pt>
                <c:pt idx="303">
                  <c:v>45.92</c:v>
                </c:pt>
                <c:pt idx="304">
                  <c:v>43.21</c:v>
                </c:pt>
                <c:pt idx="305">
                  <c:v>43.2</c:v>
                </c:pt>
                <c:pt idx="306">
                  <c:v>41.52</c:v>
                </c:pt>
                <c:pt idx="307">
                  <c:v>48.71</c:v>
                </c:pt>
                <c:pt idx="308">
                  <c:v>43.68</c:v>
                </c:pt>
                <c:pt idx="309">
                  <c:v>44.22</c:v>
                </c:pt>
                <c:pt idx="310">
                  <c:v>46.17</c:v>
                </c:pt>
                <c:pt idx="311">
                  <c:v>44.24</c:v>
                </c:pt>
                <c:pt idx="312">
                  <c:v>38.56</c:v>
                </c:pt>
              </c:numCache>
            </c:numRef>
          </c:xVal>
          <c:yVal>
            <c:numRef>
              <c:f>'INEPE vs INSE'!$AZ$7:$AZ$319</c:f>
              <c:numCache>
                <c:formatCode>General</c:formatCode>
                <c:ptCount val="313"/>
                <c:pt idx="0">
                  <c:v>3.72</c:v>
                </c:pt>
                <c:pt idx="1">
                  <c:v>3.7</c:v>
                </c:pt>
                <c:pt idx="2">
                  <c:v>3.26</c:v>
                </c:pt>
                <c:pt idx="3">
                  <c:v>3.83</c:v>
                </c:pt>
                <c:pt idx="4">
                  <c:v>3.71</c:v>
                </c:pt>
                <c:pt idx="5">
                  <c:v>3.78</c:v>
                </c:pt>
                <c:pt idx="6">
                  <c:v>3.53</c:v>
                </c:pt>
                <c:pt idx="7">
                  <c:v>4.1500000000000004</c:v>
                </c:pt>
                <c:pt idx="8">
                  <c:v>3.78</c:v>
                </c:pt>
                <c:pt idx="9">
                  <c:v>3.18</c:v>
                </c:pt>
                <c:pt idx="10">
                  <c:v>3.75</c:v>
                </c:pt>
                <c:pt idx="11">
                  <c:v>4.0199999999999996</c:v>
                </c:pt>
                <c:pt idx="12">
                  <c:v>2.61</c:v>
                </c:pt>
                <c:pt idx="13">
                  <c:v>3.67</c:v>
                </c:pt>
                <c:pt idx="14">
                  <c:v>5.09</c:v>
                </c:pt>
                <c:pt idx="15">
                  <c:v>3.01</c:v>
                </c:pt>
                <c:pt idx="16">
                  <c:v>3.52</c:v>
                </c:pt>
                <c:pt idx="17">
                  <c:v>3.55</c:v>
                </c:pt>
                <c:pt idx="18">
                  <c:v>3.15</c:v>
                </c:pt>
                <c:pt idx="19">
                  <c:v>3.19</c:v>
                </c:pt>
                <c:pt idx="20">
                  <c:v>4.0199999999999996</c:v>
                </c:pt>
                <c:pt idx="21">
                  <c:v>2.89</c:v>
                </c:pt>
                <c:pt idx="22">
                  <c:v>3.35</c:v>
                </c:pt>
                <c:pt idx="23">
                  <c:v>3.97</c:v>
                </c:pt>
                <c:pt idx="24">
                  <c:v>3.25</c:v>
                </c:pt>
                <c:pt idx="25">
                  <c:v>3.54</c:v>
                </c:pt>
                <c:pt idx="26">
                  <c:v>3.88</c:v>
                </c:pt>
                <c:pt idx="27">
                  <c:v>4.1900000000000004</c:v>
                </c:pt>
                <c:pt idx="28">
                  <c:v>3.49</c:v>
                </c:pt>
                <c:pt idx="29">
                  <c:v>4.16</c:v>
                </c:pt>
                <c:pt idx="30">
                  <c:v>3.87</c:v>
                </c:pt>
                <c:pt idx="31">
                  <c:v>2.99</c:v>
                </c:pt>
                <c:pt idx="32">
                  <c:v>7.2</c:v>
                </c:pt>
                <c:pt idx="33">
                  <c:v>5.48</c:v>
                </c:pt>
                <c:pt idx="34">
                  <c:v>4.96</c:v>
                </c:pt>
                <c:pt idx="35">
                  <c:v>4.21</c:v>
                </c:pt>
                <c:pt idx="36">
                  <c:v>3.45</c:v>
                </c:pt>
                <c:pt idx="37">
                  <c:v>3.25</c:v>
                </c:pt>
                <c:pt idx="38">
                  <c:v>3.41</c:v>
                </c:pt>
                <c:pt idx="39">
                  <c:v>4.1900000000000004</c:v>
                </c:pt>
                <c:pt idx="40">
                  <c:v>3.31</c:v>
                </c:pt>
                <c:pt idx="41">
                  <c:v>4.0999999999999996</c:v>
                </c:pt>
                <c:pt idx="42">
                  <c:v>4.09</c:v>
                </c:pt>
                <c:pt idx="43">
                  <c:v>4.5</c:v>
                </c:pt>
                <c:pt idx="44">
                  <c:v>3.03</c:v>
                </c:pt>
                <c:pt idx="45">
                  <c:v>3.08</c:v>
                </c:pt>
                <c:pt idx="46">
                  <c:v>2.5299999999999998</c:v>
                </c:pt>
                <c:pt idx="47">
                  <c:v>2.79</c:v>
                </c:pt>
                <c:pt idx="48">
                  <c:v>4.66</c:v>
                </c:pt>
                <c:pt idx="49">
                  <c:v>3.75</c:v>
                </c:pt>
                <c:pt idx="50">
                  <c:v>2.71</c:v>
                </c:pt>
                <c:pt idx="51">
                  <c:v>2.91</c:v>
                </c:pt>
                <c:pt idx="52">
                  <c:v>3.9</c:v>
                </c:pt>
                <c:pt idx="53">
                  <c:v>3.54</c:v>
                </c:pt>
                <c:pt idx="54">
                  <c:v>3.83</c:v>
                </c:pt>
                <c:pt idx="55">
                  <c:v>3.42</c:v>
                </c:pt>
                <c:pt idx="56">
                  <c:v>3.3</c:v>
                </c:pt>
                <c:pt idx="57">
                  <c:v>3.55</c:v>
                </c:pt>
                <c:pt idx="58">
                  <c:v>4.0599999999999996</c:v>
                </c:pt>
                <c:pt idx="59">
                  <c:v>2.94</c:v>
                </c:pt>
                <c:pt idx="60">
                  <c:v>4.72</c:v>
                </c:pt>
                <c:pt idx="61">
                  <c:v>4.09</c:v>
                </c:pt>
                <c:pt idx="62">
                  <c:v>3.14</c:v>
                </c:pt>
                <c:pt idx="63">
                  <c:v>3.29</c:v>
                </c:pt>
                <c:pt idx="64">
                  <c:v>2.4300000000000002</c:v>
                </c:pt>
                <c:pt idx="65">
                  <c:v>4.1399999999999997</c:v>
                </c:pt>
                <c:pt idx="66">
                  <c:v>3.46</c:v>
                </c:pt>
                <c:pt idx="67">
                  <c:v>3.8</c:v>
                </c:pt>
                <c:pt idx="68">
                  <c:v>3.37</c:v>
                </c:pt>
                <c:pt idx="69">
                  <c:v>5.4</c:v>
                </c:pt>
                <c:pt idx="70">
                  <c:v>3.19</c:v>
                </c:pt>
                <c:pt idx="71">
                  <c:v>4.3600000000000003</c:v>
                </c:pt>
                <c:pt idx="72">
                  <c:v>3.45</c:v>
                </c:pt>
                <c:pt idx="73">
                  <c:v>3.41</c:v>
                </c:pt>
                <c:pt idx="74">
                  <c:v>3.18</c:v>
                </c:pt>
                <c:pt idx="75">
                  <c:v>3.27</c:v>
                </c:pt>
                <c:pt idx="76">
                  <c:v>3.38</c:v>
                </c:pt>
                <c:pt idx="77">
                  <c:v>3.15</c:v>
                </c:pt>
                <c:pt idx="78">
                  <c:v>3.25</c:v>
                </c:pt>
                <c:pt idx="79">
                  <c:v>2.82</c:v>
                </c:pt>
                <c:pt idx="80">
                  <c:v>3.72</c:v>
                </c:pt>
                <c:pt idx="81">
                  <c:v>3.41</c:v>
                </c:pt>
                <c:pt idx="82">
                  <c:v>3.14</c:v>
                </c:pt>
                <c:pt idx="83">
                  <c:v>2.87</c:v>
                </c:pt>
                <c:pt idx="84">
                  <c:v>2.86</c:v>
                </c:pt>
                <c:pt idx="85">
                  <c:v>2.84</c:v>
                </c:pt>
                <c:pt idx="86">
                  <c:v>3.68</c:v>
                </c:pt>
                <c:pt idx="87">
                  <c:v>4.5199999999999996</c:v>
                </c:pt>
                <c:pt idx="88">
                  <c:v>4.1399999999999997</c:v>
                </c:pt>
                <c:pt idx="89">
                  <c:v>3.56</c:v>
                </c:pt>
                <c:pt idx="90">
                  <c:v>3.6</c:v>
                </c:pt>
                <c:pt idx="91">
                  <c:v>3.18</c:v>
                </c:pt>
                <c:pt idx="92">
                  <c:v>3.68</c:v>
                </c:pt>
                <c:pt idx="93">
                  <c:v>3.38</c:v>
                </c:pt>
                <c:pt idx="94">
                  <c:v>2.93</c:v>
                </c:pt>
                <c:pt idx="95">
                  <c:v>3.88</c:v>
                </c:pt>
                <c:pt idx="96">
                  <c:v>3.36</c:v>
                </c:pt>
                <c:pt idx="97">
                  <c:v>2.67</c:v>
                </c:pt>
                <c:pt idx="98">
                  <c:v>3.62</c:v>
                </c:pt>
                <c:pt idx="99">
                  <c:v>3.21</c:v>
                </c:pt>
                <c:pt idx="100">
                  <c:v>3.16</c:v>
                </c:pt>
                <c:pt idx="101">
                  <c:v>3.19</c:v>
                </c:pt>
                <c:pt idx="102">
                  <c:v>3.85</c:v>
                </c:pt>
                <c:pt idx="103">
                  <c:v>2.96</c:v>
                </c:pt>
                <c:pt idx="104">
                  <c:v>2.89</c:v>
                </c:pt>
                <c:pt idx="105">
                  <c:v>3.29</c:v>
                </c:pt>
                <c:pt idx="106">
                  <c:v>3.74</c:v>
                </c:pt>
                <c:pt idx="107">
                  <c:v>3.33</c:v>
                </c:pt>
                <c:pt idx="108">
                  <c:v>2.66</c:v>
                </c:pt>
                <c:pt idx="109">
                  <c:v>2.96</c:v>
                </c:pt>
                <c:pt idx="110">
                  <c:v>3.08</c:v>
                </c:pt>
                <c:pt idx="111">
                  <c:v>3.02</c:v>
                </c:pt>
                <c:pt idx="112">
                  <c:v>3.32</c:v>
                </c:pt>
                <c:pt idx="113">
                  <c:v>2.17</c:v>
                </c:pt>
                <c:pt idx="114">
                  <c:v>3.76</c:v>
                </c:pt>
                <c:pt idx="115">
                  <c:v>3.43</c:v>
                </c:pt>
                <c:pt idx="116">
                  <c:v>3.35</c:v>
                </c:pt>
                <c:pt idx="117">
                  <c:v>4.04</c:v>
                </c:pt>
                <c:pt idx="118">
                  <c:v>3.99</c:v>
                </c:pt>
                <c:pt idx="119">
                  <c:v>3.37</c:v>
                </c:pt>
                <c:pt idx="120">
                  <c:v>3.23</c:v>
                </c:pt>
                <c:pt idx="121">
                  <c:v>3.94</c:v>
                </c:pt>
                <c:pt idx="122">
                  <c:v>4.08</c:v>
                </c:pt>
                <c:pt idx="123">
                  <c:v>4.25</c:v>
                </c:pt>
                <c:pt idx="124">
                  <c:v>3.87</c:v>
                </c:pt>
                <c:pt idx="125">
                  <c:v>3.58</c:v>
                </c:pt>
                <c:pt idx="126">
                  <c:v>3.03</c:v>
                </c:pt>
                <c:pt idx="127">
                  <c:v>4.21</c:v>
                </c:pt>
                <c:pt idx="128">
                  <c:v>3.84</c:v>
                </c:pt>
                <c:pt idx="129">
                  <c:v>3.56</c:v>
                </c:pt>
                <c:pt idx="130">
                  <c:v>2.97</c:v>
                </c:pt>
                <c:pt idx="131">
                  <c:v>4.13</c:v>
                </c:pt>
                <c:pt idx="132">
                  <c:v>3.87</c:v>
                </c:pt>
                <c:pt idx="133">
                  <c:v>4.24</c:v>
                </c:pt>
                <c:pt idx="134">
                  <c:v>3.92</c:v>
                </c:pt>
                <c:pt idx="135">
                  <c:v>3.06</c:v>
                </c:pt>
                <c:pt idx="136">
                  <c:v>3.35</c:v>
                </c:pt>
                <c:pt idx="137">
                  <c:v>3.53</c:v>
                </c:pt>
                <c:pt idx="138">
                  <c:v>3.25</c:v>
                </c:pt>
                <c:pt idx="139">
                  <c:v>3.34</c:v>
                </c:pt>
                <c:pt idx="140">
                  <c:v>2.95</c:v>
                </c:pt>
                <c:pt idx="141">
                  <c:v>2.64</c:v>
                </c:pt>
                <c:pt idx="142">
                  <c:v>3.56</c:v>
                </c:pt>
                <c:pt idx="143">
                  <c:v>4.45</c:v>
                </c:pt>
                <c:pt idx="144">
                  <c:v>3.17</c:v>
                </c:pt>
                <c:pt idx="145">
                  <c:v>3.07</c:v>
                </c:pt>
                <c:pt idx="146">
                  <c:v>3.54</c:v>
                </c:pt>
                <c:pt idx="147">
                  <c:v>3.44</c:v>
                </c:pt>
                <c:pt idx="148">
                  <c:v>3.74</c:v>
                </c:pt>
                <c:pt idx="149">
                  <c:v>2.5299999999999998</c:v>
                </c:pt>
                <c:pt idx="150">
                  <c:v>3.42</c:v>
                </c:pt>
                <c:pt idx="151">
                  <c:v>2.9</c:v>
                </c:pt>
                <c:pt idx="152">
                  <c:v>3.2</c:v>
                </c:pt>
                <c:pt idx="153">
                  <c:v>6.11</c:v>
                </c:pt>
                <c:pt idx="154">
                  <c:v>3.26</c:v>
                </c:pt>
                <c:pt idx="155">
                  <c:v>2.56</c:v>
                </c:pt>
                <c:pt idx="156">
                  <c:v>3.5</c:v>
                </c:pt>
                <c:pt idx="157">
                  <c:v>2.84</c:v>
                </c:pt>
                <c:pt idx="158">
                  <c:v>4.1100000000000003</c:v>
                </c:pt>
                <c:pt idx="159">
                  <c:v>3.37</c:v>
                </c:pt>
                <c:pt idx="160">
                  <c:v>3.26</c:v>
                </c:pt>
                <c:pt idx="161">
                  <c:v>3.36</c:v>
                </c:pt>
                <c:pt idx="162">
                  <c:v>3.89</c:v>
                </c:pt>
                <c:pt idx="163">
                  <c:v>3.32</c:v>
                </c:pt>
                <c:pt idx="164">
                  <c:v>3.1</c:v>
                </c:pt>
                <c:pt idx="165">
                  <c:v>2.9</c:v>
                </c:pt>
                <c:pt idx="166">
                  <c:v>5.92</c:v>
                </c:pt>
                <c:pt idx="167">
                  <c:v>3.18</c:v>
                </c:pt>
                <c:pt idx="168">
                  <c:v>3.1</c:v>
                </c:pt>
                <c:pt idx="169">
                  <c:v>3.27</c:v>
                </c:pt>
                <c:pt idx="170">
                  <c:v>3.09</c:v>
                </c:pt>
                <c:pt idx="171">
                  <c:v>3.03</c:v>
                </c:pt>
                <c:pt idx="172">
                  <c:v>2.8</c:v>
                </c:pt>
                <c:pt idx="173">
                  <c:v>3.23</c:v>
                </c:pt>
                <c:pt idx="174">
                  <c:v>3.61</c:v>
                </c:pt>
                <c:pt idx="175">
                  <c:v>3.84</c:v>
                </c:pt>
                <c:pt idx="176">
                  <c:v>3.35</c:v>
                </c:pt>
                <c:pt idx="177">
                  <c:v>2.38</c:v>
                </c:pt>
                <c:pt idx="178">
                  <c:v>4.2300000000000004</c:v>
                </c:pt>
                <c:pt idx="179">
                  <c:v>3.81</c:v>
                </c:pt>
                <c:pt idx="180">
                  <c:v>4.28</c:v>
                </c:pt>
                <c:pt idx="181">
                  <c:v>3.21</c:v>
                </c:pt>
                <c:pt idx="182">
                  <c:v>3.35</c:v>
                </c:pt>
                <c:pt idx="183">
                  <c:v>3.48</c:v>
                </c:pt>
                <c:pt idx="184">
                  <c:v>4.12</c:v>
                </c:pt>
                <c:pt idx="185">
                  <c:v>3.79</c:v>
                </c:pt>
                <c:pt idx="186">
                  <c:v>3.2</c:v>
                </c:pt>
                <c:pt idx="187">
                  <c:v>3.62</c:v>
                </c:pt>
                <c:pt idx="188">
                  <c:v>3.88</c:v>
                </c:pt>
                <c:pt idx="189">
                  <c:v>3.25</c:v>
                </c:pt>
                <c:pt idx="190">
                  <c:v>3.92</c:v>
                </c:pt>
                <c:pt idx="191">
                  <c:v>3.39</c:v>
                </c:pt>
                <c:pt idx="192">
                  <c:v>4.0999999999999996</c:v>
                </c:pt>
                <c:pt idx="193">
                  <c:v>3.16</c:v>
                </c:pt>
                <c:pt idx="194">
                  <c:v>3.93</c:v>
                </c:pt>
                <c:pt idx="195">
                  <c:v>4.2</c:v>
                </c:pt>
                <c:pt idx="196">
                  <c:v>2.94</c:v>
                </c:pt>
                <c:pt idx="197">
                  <c:v>3.27</c:v>
                </c:pt>
                <c:pt idx="198">
                  <c:v>2.95</c:v>
                </c:pt>
                <c:pt idx="199">
                  <c:v>4.13</c:v>
                </c:pt>
                <c:pt idx="200">
                  <c:v>3.36</c:v>
                </c:pt>
                <c:pt idx="201">
                  <c:v>2.4900000000000002</c:v>
                </c:pt>
                <c:pt idx="202">
                  <c:v>2.98</c:v>
                </c:pt>
                <c:pt idx="203">
                  <c:v>3.67</c:v>
                </c:pt>
                <c:pt idx="204">
                  <c:v>3.49</c:v>
                </c:pt>
                <c:pt idx="205">
                  <c:v>3.39</c:v>
                </c:pt>
                <c:pt idx="206">
                  <c:v>4.32</c:v>
                </c:pt>
                <c:pt idx="207">
                  <c:v>4.21</c:v>
                </c:pt>
                <c:pt idx="208">
                  <c:v>3.42</c:v>
                </c:pt>
                <c:pt idx="209">
                  <c:v>3.61</c:v>
                </c:pt>
                <c:pt idx="210">
                  <c:v>2.27</c:v>
                </c:pt>
                <c:pt idx="211">
                  <c:v>3.31</c:v>
                </c:pt>
                <c:pt idx="212">
                  <c:v>3.72</c:v>
                </c:pt>
                <c:pt idx="213">
                  <c:v>3.45</c:v>
                </c:pt>
                <c:pt idx="214">
                  <c:v>3.48</c:v>
                </c:pt>
                <c:pt idx="215">
                  <c:v>3.4</c:v>
                </c:pt>
                <c:pt idx="216">
                  <c:v>3.78</c:v>
                </c:pt>
                <c:pt idx="217">
                  <c:v>3.03</c:v>
                </c:pt>
                <c:pt idx="218">
                  <c:v>2.6</c:v>
                </c:pt>
                <c:pt idx="219">
                  <c:v>2.86</c:v>
                </c:pt>
                <c:pt idx="220">
                  <c:v>3.19</c:v>
                </c:pt>
                <c:pt idx="221">
                  <c:v>3.06</c:v>
                </c:pt>
                <c:pt idx="222">
                  <c:v>3.5</c:v>
                </c:pt>
                <c:pt idx="223">
                  <c:v>3.42</c:v>
                </c:pt>
                <c:pt idx="224">
                  <c:v>3.46</c:v>
                </c:pt>
                <c:pt idx="225">
                  <c:v>3.35</c:v>
                </c:pt>
                <c:pt idx="226">
                  <c:v>3.14</c:v>
                </c:pt>
                <c:pt idx="227">
                  <c:v>3.53</c:v>
                </c:pt>
                <c:pt idx="228">
                  <c:v>3.22</c:v>
                </c:pt>
                <c:pt idx="229">
                  <c:v>3.21</c:v>
                </c:pt>
                <c:pt idx="230">
                  <c:v>2.59</c:v>
                </c:pt>
                <c:pt idx="231">
                  <c:v>3.65</c:v>
                </c:pt>
                <c:pt idx="232">
                  <c:v>3.84</c:v>
                </c:pt>
                <c:pt idx="233">
                  <c:v>3.31</c:v>
                </c:pt>
                <c:pt idx="234">
                  <c:v>2.97</c:v>
                </c:pt>
                <c:pt idx="235">
                  <c:v>3.16</c:v>
                </c:pt>
                <c:pt idx="236">
                  <c:v>3.46</c:v>
                </c:pt>
                <c:pt idx="237">
                  <c:v>3.38</c:v>
                </c:pt>
                <c:pt idx="238">
                  <c:v>3.28</c:v>
                </c:pt>
                <c:pt idx="239">
                  <c:v>3.88</c:v>
                </c:pt>
                <c:pt idx="240">
                  <c:v>3.39</c:v>
                </c:pt>
                <c:pt idx="241">
                  <c:v>3.83</c:v>
                </c:pt>
                <c:pt idx="242">
                  <c:v>4.37</c:v>
                </c:pt>
                <c:pt idx="243">
                  <c:v>3.35</c:v>
                </c:pt>
                <c:pt idx="244">
                  <c:v>3.72</c:v>
                </c:pt>
                <c:pt idx="245">
                  <c:v>3.25</c:v>
                </c:pt>
                <c:pt idx="246">
                  <c:v>3.55</c:v>
                </c:pt>
                <c:pt idx="247">
                  <c:v>3.73</c:v>
                </c:pt>
                <c:pt idx="248">
                  <c:v>6.92</c:v>
                </c:pt>
                <c:pt idx="249">
                  <c:v>3.09</c:v>
                </c:pt>
                <c:pt idx="250">
                  <c:v>3.57</c:v>
                </c:pt>
                <c:pt idx="251">
                  <c:v>3.08</c:v>
                </c:pt>
                <c:pt idx="252">
                  <c:v>3.61</c:v>
                </c:pt>
                <c:pt idx="253">
                  <c:v>4.08</c:v>
                </c:pt>
                <c:pt idx="254">
                  <c:v>3.32</c:v>
                </c:pt>
                <c:pt idx="255">
                  <c:v>3.47</c:v>
                </c:pt>
                <c:pt idx="256">
                  <c:v>4.3099999999999996</c:v>
                </c:pt>
                <c:pt idx="257">
                  <c:v>3.43</c:v>
                </c:pt>
                <c:pt idx="258">
                  <c:v>3.15</c:v>
                </c:pt>
                <c:pt idx="259">
                  <c:v>3.22</c:v>
                </c:pt>
                <c:pt idx="260">
                  <c:v>2.99</c:v>
                </c:pt>
                <c:pt idx="261">
                  <c:v>2.88</c:v>
                </c:pt>
                <c:pt idx="262">
                  <c:v>3.34</c:v>
                </c:pt>
                <c:pt idx="263">
                  <c:v>3.52</c:v>
                </c:pt>
                <c:pt idx="264">
                  <c:v>3.7</c:v>
                </c:pt>
                <c:pt idx="265">
                  <c:v>3.94</c:v>
                </c:pt>
                <c:pt idx="266">
                  <c:v>2.89</c:v>
                </c:pt>
                <c:pt idx="267">
                  <c:v>3.15</c:v>
                </c:pt>
                <c:pt idx="268">
                  <c:v>3.97</c:v>
                </c:pt>
                <c:pt idx="269">
                  <c:v>4.1399999999999997</c:v>
                </c:pt>
                <c:pt idx="270">
                  <c:v>2.5099999999999998</c:v>
                </c:pt>
                <c:pt idx="271">
                  <c:v>3.73</c:v>
                </c:pt>
                <c:pt idx="272">
                  <c:v>2.75</c:v>
                </c:pt>
                <c:pt idx="273">
                  <c:v>2.77</c:v>
                </c:pt>
                <c:pt idx="274">
                  <c:v>3.27</c:v>
                </c:pt>
                <c:pt idx="275">
                  <c:v>3.15</c:v>
                </c:pt>
                <c:pt idx="276">
                  <c:v>3.08</c:v>
                </c:pt>
                <c:pt idx="277">
                  <c:v>2.73</c:v>
                </c:pt>
                <c:pt idx="278">
                  <c:v>3.35</c:v>
                </c:pt>
                <c:pt idx="279">
                  <c:v>3.23</c:v>
                </c:pt>
                <c:pt idx="280">
                  <c:v>2.59</c:v>
                </c:pt>
                <c:pt idx="281">
                  <c:v>2.39</c:v>
                </c:pt>
                <c:pt idx="282">
                  <c:v>2.41</c:v>
                </c:pt>
                <c:pt idx="283">
                  <c:v>3.15</c:v>
                </c:pt>
                <c:pt idx="284">
                  <c:v>3.12</c:v>
                </c:pt>
                <c:pt idx="285">
                  <c:v>3.08</c:v>
                </c:pt>
                <c:pt idx="286">
                  <c:v>3.89</c:v>
                </c:pt>
                <c:pt idx="287">
                  <c:v>2.52</c:v>
                </c:pt>
                <c:pt idx="288">
                  <c:v>3.17</c:v>
                </c:pt>
                <c:pt idx="289">
                  <c:v>2.48</c:v>
                </c:pt>
                <c:pt idx="290">
                  <c:v>3.03</c:v>
                </c:pt>
                <c:pt idx="291">
                  <c:v>3.38</c:v>
                </c:pt>
                <c:pt idx="292">
                  <c:v>3.29</c:v>
                </c:pt>
                <c:pt idx="293">
                  <c:v>3.52</c:v>
                </c:pt>
                <c:pt idx="294">
                  <c:v>2.86</c:v>
                </c:pt>
                <c:pt idx="295">
                  <c:v>2.91</c:v>
                </c:pt>
                <c:pt idx="296">
                  <c:v>4.51</c:v>
                </c:pt>
                <c:pt idx="297">
                  <c:v>6.22</c:v>
                </c:pt>
                <c:pt idx="298">
                  <c:v>3.68</c:v>
                </c:pt>
                <c:pt idx="299">
                  <c:v>3.06</c:v>
                </c:pt>
                <c:pt idx="300">
                  <c:v>3.42</c:v>
                </c:pt>
                <c:pt idx="301">
                  <c:v>5.39</c:v>
                </c:pt>
                <c:pt idx="302">
                  <c:v>3.07</c:v>
                </c:pt>
                <c:pt idx="303">
                  <c:v>3.05</c:v>
                </c:pt>
                <c:pt idx="304">
                  <c:v>3.82</c:v>
                </c:pt>
                <c:pt idx="305">
                  <c:v>4.54</c:v>
                </c:pt>
                <c:pt idx="306">
                  <c:v>3.82</c:v>
                </c:pt>
                <c:pt idx="307">
                  <c:v>2.87</c:v>
                </c:pt>
                <c:pt idx="308">
                  <c:v>2.98</c:v>
                </c:pt>
                <c:pt idx="309">
                  <c:v>3.3</c:v>
                </c:pt>
                <c:pt idx="310">
                  <c:v>2.84</c:v>
                </c:pt>
                <c:pt idx="311">
                  <c:v>3.79</c:v>
                </c:pt>
                <c:pt idx="312">
                  <c:v>3.59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B17A-4484-ADD2-A2622859FB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2943632"/>
        <c:axId val="172938536"/>
      </c:scatterChart>
      <c:valAx>
        <c:axId val="172943632"/>
        <c:scaling>
          <c:orientation val="minMax"/>
          <c:max val="65"/>
          <c:min val="20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26247B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72938536"/>
        <c:crosses val="autoZero"/>
        <c:crossBetween val="midCat"/>
        <c:majorUnit val="2"/>
      </c:valAx>
      <c:valAx>
        <c:axId val="172938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pPr>
            <a:endParaRPr lang="pt-BR"/>
          </a:p>
        </c:txPr>
        <c:crossAx val="17294363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673197649332414"/>
          <c:y val="0.59792569255220107"/>
          <c:w val="0.2169770899171283"/>
          <c:h val="0.3483646977318030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364009860312245E-2"/>
          <c:y val="4.49438202247191E-2"/>
          <c:w val="0.95727198027937555"/>
          <c:h val="0.910112359550561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8.043369272237214</c:v>
                </c:pt>
                <c:pt idx="1">
                  <c:v>9.05336927223720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96D-4216-9055-79B4D732E180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30.653369272237228</c:v>
                </c:pt>
                <c:pt idx="1">
                  <c:v>25.64336927223723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96D-4216-9055-79B4D732E1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2941280"/>
        <c:axId val="172938144"/>
      </c:barChart>
      <c:catAx>
        <c:axId val="1729412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72938144"/>
        <c:crosses val="min"/>
        <c:auto val="0"/>
        <c:lblAlgn val="ctr"/>
        <c:lblOffset val="100"/>
        <c:noMultiLvlLbl val="0"/>
      </c:catAx>
      <c:valAx>
        <c:axId val="172938144"/>
        <c:scaling>
          <c:orientation val="minMax"/>
          <c:max val="30.6533692722372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2941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2.7683202933510717E-2"/>
          <c:w val="1"/>
          <c:h val="0.74282568582596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IDEB</c:v>
                </c:pt>
              </c:strCache>
            </c:strRef>
          </c:tx>
          <c:spPr>
            <a:solidFill>
              <a:srgbClr val="0D64A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464649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C85-4895-AE59-C0FDEBD76F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Escolas parciais</c:v>
                </c:pt>
                <c:pt idx="1">
                  <c:v>Escolas Integrais P1</c:v>
                </c:pt>
              </c:strCache>
            </c:strRef>
          </c:cat>
          <c:val>
            <c:numRef>
              <c:f>Planilha1!$B$2:$B$3</c:f>
              <c:numCache>
                <c:formatCode>General</c:formatCode>
                <c:ptCount val="2"/>
                <c:pt idx="0">
                  <c:v>3.8</c:v>
                </c:pt>
                <c:pt idx="1">
                  <c:v>4.4000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C85-4895-AE59-C0FDEBD76F4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9"/>
        <c:axId val="172939320"/>
        <c:axId val="172942064"/>
      </c:barChart>
      <c:catAx>
        <c:axId val="172939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72942064"/>
        <c:crosses val="autoZero"/>
        <c:auto val="1"/>
        <c:lblAlgn val="ctr"/>
        <c:lblOffset val="100"/>
        <c:noMultiLvlLbl val="0"/>
      </c:catAx>
      <c:valAx>
        <c:axId val="172942064"/>
        <c:scaling>
          <c:orientation val="minMax"/>
          <c:max val="5"/>
          <c:min val="3"/>
        </c:scaling>
        <c:delete val="1"/>
        <c:axPos val="l"/>
        <c:numFmt formatCode="General" sourceLinked="1"/>
        <c:majorTickMark val="out"/>
        <c:minorTickMark val="none"/>
        <c:tickLblPos val="nextTo"/>
        <c:crossAx val="172939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916666666666665E-2"/>
          <c:y val="3.8068953038390238E-2"/>
          <c:w val="0.95416666666666672"/>
          <c:h val="0.630034632664578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Custo por aluno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Tempo parcial</c:v>
                </c:pt>
                <c:pt idx="1">
                  <c:v>Tempo integral (45h)</c:v>
                </c:pt>
              </c:strCache>
            </c:strRef>
          </c:cat>
          <c:val>
            <c:numRef>
              <c:f>Planilha1!$B$2:$B$3</c:f>
              <c:numCache>
                <c:formatCode>0.00</c:formatCode>
                <c:ptCount val="2"/>
                <c:pt idx="0">
                  <c:v>3.87</c:v>
                </c:pt>
                <c:pt idx="1">
                  <c:v>6.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91F-4113-AC09-8B6E72A3DAA6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Custo por aluno formado</c:v>
                </c:pt>
              </c:strCache>
            </c:strRef>
          </c:tx>
          <c:spPr>
            <a:solidFill>
              <a:schemeClr val="accent4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Tempo parcial</c:v>
                </c:pt>
                <c:pt idx="1">
                  <c:v>Tempo integral (45h)</c:v>
                </c:pt>
              </c:strCache>
            </c:strRef>
          </c:cat>
          <c:val>
            <c:numRef>
              <c:f>Planilha1!$C$2:$C$3</c:f>
              <c:numCache>
                <c:formatCode>0.00</c:formatCode>
                <c:ptCount val="2"/>
                <c:pt idx="0">
                  <c:v>6.0868500000000001</c:v>
                </c:pt>
                <c:pt idx="1">
                  <c:v>8.07891000000000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91F-4113-AC09-8B6E72A3DAA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25"/>
        <c:axId val="172944808"/>
        <c:axId val="175894120"/>
      </c:barChart>
      <c:catAx>
        <c:axId val="172944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none" spc="20" normalizeH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75894120"/>
        <c:crosses val="autoZero"/>
        <c:auto val="1"/>
        <c:lblAlgn val="ctr"/>
        <c:lblOffset val="100"/>
        <c:noMultiLvlLbl val="0"/>
      </c:catAx>
      <c:valAx>
        <c:axId val="175894120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17294480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1.8821979240385311E-2"/>
          <c:y val="0.89246634207760367"/>
          <c:w val="0.89999997768215323"/>
          <c:h val="0.1075336579223963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800" b="1" noProof="0" dirty="0">
                <a:solidFill>
                  <a:schemeClr val="accent1">
                    <a:lumMod val="75000"/>
                  </a:schemeClr>
                </a:solidFill>
              </a:rPr>
              <a:t>Probabilidade</a:t>
            </a: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</a:rPr>
              <a:t> de</a:t>
            </a:r>
            <a:r>
              <a:rPr lang="en-US" sz="1800" b="1" baseline="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1800" b="1" baseline="0" dirty="0" err="1">
                <a:solidFill>
                  <a:schemeClr val="accent1">
                    <a:lumMod val="75000"/>
                  </a:schemeClr>
                </a:solidFill>
              </a:rPr>
              <a:t>ingresso</a:t>
            </a:r>
            <a:r>
              <a:rPr lang="en-US" sz="1800" b="1" baseline="0" dirty="0">
                <a:solidFill>
                  <a:schemeClr val="accent1">
                    <a:lumMod val="75000"/>
                  </a:schemeClr>
                </a:solidFill>
              </a:rPr>
              <a:t> no Ensino superior</a:t>
            </a:r>
            <a:endParaRPr lang="en-US" sz="1800" b="1" dirty="0">
              <a:solidFill>
                <a:schemeClr val="accent1">
                  <a:lumMod val="75000"/>
                </a:scheme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Concluintes do ensino regular</c:v>
                </c:pt>
                <c:pt idx="1">
                  <c:v>Concluintes do ensino integral</c:v>
                </c:pt>
              </c:strCache>
            </c:strRef>
          </c:cat>
          <c:val>
            <c:numRef>
              <c:f>Planilha1!$B$2:$B$3</c:f>
              <c:numCache>
                <c:formatCode>0%</c:formatCode>
                <c:ptCount val="2"/>
                <c:pt idx="0">
                  <c:v>0.45950000000000002</c:v>
                </c:pt>
                <c:pt idx="1">
                  <c:v>0.63429999999999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9F3-4EEE-9C0C-40E110736B1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-27"/>
        <c:axId val="175894904"/>
        <c:axId val="175895688"/>
      </c:barChart>
      <c:catAx>
        <c:axId val="175894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75895688"/>
        <c:crosses val="autoZero"/>
        <c:auto val="1"/>
        <c:lblAlgn val="ctr"/>
        <c:lblOffset val="100"/>
        <c:noMultiLvlLbl val="0"/>
      </c:catAx>
      <c:valAx>
        <c:axId val="17589568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75894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28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4">
  <dgm:title val=""/>
  <dgm:desc val=""/>
  <dgm:catLst>
    <dgm:cat type="accent4" pri="11400"/>
  </dgm:catLst>
  <dgm:styleLbl name="node0">
    <dgm:fillClrLst meth="cycle">
      <a:schemeClr val="accent4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4">
        <a:shade val="50000"/>
      </a:schemeClr>
      <a:schemeClr val="accent4">
        <a:tint val="55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4">
        <a:shade val="80000"/>
        <a:alpha val="50000"/>
      </a:schemeClr>
      <a:schemeClr val="accent4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55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0F676F7-7F6B-43CC-B0B8-6BE6E61C41A3}" type="doc">
      <dgm:prSet loTypeId="urn:microsoft.com/office/officeart/2009/3/layout/StepUpProcess" loCatId="process" qsTypeId="urn:microsoft.com/office/officeart/2005/8/quickstyle/simple1" qsCatId="simple" csTypeId="urn:microsoft.com/office/officeart/2005/8/colors/accent4_4" csCatId="accent4" phldr="1"/>
      <dgm:spPr/>
      <dgm:t>
        <a:bodyPr/>
        <a:lstStyle/>
        <a:p>
          <a:endParaRPr lang="pt-BR"/>
        </a:p>
      </dgm:t>
    </dgm:pt>
    <dgm:pt modelId="{A617DF29-CA04-4B86-BE79-884F27631E32}">
      <dgm:prSet phldrT="[Texto]" custT="1"/>
      <dgm:spPr/>
      <dgm:t>
        <a:bodyPr/>
        <a:lstStyle/>
        <a:p>
          <a:r>
            <a:rPr lang="pt-BR" sz="1800" b="1" dirty="0">
              <a:solidFill>
                <a:schemeClr val="tx2">
                  <a:lumMod val="75000"/>
                </a:schemeClr>
              </a:solidFill>
            </a:rPr>
            <a:t>Integrais</a:t>
          </a:r>
          <a:r>
            <a:rPr lang="pt-BR" sz="1800" b="1" baseline="0" dirty="0">
              <a:solidFill>
                <a:schemeClr val="tx2">
                  <a:lumMod val="75000"/>
                </a:schemeClr>
              </a:solidFill>
            </a:rPr>
            <a:t> dupla jornada</a:t>
          </a:r>
          <a:endParaRPr lang="pt-BR" sz="1800" b="1" dirty="0">
            <a:solidFill>
              <a:schemeClr val="tx2">
                <a:lumMod val="75000"/>
              </a:schemeClr>
            </a:solidFill>
          </a:endParaRPr>
        </a:p>
      </dgm:t>
    </dgm:pt>
    <dgm:pt modelId="{A2CD70A1-007C-4710-8C49-0F4151C7179F}" type="parTrans" cxnId="{86E37B0E-314A-4EE2-8289-25FF60C95CB4}">
      <dgm:prSet/>
      <dgm:spPr/>
      <dgm:t>
        <a:bodyPr/>
        <a:lstStyle/>
        <a:p>
          <a:endParaRPr lang="pt-BR"/>
        </a:p>
      </dgm:t>
    </dgm:pt>
    <dgm:pt modelId="{25E262CC-8FE1-4971-9369-394F53816D79}" type="sibTrans" cxnId="{86E37B0E-314A-4EE2-8289-25FF60C95CB4}">
      <dgm:prSet/>
      <dgm:spPr/>
      <dgm:t>
        <a:bodyPr/>
        <a:lstStyle/>
        <a:p>
          <a:endParaRPr lang="pt-BR"/>
        </a:p>
      </dgm:t>
    </dgm:pt>
    <dgm:pt modelId="{4F9301E8-1164-48C8-9110-BF3AFAAFEF55}">
      <dgm:prSet phldrT="[Texto]" custT="1"/>
      <dgm:spPr/>
      <dgm:t>
        <a:bodyPr/>
        <a:lstStyle/>
        <a:p>
          <a:r>
            <a:rPr lang="pt-BR" sz="1800" b="1" dirty="0">
              <a:solidFill>
                <a:schemeClr val="tx2">
                  <a:lumMod val="75000"/>
                </a:schemeClr>
              </a:solidFill>
            </a:rPr>
            <a:t>Técnicas Integradas</a:t>
          </a:r>
        </a:p>
      </dgm:t>
    </dgm:pt>
    <dgm:pt modelId="{4CC37C99-E44C-4A1B-BB3F-86C82DBAE6A8}" type="parTrans" cxnId="{5FA3C45B-9E16-4BDD-BB88-B1F4EF066524}">
      <dgm:prSet/>
      <dgm:spPr/>
      <dgm:t>
        <a:bodyPr/>
        <a:lstStyle/>
        <a:p>
          <a:endParaRPr lang="pt-BR"/>
        </a:p>
      </dgm:t>
    </dgm:pt>
    <dgm:pt modelId="{5989E481-FB73-4883-88A2-A38EE18022C9}" type="sibTrans" cxnId="{5FA3C45B-9E16-4BDD-BB88-B1F4EF066524}">
      <dgm:prSet/>
      <dgm:spPr/>
      <dgm:t>
        <a:bodyPr/>
        <a:lstStyle/>
        <a:p>
          <a:endParaRPr lang="pt-BR"/>
        </a:p>
      </dgm:t>
    </dgm:pt>
    <dgm:pt modelId="{0B660564-351C-4116-8F15-DFA18EC2A54E}">
      <dgm:prSet phldrT="[Texto]" custT="1"/>
      <dgm:spPr/>
      <dgm:t>
        <a:bodyPr/>
        <a:lstStyle/>
        <a:p>
          <a:r>
            <a:rPr lang="pt-BR" sz="1800" b="1" dirty="0">
              <a:solidFill>
                <a:schemeClr val="tx2">
                  <a:lumMod val="75000"/>
                </a:schemeClr>
              </a:solidFill>
            </a:rPr>
            <a:t>Semi-Integrais </a:t>
          </a:r>
        </a:p>
      </dgm:t>
    </dgm:pt>
    <dgm:pt modelId="{21329465-CE4D-4646-89AC-64E308A5C36C}" type="parTrans" cxnId="{1E011152-8DF3-435A-A4F9-FD616827988D}">
      <dgm:prSet/>
      <dgm:spPr/>
      <dgm:t>
        <a:bodyPr/>
        <a:lstStyle/>
        <a:p>
          <a:endParaRPr lang="pt-BR"/>
        </a:p>
      </dgm:t>
    </dgm:pt>
    <dgm:pt modelId="{E16BFD72-EABC-434D-9F5D-BD1F85D67729}" type="sibTrans" cxnId="{1E011152-8DF3-435A-A4F9-FD616827988D}">
      <dgm:prSet/>
      <dgm:spPr/>
      <dgm:t>
        <a:bodyPr/>
        <a:lstStyle/>
        <a:p>
          <a:endParaRPr lang="pt-BR"/>
        </a:p>
      </dgm:t>
    </dgm:pt>
    <dgm:pt modelId="{6696E0D6-0F6C-4112-A37A-352716CE3BFE}">
      <dgm:prSet phldrT="[Texto]"/>
      <dgm:spPr/>
      <dgm:t>
        <a:bodyPr/>
        <a:lstStyle/>
        <a:p>
          <a:endParaRPr lang="pt-BR" dirty="0"/>
        </a:p>
      </dgm:t>
    </dgm:pt>
    <dgm:pt modelId="{164CB3B2-F6DB-4E55-AAB8-E6B56DDB3801}" type="parTrans" cxnId="{FB782945-9505-4D43-9DAF-54CCD46B28AC}">
      <dgm:prSet/>
      <dgm:spPr/>
      <dgm:t>
        <a:bodyPr/>
        <a:lstStyle/>
        <a:p>
          <a:endParaRPr lang="pt-BR"/>
        </a:p>
      </dgm:t>
    </dgm:pt>
    <dgm:pt modelId="{02AC87CE-85A5-4C7B-A688-8F46F34B8472}" type="sibTrans" cxnId="{FB782945-9505-4D43-9DAF-54CCD46B28AC}">
      <dgm:prSet/>
      <dgm:spPr/>
      <dgm:t>
        <a:bodyPr/>
        <a:lstStyle/>
        <a:p>
          <a:endParaRPr lang="pt-BR"/>
        </a:p>
      </dgm:t>
    </dgm:pt>
    <dgm:pt modelId="{0E16E2DB-02A8-4D30-BAA9-91F939CC9A96}" type="pres">
      <dgm:prSet presAssocID="{D0F676F7-7F6B-43CC-B0B8-6BE6E61C41A3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415D8C55-8B0B-4DFD-AE98-4638AD554A11}" type="pres">
      <dgm:prSet presAssocID="{A617DF29-CA04-4B86-BE79-884F27631E32}" presName="composite" presStyleCnt="0"/>
      <dgm:spPr/>
    </dgm:pt>
    <dgm:pt modelId="{E5DDAC6D-F49B-4E41-9E66-9A3407CCA65B}" type="pres">
      <dgm:prSet presAssocID="{A617DF29-CA04-4B86-BE79-884F27631E32}" presName="LShape" presStyleLbl="alignNode1" presStyleIdx="0" presStyleCnt="7"/>
      <dgm:spPr/>
    </dgm:pt>
    <dgm:pt modelId="{2ED0F2FD-FBDD-480E-8D2B-9E6DA935AF71}" type="pres">
      <dgm:prSet presAssocID="{A617DF29-CA04-4B86-BE79-884F27631E32}" presName="ParentText" presStyleLbl="revTx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3B727AE-C63B-4C38-8405-89D5EC02018B}" type="pres">
      <dgm:prSet presAssocID="{A617DF29-CA04-4B86-BE79-884F27631E32}" presName="Triangle" presStyleLbl="alignNode1" presStyleIdx="1" presStyleCnt="7"/>
      <dgm:spPr/>
    </dgm:pt>
    <dgm:pt modelId="{14BBBA03-79A2-49FF-9CBC-FE77A54D0110}" type="pres">
      <dgm:prSet presAssocID="{25E262CC-8FE1-4971-9369-394F53816D79}" presName="sibTrans" presStyleCnt="0"/>
      <dgm:spPr/>
    </dgm:pt>
    <dgm:pt modelId="{7A68242A-0A7E-4988-A472-BD3466271288}" type="pres">
      <dgm:prSet presAssocID="{25E262CC-8FE1-4971-9369-394F53816D79}" presName="space" presStyleCnt="0"/>
      <dgm:spPr/>
    </dgm:pt>
    <dgm:pt modelId="{6C7A3506-66A1-4F78-95A7-E05BFC28DE77}" type="pres">
      <dgm:prSet presAssocID="{4F9301E8-1164-48C8-9110-BF3AFAAFEF55}" presName="composite" presStyleCnt="0"/>
      <dgm:spPr/>
    </dgm:pt>
    <dgm:pt modelId="{AAA57182-5D00-4AB4-80A8-DEBC8023F6D8}" type="pres">
      <dgm:prSet presAssocID="{4F9301E8-1164-48C8-9110-BF3AFAAFEF55}" presName="LShape" presStyleLbl="alignNode1" presStyleIdx="2" presStyleCnt="7"/>
      <dgm:spPr/>
    </dgm:pt>
    <dgm:pt modelId="{810B07CE-3D0B-4156-A56A-7D34E4B110E1}" type="pres">
      <dgm:prSet presAssocID="{4F9301E8-1164-48C8-9110-BF3AFAAFEF55}" presName="ParentText" presStyleLbl="revTx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F87FE3E-9B2E-4932-9A83-0C7D9B1ED645}" type="pres">
      <dgm:prSet presAssocID="{4F9301E8-1164-48C8-9110-BF3AFAAFEF55}" presName="Triangle" presStyleLbl="alignNode1" presStyleIdx="3" presStyleCnt="7"/>
      <dgm:spPr/>
    </dgm:pt>
    <dgm:pt modelId="{45450A9C-7086-47B5-9856-61E10C25E081}" type="pres">
      <dgm:prSet presAssocID="{5989E481-FB73-4883-88A2-A38EE18022C9}" presName="sibTrans" presStyleCnt="0"/>
      <dgm:spPr/>
    </dgm:pt>
    <dgm:pt modelId="{91274454-54BB-4428-9FD1-15BDE99F82C5}" type="pres">
      <dgm:prSet presAssocID="{5989E481-FB73-4883-88A2-A38EE18022C9}" presName="space" presStyleCnt="0"/>
      <dgm:spPr/>
    </dgm:pt>
    <dgm:pt modelId="{B968E78D-79ED-41CF-9B22-653D251FC327}" type="pres">
      <dgm:prSet presAssocID="{0B660564-351C-4116-8F15-DFA18EC2A54E}" presName="composite" presStyleCnt="0"/>
      <dgm:spPr/>
    </dgm:pt>
    <dgm:pt modelId="{4BD5AFDE-37A2-4496-A632-7B289DCBC145}" type="pres">
      <dgm:prSet presAssocID="{0B660564-351C-4116-8F15-DFA18EC2A54E}" presName="LShape" presStyleLbl="alignNode1" presStyleIdx="4" presStyleCnt="7"/>
      <dgm:spPr/>
    </dgm:pt>
    <dgm:pt modelId="{F202B9E1-6306-4B28-8524-6D1D1AAB064A}" type="pres">
      <dgm:prSet presAssocID="{0B660564-351C-4116-8F15-DFA18EC2A54E}" presName="ParentText" presStyleLbl="revTx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4622C8D-7E8E-4F0C-8091-8075AB2B8B59}" type="pres">
      <dgm:prSet presAssocID="{0B660564-351C-4116-8F15-DFA18EC2A54E}" presName="Triangle" presStyleLbl="alignNode1" presStyleIdx="5" presStyleCnt="7"/>
      <dgm:spPr/>
    </dgm:pt>
    <dgm:pt modelId="{2C1FE6AA-4038-42B9-8A00-9952F9130203}" type="pres">
      <dgm:prSet presAssocID="{E16BFD72-EABC-434D-9F5D-BD1F85D67729}" presName="sibTrans" presStyleCnt="0"/>
      <dgm:spPr/>
    </dgm:pt>
    <dgm:pt modelId="{0AFDF1C8-BCB5-41AD-AB8F-C53120D75687}" type="pres">
      <dgm:prSet presAssocID="{E16BFD72-EABC-434D-9F5D-BD1F85D67729}" presName="space" presStyleCnt="0"/>
      <dgm:spPr/>
    </dgm:pt>
    <dgm:pt modelId="{F313FB18-4FDC-42FF-9A44-C4A5092256BC}" type="pres">
      <dgm:prSet presAssocID="{6696E0D6-0F6C-4112-A37A-352716CE3BFE}" presName="composite" presStyleCnt="0"/>
      <dgm:spPr/>
    </dgm:pt>
    <dgm:pt modelId="{74497D25-FE75-427E-BF59-2F0B38F430EE}" type="pres">
      <dgm:prSet presAssocID="{6696E0D6-0F6C-4112-A37A-352716CE3BFE}" presName="LShape" presStyleLbl="alignNode1" presStyleIdx="6" presStyleCnt="7"/>
      <dgm:spPr/>
    </dgm:pt>
    <dgm:pt modelId="{7431BC2E-F019-4FB7-9FB2-74DFBF1B08DC}" type="pres">
      <dgm:prSet presAssocID="{6696E0D6-0F6C-4112-A37A-352716CE3BFE}" presName="ParentText" presStyleLbl="revTx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603F16B0-C98C-4769-A37B-9F645BA6F5DA}" type="presOf" srcId="{6696E0D6-0F6C-4112-A37A-352716CE3BFE}" destId="{7431BC2E-F019-4FB7-9FB2-74DFBF1B08DC}" srcOrd="0" destOrd="0" presId="urn:microsoft.com/office/officeart/2009/3/layout/StepUpProcess"/>
    <dgm:cxn modelId="{71D6CB9E-C9EA-4416-B51A-7B6A63B53167}" type="presOf" srcId="{A617DF29-CA04-4B86-BE79-884F27631E32}" destId="{2ED0F2FD-FBDD-480E-8D2B-9E6DA935AF71}" srcOrd="0" destOrd="0" presId="urn:microsoft.com/office/officeart/2009/3/layout/StepUpProcess"/>
    <dgm:cxn modelId="{FB782945-9505-4D43-9DAF-54CCD46B28AC}" srcId="{D0F676F7-7F6B-43CC-B0B8-6BE6E61C41A3}" destId="{6696E0D6-0F6C-4112-A37A-352716CE3BFE}" srcOrd="3" destOrd="0" parTransId="{164CB3B2-F6DB-4E55-AAB8-E6B56DDB3801}" sibTransId="{02AC87CE-85A5-4C7B-A688-8F46F34B8472}"/>
    <dgm:cxn modelId="{37655481-C953-46AA-A201-5BB7D7F50851}" type="presOf" srcId="{D0F676F7-7F6B-43CC-B0B8-6BE6E61C41A3}" destId="{0E16E2DB-02A8-4D30-BAA9-91F939CC9A96}" srcOrd="0" destOrd="0" presId="urn:microsoft.com/office/officeart/2009/3/layout/StepUpProcess"/>
    <dgm:cxn modelId="{5FA3C45B-9E16-4BDD-BB88-B1F4EF066524}" srcId="{D0F676F7-7F6B-43CC-B0B8-6BE6E61C41A3}" destId="{4F9301E8-1164-48C8-9110-BF3AFAAFEF55}" srcOrd="1" destOrd="0" parTransId="{4CC37C99-E44C-4A1B-BB3F-86C82DBAE6A8}" sibTransId="{5989E481-FB73-4883-88A2-A38EE18022C9}"/>
    <dgm:cxn modelId="{59426E58-FF06-4091-A71B-26B656BBF3B0}" type="presOf" srcId="{4F9301E8-1164-48C8-9110-BF3AFAAFEF55}" destId="{810B07CE-3D0B-4156-A56A-7D34E4B110E1}" srcOrd="0" destOrd="0" presId="urn:microsoft.com/office/officeart/2009/3/layout/StepUpProcess"/>
    <dgm:cxn modelId="{B60ECC9D-F47F-4CA7-BC92-70070B4D8393}" type="presOf" srcId="{0B660564-351C-4116-8F15-DFA18EC2A54E}" destId="{F202B9E1-6306-4B28-8524-6D1D1AAB064A}" srcOrd="0" destOrd="0" presId="urn:microsoft.com/office/officeart/2009/3/layout/StepUpProcess"/>
    <dgm:cxn modelId="{1E011152-8DF3-435A-A4F9-FD616827988D}" srcId="{D0F676F7-7F6B-43CC-B0B8-6BE6E61C41A3}" destId="{0B660564-351C-4116-8F15-DFA18EC2A54E}" srcOrd="2" destOrd="0" parTransId="{21329465-CE4D-4646-89AC-64E308A5C36C}" sibTransId="{E16BFD72-EABC-434D-9F5D-BD1F85D67729}"/>
    <dgm:cxn modelId="{86E37B0E-314A-4EE2-8289-25FF60C95CB4}" srcId="{D0F676F7-7F6B-43CC-B0B8-6BE6E61C41A3}" destId="{A617DF29-CA04-4B86-BE79-884F27631E32}" srcOrd="0" destOrd="0" parTransId="{A2CD70A1-007C-4710-8C49-0F4151C7179F}" sibTransId="{25E262CC-8FE1-4971-9369-394F53816D79}"/>
    <dgm:cxn modelId="{E4813246-0D21-439B-A9B8-52A349DE18DF}" type="presParOf" srcId="{0E16E2DB-02A8-4D30-BAA9-91F939CC9A96}" destId="{415D8C55-8B0B-4DFD-AE98-4638AD554A11}" srcOrd="0" destOrd="0" presId="urn:microsoft.com/office/officeart/2009/3/layout/StepUpProcess"/>
    <dgm:cxn modelId="{AE3FB2F3-8CF7-4221-B173-AAEC0B6BACAD}" type="presParOf" srcId="{415D8C55-8B0B-4DFD-AE98-4638AD554A11}" destId="{E5DDAC6D-F49B-4E41-9E66-9A3407CCA65B}" srcOrd="0" destOrd="0" presId="urn:microsoft.com/office/officeart/2009/3/layout/StepUpProcess"/>
    <dgm:cxn modelId="{814D280B-2CAE-453A-8045-951258A709D7}" type="presParOf" srcId="{415D8C55-8B0B-4DFD-AE98-4638AD554A11}" destId="{2ED0F2FD-FBDD-480E-8D2B-9E6DA935AF71}" srcOrd="1" destOrd="0" presId="urn:microsoft.com/office/officeart/2009/3/layout/StepUpProcess"/>
    <dgm:cxn modelId="{6B64FE75-3637-4DAA-AA3E-14CC21351838}" type="presParOf" srcId="{415D8C55-8B0B-4DFD-AE98-4638AD554A11}" destId="{B3B727AE-C63B-4C38-8405-89D5EC02018B}" srcOrd="2" destOrd="0" presId="urn:microsoft.com/office/officeart/2009/3/layout/StepUpProcess"/>
    <dgm:cxn modelId="{213B5390-A9BF-446D-95F6-B7C858CC377B}" type="presParOf" srcId="{0E16E2DB-02A8-4D30-BAA9-91F939CC9A96}" destId="{14BBBA03-79A2-49FF-9CBC-FE77A54D0110}" srcOrd="1" destOrd="0" presId="urn:microsoft.com/office/officeart/2009/3/layout/StepUpProcess"/>
    <dgm:cxn modelId="{D8E682A4-E909-4891-A01E-A521F5250EF0}" type="presParOf" srcId="{14BBBA03-79A2-49FF-9CBC-FE77A54D0110}" destId="{7A68242A-0A7E-4988-A472-BD3466271288}" srcOrd="0" destOrd="0" presId="urn:microsoft.com/office/officeart/2009/3/layout/StepUpProcess"/>
    <dgm:cxn modelId="{DF136A35-9842-4EA8-A9A8-F79743B2067F}" type="presParOf" srcId="{0E16E2DB-02A8-4D30-BAA9-91F939CC9A96}" destId="{6C7A3506-66A1-4F78-95A7-E05BFC28DE77}" srcOrd="2" destOrd="0" presId="urn:microsoft.com/office/officeart/2009/3/layout/StepUpProcess"/>
    <dgm:cxn modelId="{8418974D-1102-4096-B21C-68FA54329B3C}" type="presParOf" srcId="{6C7A3506-66A1-4F78-95A7-E05BFC28DE77}" destId="{AAA57182-5D00-4AB4-80A8-DEBC8023F6D8}" srcOrd="0" destOrd="0" presId="urn:microsoft.com/office/officeart/2009/3/layout/StepUpProcess"/>
    <dgm:cxn modelId="{F0DE9DC6-471F-499A-843F-F6C30EC7B873}" type="presParOf" srcId="{6C7A3506-66A1-4F78-95A7-E05BFC28DE77}" destId="{810B07CE-3D0B-4156-A56A-7D34E4B110E1}" srcOrd="1" destOrd="0" presId="urn:microsoft.com/office/officeart/2009/3/layout/StepUpProcess"/>
    <dgm:cxn modelId="{A8526709-8F59-4365-AF07-3657C6E6E1E9}" type="presParOf" srcId="{6C7A3506-66A1-4F78-95A7-E05BFC28DE77}" destId="{FF87FE3E-9B2E-4932-9A83-0C7D9B1ED645}" srcOrd="2" destOrd="0" presId="urn:microsoft.com/office/officeart/2009/3/layout/StepUpProcess"/>
    <dgm:cxn modelId="{DD2DED69-D56E-4DAA-A620-ABF950A95537}" type="presParOf" srcId="{0E16E2DB-02A8-4D30-BAA9-91F939CC9A96}" destId="{45450A9C-7086-47B5-9856-61E10C25E081}" srcOrd="3" destOrd="0" presId="urn:microsoft.com/office/officeart/2009/3/layout/StepUpProcess"/>
    <dgm:cxn modelId="{0C8133D6-90CA-445F-90FA-43AFAE29B4B1}" type="presParOf" srcId="{45450A9C-7086-47B5-9856-61E10C25E081}" destId="{91274454-54BB-4428-9FD1-15BDE99F82C5}" srcOrd="0" destOrd="0" presId="urn:microsoft.com/office/officeart/2009/3/layout/StepUpProcess"/>
    <dgm:cxn modelId="{9A77C81D-7E1E-41F5-8812-527756731F25}" type="presParOf" srcId="{0E16E2DB-02A8-4D30-BAA9-91F939CC9A96}" destId="{B968E78D-79ED-41CF-9B22-653D251FC327}" srcOrd="4" destOrd="0" presId="urn:microsoft.com/office/officeart/2009/3/layout/StepUpProcess"/>
    <dgm:cxn modelId="{046333CE-E351-4908-A71E-3EF9738A7FA5}" type="presParOf" srcId="{B968E78D-79ED-41CF-9B22-653D251FC327}" destId="{4BD5AFDE-37A2-4496-A632-7B289DCBC145}" srcOrd="0" destOrd="0" presId="urn:microsoft.com/office/officeart/2009/3/layout/StepUpProcess"/>
    <dgm:cxn modelId="{5441DFBA-1A27-45FC-8143-D093181AC2C6}" type="presParOf" srcId="{B968E78D-79ED-41CF-9B22-653D251FC327}" destId="{F202B9E1-6306-4B28-8524-6D1D1AAB064A}" srcOrd="1" destOrd="0" presId="urn:microsoft.com/office/officeart/2009/3/layout/StepUpProcess"/>
    <dgm:cxn modelId="{D870CB36-2675-4D30-827F-25012E17F90A}" type="presParOf" srcId="{B968E78D-79ED-41CF-9B22-653D251FC327}" destId="{34622C8D-7E8E-4F0C-8091-8075AB2B8B59}" srcOrd="2" destOrd="0" presId="urn:microsoft.com/office/officeart/2009/3/layout/StepUpProcess"/>
    <dgm:cxn modelId="{1AFAF411-906C-49AB-91E8-A2CD6B0AD459}" type="presParOf" srcId="{0E16E2DB-02A8-4D30-BAA9-91F939CC9A96}" destId="{2C1FE6AA-4038-42B9-8A00-9952F9130203}" srcOrd="5" destOrd="0" presId="urn:microsoft.com/office/officeart/2009/3/layout/StepUpProcess"/>
    <dgm:cxn modelId="{A97DD1C1-EA31-4E13-BB87-B2A850D34430}" type="presParOf" srcId="{2C1FE6AA-4038-42B9-8A00-9952F9130203}" destId="{0AFDF1C8-BCB5-41AD-AB8F-C53120D75687}" srcOrd="0" destOrd="0" presId="urn:microsoft.com/office/officeart/2009/3/layout/StepUpProcess"/>
    <dgm:cxn modelId="{751AE412-CD61-4369-89C8-B63C37962024}" type="presParOf" srcId="{0E16E2DB-02A8-4D30-BAA9-91F939CC9A96}" destId="{F313FB18-4FDC-42FF-9A44-C4A5092256BC}" srcOrd="6" destOrd="0" presId="urn:microsoft.com/office/officeart/2009/3/layout/StepUpProcess"/>
    <dgm:cxn modelId="{47F388E2-E81D-42BC-8E10-04A2D2FFAB82}" type="presParOf" srcId="{F313FB18-4FDC-42FF-9A44-C4A5092256BC}" destId="{74497D25-FE75-427E-BF59-2F0B38F430EE}" srcOrd="0" destOrd="0" presId="urn:microsoft.com/office/officeart/2009/3/layout/StepUpProcess"/>
    <dgm:cxn modelId="{1021132D-A6EE-45B9-902D-35CAB85524E0}" type="presParOf" srcId="{F313FB18-4FDC-42FF-9A44-C4A5092256BC}" destId="{7431BC2E-F019-4FB7-9FB2-74DFBF1B08DC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DDAC6D-F49B-4E41-9E66-9A3407CCA65B}">
      <dsp:nvSpPr>
        <dsp:cNvPr id="0" name=""/>
        <dsp:cNvSpPr/>
      </dsp:nvSpPr>
      <dsp:spPr>
        <a:xfrm rot="5400000">
          <a:off x="355806" y="1436852"/>
          <a:ext cx="1065073" cy="1772258"/>
        </a:xfrm>
        <a:prstGeom prst="corner">
          <a:avLst>
            <a:gd name="adj1" fmla="val 16120"/>
            <a:gd name="adj2" fmla="val 16110"/>
          </a:avLst>
        </a:prstGeom>
        <a:solidFill>
          <a:schemeClr val="accent4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D0F2FD-FBDD-480E-8D2B-9E6DA935AF71}">
      <dsp:nvSpPr>
        <dsp:cNvPr id="0" name=""/>
        <dsp:cNvSpPr/>
      </dsp:nvSpPr>
      <dsp:spPr>
        <a:xfrm>
          <a:off x="178019" y="1966375"/>
          <a:ext cx="1600004" cy="14024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>
              <a:solidFill>
                <a:schemeClr val="tx2">
                  <a:lumMod val="75000"/>
                </a:schemeClr>
              </a:solidFill>
            </a:rPr>
            <a:t>Integrais</a:t>
          </a:r>
          <a:r>
            <a:rPr lang="pt-BR" sz="1800" b="1" kern="1200" baseline="0" dirty="0">
              <a:solidFill>
                <a:schemeClr val="tx2">
                  <a:lumMod val="75000"/>
                </a:schemeClr>
              </a:solidFill>
            </a:rPr>
            <a:t> dupla jornada</a:t>
          </a:r>
          <a:endParaRPr lang="pt-BR" sz="18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178019" y="1966375"/>
        <a:ext cx="1600004" cy="1402498"/>
      </dsp:txXfrm>
    </dsp:sp>
    <dsp:sp modelId="{B3B727AE-C63B-4C38-8405-89D5EC02018B}">
      <dsp:nvSpPr>
        <dsp:cNvPr id="0" name=""/>
        <dsp:cNvSpPr/>
      </dsp:nvSpPr>
      <dsp:spPr>
        <a:xfrm>
          <a:off x="1476136" y="1306376"/>
          <a:ext cx="301887" cy="301887"/>
        </a:xfrm>
        <a:prstGeom prst="triangle">
          <a:avLst>
            <a:gd name="adj" fmla="val 100000"/>
          </a:avLst>
        </a:prstGeom>
        <a:solidFill>
          <a:schemeClr val="accent4">
            <a:shade val="50000"/>
            <a:hueOff val="17069"/>
            <a:satOff val="-15635"/>
            <a:lumOff val="14599"/>
            <a:alphaOff val="0"/>
          </a:schemeClr>
        </a:solidFill>
        <a:ln w="25400" cap="flat" cmpd="sng" algn="ctr">
          <a:solidFill>
            <a:schemeClr val="accent4">
              <a:shade val="50000"/>
              <a:hueOff val="17069"/>
              <a:satOff val="-15635"/>
              <a:lumOff val="1459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A57182-5D00-4AB4-80A8-DEBC8023F6D8}">
      <dsp:nvSpPr>
        <dsp:cNvPr id="0" name=""/>
        <dsp:cNvSpPr/>
      </dsp:nvSpPr>
      <dsp:spPr>
        <a:xfrm rot="5400000">
          <a:off x="2314525" y="952165"/>
          <a:ext cx="1065073" cy="1772258"/>
        </a:xfrm>
        <a:prstGeom prst="corner">
          <a:avLst>
            <a:gd name="adj1" fmla="val 16120"/>
            <a:gd name="adj2" fmla="val 16110"/>
          </a:avLst>
        </a:prstGeom>
        <a:solidFill>
          <a:schemeClr val="accent4">
            <a:shade val="50000"/>
            <a:hueOff val="34139"/>
            <a:satOff val="-31270"/>
            <a:lumOff val="29197"/>
            <a:alphaOff val="0"/>
          </a:schemeClr>
        </a:solidFill>
        <a:ln w="25400" cap="flat" cmpd="sng" algn="ctr">
          <a:solidFill>
            <a:schemeClr val="accent4">
              <a:shade val="50000"/>
              <a:hueOff val="34139"/>
              <a:satOff val="-31270"/>
              <a:lumOff val="2919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10B07CE-3D0B-4156-A56A-7D34E4B110E1}">
      <dsp:nvSpPr>
        <dsp:cNvPr id="0" name=""/>
        <dsp:cNvSpPr/>
      </dsp:nvSpPr>
      <dsp:spPr>
        <a:xfrm>
          <a:off x="2136737" y="1481688"/>
          <a:ext cx="1600004" cy="14024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>
              <a:solidFill>
                <a:schemeClr val="tx2">
                  <a:lumMod val="75000"/>
                </a:schemeClr>
              </a:solidFill>
            </a:rPr>
            <a:t>Técnicas Integradas</a:t>
          </a:r>
        </a:p>
      </dsp:txBody>
      <dsp:txXfrm>
        <a:off x="2136737" y="1481688"/>
        <a:ext cx="1600004" cy="1402498"/>
      </dsp:txXfrm>
    </dsp:sp>
    <dsp:sp modelId="{FF87FE3E-9B2E-4932-9A83-0C7D9B1ED645}">
      <dsp:nvSpPr>
        <dsp:cNvPr id="0" name=""/>
        <dsp:cNvSpPr/>
      </dsp:nvSpPr>
      <dsp:spPr>
        <a:xfrm>
          <a:off x="3434855" y="821689"/>
          <a:ext cx="301887" cy="301887"/>
        </a:xfrm>
        <a:prstGeom prst="triangle">
          <a:avLst>
            <a:gd name="adj" fmla="val 100000"/>
          </a:avLst>
        </a:prstGeom>
        <a:solidFill>
          <a:schemeClr val="accent4">
            <a:shade val="50000"/>
            <a:hueOff val="51208"/>
            <a:satOff val="-46905"/>
            <a:lumOff val="43796"/>
            <a:alphaOff val="0"/>
          </a:schemeClr>
        </a:solidFill>
        <a:ln w="25400" cap="flat" cmpd="sng" algn="ctr">
          <a:solidFill>
            <a:schemeClr val="accent4">
              <a:shade val="50000"/>
              <a:hueOff val="51208"/>
              <a:satOff val="-46905"/>
              <a:lumOff val="4379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BD5AFDE-37A2-4496-A632-7B289DCBC145}">
      <dsp:nvSpPr>
        <dsp:cNvPr id="0" name=""/>
        <dsp:cNvSpPr/>
      </dsp:nvSpPr>
      <dsp:spPr>
        <a:xfrm rot="5400000">
          <a:off x="4273243" y="467478"/>
          <a:ext cx="1065073" cy="1772258"/>
        </a:xfrm>
        <a:prstGeom prst="corner">
          <a:avLst>
            <a:gd name="adj1" fmla="val 16120"/>
            <a:gd name="adj2" fmla="val 16110"/>
          </a:avLst>
        </a:prstGeom>
        <a:solidFill>
          <a:schemeClr val="accent4">
            <a:shade val="50000"/>
            <a:hueOff val="51208"/>
            <a:satOff val="-46905"/>
            <a:lumOff val="43796"/>
            <a:alphaOff val="0"/>
          </a:schemeClr>
        </a:solidFill>
        <a:ln w="25400" cap="flat" cmpd="sng" algn="ctr">
          <a:solidFill>
            <a:schemeClr val="accent4">
              <a:shade val="50000"/>
              <a:hueOff val="51208"/>
              <a:satOff val="-46905"/>
              <a:lumOff val="4379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02B9E1-6306-4B28-8524-6D1D1AAB064A}">
      <dsp:nvSpPr>
        <dsp:cNvPr id="0" name=""/>
        <dsp:cNvSpPr/>
      </dsp:nvSpPr>
      <dsp:spPr>
        <a:xfrm>
          <a:off x="4095456" y="997002"/>
          <a:ext cx="1600004" cy="14024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>
              <a:solidFill>
                <a:schemeClr val="tx2">
                  <a:lumMod val="75000"/>
                </a:schemeClr>
              </a:solidFill>
            </a:rPr>
            <a:t>Semi-Integrais </a:t>
          </a:r>
        </a:p>
      </dsp:txBody>
      <dsp:txXfrm>
        <a:off x="4095456" y="997002"/>
        <a:ext cx="1600004" cy="1402498"/>
      </dsp:txXfrm>
    </dsp:sp>
    <dsp:sp modelId="{34622C8D-7E8E-4F0C-8091-8075AB2B8B59}">
      <dsp:nvSpPr>
        <dsp:cNvPr id="0" name=""/>
        <dsp:cNvSpPr/>
      </dsp:nvSpPr>
      <dsp:spPr>
        <a:xfrm>
          <a:off x="5393573" y="337002"/>
          <a:ext cx="301887" cy="301887"/>
        </a:xfrm>
        <a:prstGeom prst="triangle">
          <a:avLst>
            <a:gd name="adj" fmla="val 100000"/>
          </a:avLst>
        </a:prstGeom>
        <a:solidFill>
          <a:schemeClr val="accent4">
            <a:shade val="50000"/>
            <a:hueOff val="34139"/>
            <a:satOff val="-31270"/>
            <a:lumOff val="29197"/>
            <a:alphaOff val="0"/>
          </a:schemeClr>
        </a:solidFill>
        <a:ln w="25400" cap="flat" cmpd="sng" algn="ctr">
          <a:solidFill>
            <a:schemeClr val="accent4">
              <a:shade val="50000"/>
              <a:hueOff val="34139"/>
              <a:satOff val="-31270"/>
              <a:lumOff val="2919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497D25-FE75-427E-BF59-2F0B38F430EE}">
      <dsp:nvSpPr>
        <dsp:cNvPr id="0" name=""/>
        <dsp:cNvSpPr/>
      </dsp:nvSpPr>
      <dsp:spPr>
        <a:xfrm rot="5400000">
          <a:off x="6231962" y="-17208"/>
          <a:ext cx="1065073" cy="1772258"/>
        </a:xfrm>
        <a:prstGeom prst="corner">
          <a:avLst>
            <a:gd name="adj1" fmla="val 16120"/>
            <a:gd name="adj2" fmla="val 16110"/>
          </a:avLst>
        </a:prstGeom>
        <a:solidFill>
          <a:schemeClr val="accent4">
            <a:shade val="50000"/>
            <a:hueOff val="17069"/>
            <a:satOff val="-15635"/>
            <a:lumOff val="14599"/>
            <a:alphaOff val="0"/>
          </a:schemeClr>
        </a:solidFill>
        <a:ln w="25400" cap="flat" cmpd="sng" algn="ctr">
          <a:solidFill>
            <a:schemeClr val="accent4">
              <a:shade val="50000"/>
              <a:hueOff val="17069"/>
              <a:satOff val="-15635"/>
              <a:lumOff val="1459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31BC2E-F019-4FB7-9FB2-74DFBF1B08DC}">
      <dsp:nvSpPr>
        <dsp:cNvPr id="0" name=""/>
        <dsp:cNvSpPr/>
      </dsp:nvSpPr>
      <dsp:spPr>
        <a:xfrm>
          <a:off x="6054174" y="512315"/>
          <a:ext cx="1600004" cy="14024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6500" kern="1200" dirty="0"/>
        </a:p>
      </dsp:txBody>
      <dsp:txXfrm>
        <a:off x="6054174" y="512315"/>
        <a:ext cx="1600004" cy="14024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04825" y="619125"/>
            <a:ext cx="5794375" cy="43449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5305828"/>
            <a:ext cx="579274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  <a:p>
            <a:pPr lvl="3"/>
            <a:r>
              <a:rPr lang="pt-BR" noProof="0"/>
              <a:t>Fourth level</a:t>
            </a:r>
          </a:p>
          <a:p>
            <a:pPr lvl="4"/>
            <a:r>
              <a:rPr lang="pt-BR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2" y="9495540"/>
            <a:ext cx="539269" cy="184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‹nº›</a:t>
            </a:fld>
            <a:endParaRPr lang="pt-BR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5" y="109899"/>
            <a:ext cx="66" cy="122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72594" indent="-297151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88606" indent="-237721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4048" indent="-237721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39490" indent="-237721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14933" indent="-2377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90375" indent="-2377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65817" indent="-2377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41259" indent="-2377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391D3C5-1E47-4AE1-A60B-ABF4E50EFB07}" type="slidenum">
              <a:rPr lang="en-GB" altLang="en-US"/>
              <a:pPr/>
              <a:t>1</a:t>
            </a:fld>
            <a:endParaRPr lang="en-GB" altLang="en-US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75282" y="5499466"/>
            <a:ext cx="6053839" cy="246221"/>
          </a:xfrm>
          <a:noFill/>
        </p:spPr>
        <p:txBody>
          <a:bodyPr/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0551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391D3C5-1E47-4AE1-A60B-ABF4E50EFB07}" type="slidenum">
              <a:rPr lang="en-GB" altLang="en-US"/>
              <a:pPr/>
              <a:t>12</a:t>
            </a:fld>
            <a:endParaRPr lang="en-GB" altLang="en-US" dirty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20136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391D3C5-1E47-4AE1-A60B-ABF4E50EFB07}" type="slidenum">
              <a:rPr lang="en-GB" altLang="en-US"/>
              <a:pPr/>
              <a:t>13</a:t>
            </a:fld>
            <a:endParaRPr lang="en-GB" altLang="en-US" dirty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81895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391D3C5-1E47-4AE1-A60B-ABF4E50EFB07}" type="slidenum">
              <a:rPr lang="en-GB" altLang="en-US"/>
              <a:pPr/>
              <a:t>14</a:t>
            </a:fld>
            <a:endParaRPr lang="en-GB" altLang="en-US" dirty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167525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165902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282" y="5499466"/>
            <a:ext cx="6053839" cy="246221"/>
          </a:xfrm>
        </p:spPr>
        <p:txBody>
          <a:bodyPr/>
          <a:lstStyle/>
          <a:p>
            <a:r>
              <a:rPr lang="pt-BR" dirty="0"/>
              <a:t>Atualizar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3A955-B271-0B48-8BBF-CE5C6DE29A0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1649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391D3C5-1E47-4AE1-A60B-ABF4E50EFB07}" type="slidenum">
              <a:rPr lang="en-GB" altLang="en-US"/>
              <a:pPr/>
              <a:t>18</a:t>
            </a:fld>
            <a:endParaRPr lang="en-GB" altLang="en-US" dirty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567041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391D3C5-1E47-4AE1-A60B-ABF4E50EFB07}" type="slidenum">
              <a:rPr lang="en-GB" altLang="en-US"/>
              <a:pPr/>
              <a:t>21</a:t>
            </a:fld>
            <a:endParaRPr lang="en-GB" altLang="en-US" dirty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222774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Deixar claro que foi depois de 1 ano de política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2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257046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391D3C5-1E47-4AE1-A60B-ABF4E50EFB07}" type="slidenum">
              <a:rPr lang="en-GB" altLang="en-US"/>
              <a:pPr/>
              <a:t>23</a:t>
            </a:fld>
            <a:endParaRPr lang="en-GB" altLang="en-US" dirty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482845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Colocar a frase contrária – quantos trabalham.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2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81933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391D3C5-1E47-4AE1-A60B-ABF4E50EFB07}" type="slidenum">
              <a:rPr lang="en-GB" altLang="en-US"/>
              <a:pPr/>
              <a:t>2</a:t>
            </a:fld>
            <a:endParaRPr lang="en-GB" altLang="en-US" dirty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330974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391D3C5-1E47-4AE1-A60B-ABF4E50EFB07}" type="slidenum">
              <a:rPr lang="en-GB" altLang="en-US"/>
              <a:pPr/>
              <a:t>25</a:t>
            </a:fld>
            <a:endParaRPr lang="en-GB" altLang="en-US" dirty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795250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>
              <a:defRPr/>
            </a:pPr>
            <a:fld id="{3C3A632B-FBDE-46D4-BF6F-6D14421E6342}" type="slidenum">
              <a:rPr lang="pt-BR" smtClean="0"/>
              <a:pPr rtl="0">
                <a:defRPr/>
              </a:pPr>
              <a:t>2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12423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282" y="5499466"/>
            <a:ext cx="6053839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2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557929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282" y="5499466"/>
            <a:ext cx="6053839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2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42190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2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3248102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3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604430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>
              <a:defRPr/>
            </a:pPr>
            <a:fld id="{3C3A632B-FBDE-46D4-BF6F-6D14421E6342}" type="slidenum">
              <a:rPr lang="pt-BR" smtClean="0"/>
              <a:pPr rtl="0">
                <a:defRPr/>
              </a:pPr>
              <a:t>3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75204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391D3C5-1E47-4AE1-A60B-ABF4E50EFB07}" type="slidenum">
              <a:rPr lang="en-GB" altLang="en-US"/>
              <a:pPr/>
              <a:t>3</a:t>
            </a:fld>
            <a:endParaRPr lang="en-GB" altLang="en-US" dirty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601078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tualizar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3A955-B271-0B48-8BBF-CE5C6DE29A0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8943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tualizar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3A955-B271-0B48-8BBF-CE5C6DE29A0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0784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tualizar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3A955-B271-0B48-8BBF-CE5C6DE29A0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1122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349273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021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391D3C5-1E47-4AE1-A60B-ABF4E50EFB07}" type="slidenum">
              <a:rPr lang="en-GB" altLang="en-US"/>
              <a:pPr/>
              <a:t>9</a:t>
            </a:fld>
            <a:endParaRPr lang="en-GB" altLang="en-US" dirty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en-US" dirty="0"/>
              <a:t>Disparidades acadêmicas – ou diminuir desigualdades sociais? </a:t>
            </a:r>
          </a:p>
        </p:txBody>
      </p:sp>
    </p:spTree>
    <p:extLst>
      <p:ext uri="{BB962C8B-B14F-4D97-AF65-F5344CB8AC3E}">
        <p14:creationId xmlns:p14="http://schemas.microsoft.com/office/powerpoint/2010/main" val="24091481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image" Target="../media/image9.emf"/><Relationship Id="rId5" Type="http://schemas.openxmlformats.org/officeDocument/2006/relationships/tags" Target="../tags/tag7.xml"/><Relationship Id="rId10" Type="http://schemas.openxmlformats.org/officeDocument/2006/relationships/image" Target="../media/image8.emf"/><Relationship Id="rId4" Type="http://schemas.openxmlformats.org/officeDocument/2006/relationships/tags" Target="../tags/tag6.xml"/><Relationship Id="rId9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ulo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3432924" y="5922746"/>
            <a:ext cx="2091002" cy="357856"/>
          </a:xfrm>
        </p:spPr>
        <p:txBody>
          <a:bodyPr/>
          <a:lstStyle>
            <a:lvl1pPr>
              <a:defRPr>
                <a:latin typeface="Candara"/>
              </a:defRPr>
            </a:lvl1pPr>
          </a:lstStyle>
          <a:p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8072" y="2566331"/>
            <a:ext cx="8065294" cy="8875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0" i="0" cap="all">
                <a:latin typeface="Gill Sans"/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48073" y="3841347"/>
            <a:ext cx="8065293" cy="572282"/>
          </a:xfrm>
        </p:spPr>
        <p:txBody>
          <a:bodyPr anchor="ctr"/>
          <a:lstStyle>
            <a:lvl1pPr>
              <a:defRPr b="0" i="0" cap="all">
                <a:latin typeface="Gill Sans"/>
              </a:defRPr>
            </a:lvl1pPr>
          </a:lstStyle>
          <a:p>
            <a:pPr lvl="0"/>
            <a:r>
              <a:rPr lang="x-none" dirty="0"/>
              <a:t>SUBTÍTULO</a:t>
            </a:r>
          </a:p>
        </p:txBody>
      </p:sp>
    </p:spTree>
    <p:extLst>
      <p:ext uri="{BB962C8B-B14F-4D97-AF65-F5344CB8AC3E}">
        <p14:creationId xmlns:p14="http://schemas.microsoft.com/office/powerpoint/2010/main" val="8195356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ulo 2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3432924" y="5922746"/>
            <a:ext cx="2091002" cy="357856"/>
          </a:xfrm>
        </p:spPr>
        <p:txBody>
          <a:bodyPr/>
          <a:lstStyle>
            <a:lvl1pPr>
              <a:defRPr>
                <a:latin typeface="Candara"/>
              </a:defRPr>
            </a:lvl1pPr>
          </a:lstStyle>
          <a:p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8072" y="2566331"/>
            <a:ext cx="8065294" cy="8875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0" i="0">
                <a:latin typeface="Gill Sans"/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48073" y="3841347"/>
            <a:ext cx="8065293" cy="572282"/>
          </a:xfrm>
        </p:spPr>
        <p:txBody>
          <a:bodyPr anchor="ctr"/>
          <a:lstStyle>
            <a:lvl1pPr>
              <a:defRPr b="0" i="0">
                <a:latin typeface="Gill Sans"/>
              </a:defRPr>
            </a:lvl1pPr>
          </a:lstStyle>
          <a:p>
            <a:pPr lvl="0"/>
            <a:r>
              <a:rPr lang="x-none" dirty="0"/>
              <a:t>SUBTÍTULO</a:t>
            </a:r>
          </a:p>
        </p:txBody>
      </p:sp>
    </p:spTree>
    <p:extLst>
      <p:ext uri="{BB962C8B-B14F-4D97-AF65-F5344CB8AC3E}">
        <p14:creationId xmlns:p14="http://schemas.microsoft.com/office/powerpoint/2010/main" val="752350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ulo e conteudo"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178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707" y="275358"/>
            <a:ext cx="8227378" cy="528182"/>
          </a:xfrm>
        </p:spPr>
        <p:txBody>
          <a:bodyPr>
            <a:normAutofit/>
          </a:bodyPr>
          <a:lstStyle>
            <a:lvl1pPr algn="l">
              <a:defRPr sz="2352" cap="all"/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404469" y="6391660"/>
            <a:ext cx="2091002" cy="279638"/>
          </a:xfrm>
          <a:prstGeom prst="rect">
            <a:avLst/>
          </a:prstGeom>
        </p:spPr>
        <p:txBody>
          <a:bodyPr/>
          <a:lstStyle>
            <a:lvl1pPr algn="ctr">
              <a:defRPr sz="1176">
                <a:solidFill>
                  <a:srgbClr val="95BC4A"/>
                </a:solidFill>
                <a:latin typeface="Gill Sans"/>
                <a:cs typeface="Neutra Text-Bold"/>
              </a:defRPr>
            </a:lvl1pPr>
          </a:lstStyle>
          <a:p>
            <a:fld id="{54E26E91-FA1B-6245-924D-A20CF7519F8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63707" y="1475915"/>
            <a:ext cx="8227378" cy="4670063"/>
          </a:xfrm>
        </p:spPr>
        <p:txBody>
          <a:bodyPr anchor="t" anchorCtr="0">
            <a:normAutofit/>
          </a:bodyPr>
          <a:lstStyle>
            <a:lvl1pPr marL="280035" indent="-280035" algn="l">
              <a:buFont typeface="Arial"/>
              <a:buChar char="•"/>
              <a:defRPr sz="1568" b="0" i="0" kern="1200" cap="none">
                <a:solidFill>
                  <a:schemeClr val="accent1"/>
                </a:solidFill>
                <a:latin typeface="Candara"/>
              </a:defRPr>
            </a:lvl1pPr>
            <a:lvl2pPr marL="728091" indent="-280035" algn="l">
              <a:buFont typeface="Arial"/>
              <a:buChar char="•"/>
              <a:defRPr sz="1568" b="0" i="0" kern="1200">
                <a:solidFill>
                  <a:schemeClr val="accent1"/>
                </a:solidFill>
                <a:latin typeface="Neutra Text"/>
              </a:defRPr>
            </a:lvl2pPr>
            <a:lvl3pPr marL="1120140" indent="-224028" algn="l">
              <a:buFont typeface="Arial"/>
              <a:buChar char="•"/>
              <a:defRPr sz="1568" b="0" i="0" kern="1200">
                <a:solidFill>
                  <a:schemeClr val="accent1"/>
                </a:solidFill>
                <a:latin typeface="Neutra Text"/>
              </a:defRPr>
            </a:lvl3pPr>
            <a:lvl4pPr marL="1568196" indent="-224028" algn="l">
              <a:buFont typeface="Arial"/>
              <a:buChar char="•"/>
              <a:defRPr sz="1568" b="0" i="0" kern="1200">
                <a:solidFill>
                  <a:schemeClr val="accent1"/>
                </a:solidFill>
                <a:latin typeface="Neutra Text"/>
              </a:defRPr>
            </a:lvl4pPr>
            <a:lvl5pPr marL="2016252" indent="-224028" algn="l">
              <a:buFont typeface="Arial"/>
              <a:buChar char="•"/>
              <a:defRPr sz="1568" b="0" i="0" kern="1200">
                <a:solidFill>
                  <a:schemeClr val="accent1"/>
                </a:solidFill>
                <a:latin typeface="Neutra Text"/>
              </a:defRPr>
            </a:lvl5pPr>
          </a:lstStyle>
          <a:p>
            <a:pPr lvl="0"/>
            <a:r>
              <a:rPr lang="x-none" dirty="0"/>
              <a:t>Texto aqui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64058" y="893042"/>
            <a:ext cx="8227098" cy="384617"/>
          </a:xfrm>
        </p:spPr>
        <p:txBody>
          <a:bodyPr anchor="t" anchorCtr="0">
            <a:normAutofit/>
          </a:bodyPr>
          <a:lstStyle>
            <a:lvl1pPr algn="l">
              <a:buFontTx/>
              <a:buNone/>
              <a:defRPr sz="1764" b="0" i="0" cap="all" baseline="0">
                <a:solidFill>
                  <a:schemeClr val="bg2"/>
                </a:solidFill>
                <a:latin typeface="Gill Sans"/>
              </a:defRPr>
            </a:lvl1pPr>
            <a:lvl2pPr marL="448056" indent="0" algn="l">
              <a:buFontTx/>
              <a:buNone/>
              <a:defRPr sz="1764" b="0" i="0" cap="all" baseline="0">
                <a:solidFill>
                  <a:schemeClr val="bg2"/>
                </a:solidFill>
                <a:latin typeface="Neutra Text"/>
              </a:defRPr>
            </a:lvl2pPr>
            <a:lvl3pPr marL="896112" indent="0" algn="l">
              <a:buFontTx/>
              <a:buNone/>
              <a:defRPr sz="1764" b="0" i="0" cap="all" baseline="0">
                <a:solidFill>
                  <a:schemeClr val="bg2"/>
                </a:solidFill>
                <a:latin typeface="Neutra Text"/>
              </a:defRPr>
            </a:lvl3pPr>
            <a:lvl4pPr marL="1344168" indent="0" algn="l">
              <a:buFontTx/>
              <a:buNone/>
              <a:defRPr sz="1764" b="0" i="0" cap="all" baseline="0">
                <a:solidFill>
                  <a:schemeClr val="bg2"/>
                </a:solidFill>
                <a:latin typeface="Neutra Text"/>
              </a:defRPr>
            </a:lvl4pPr>
            <a:lvl5pPr marL="1792224" indent="0" algn="l">
              <a:buFontTx/>
              <a:buNone/>
              <a:defRPr sz="1764" b="0" i="0" cap="all" baseline="0">
                <a:solidFill>
                  <a:schemeClr val="bg2"/>
                </a:solidFill>
                <a:latin typeface="Neutra Text"/>
              </a:defRPr>
            </a:lvl5pPr>
          </a:lstStyle>
          <a:p>
            <a:pPr lvl="0"/>
            <a:r>
              <a:rPr lang="x-none" dirty="0"/>
              <a:t>subtítu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6583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ud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404469" y="6391660"/>
            <a:ext cx="2091002" cy="279638"/>
          </a:xfrm>
          <a:prstGeom prst="rect">
            <a:avLst/>
          </a:prstGeom>
        </p:spPr>
        <p:txBody>
          <a:bodyPr/>
          <a:lstStyle>
            <a:lvl1pPr algn="ctr">
              <a:defRPr sz="1176">
                <a:solidFill>
                  <a:srgbClr val="95BC4A"/>
                </a:solidFill>
                <a:latin typeface="Gill Sans"/>
                <a:cs typeface="Neutra Text-Bold"/>
              </a:defRPr>
            </a:lvl1pPr>
          </a:lstStyle>
          <a:p>
            <a:fld id="{54E26E91-FA1B-6245-924D-A20CF7519F8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3707" y="804044"/>
            <a:ext cx="8227450" cy="5033533"/>
          </a:xfrm>
        </p:spPr>
        <p:txBody>
          <a:bodyPr anchor="t" anchorCtr="0">
            <a:normAutofit/>
          </a:bodyPr>
          <a:lstStyle>
            <a:lvl1pPr marL="280035" indent="-280035" algn="l">
              <a:buFont typeface="Arial"/>
              <a:buChar char="•"/>
              <a:defRPr sz="1568" b="0" i="0" cap="none" baseline="0">
                <a:solidFill>
                  <a:schemeClr val="accent1"/>
                </a:solidFill>
                <a:latin typeface="Candara"/>
              </a:defRPr>
            </a:lvl1pPr>
            <a:lvl2pPr marL="728091" indent="-280035" algn="l">
              <a:buFont typeface="Arial"/>
              <a:buChar char="•"/>
              <a:defRPr sz="1568" b="0" i="0" baseline="0">
                <a:solidFill>
                  <a:schemeClr val="accent1"/>
                </a:solidFill>
                <a:latin typeface="Neutra Text"/>
              </a:defRPr>
            </a:lvl2pPr>
            <a:lvl3pPr marL="1120140" indent="-224028" algn="l">
              <a:buFont typeface="Arial"/>
              <a:buChar char="•"/>
              <a:defRPr sz="1568" b="0" i="0" baseline="0">
                <a:solidFill>
                  <a:schemeClr val="accent1"/>
                </a:solidFill>
                <a:latin typeface="Neutra Text"/>
              </a:defRPr>
            </a:lvl3pPr>
            <a:lvl4pPr marL="1568196" indent="-224028" algn="l">
              <a:buFont typeface="Arial"/>
              <a:buChar char="•"/>
              <a:defRPr sz="1568" b="0" i="0" baseline="0">
                <a:solidFill>
                  <a:schemeClr val="accent1"/>
                </a:solidFill>
                <a:latin typeface="Neutra Text"/>
              </a:defRPr>
            </a:lvl4pPr>
            <a:lvl5pPr marL="2016252" indent="-224028" algn="l">
              <a:buFont typeface="Arial"/>
              <a:buChar char="•"/>
              <a:defRPr sz="1568" b="0" i="0" baseline="0">
                <a:solidFill>
                  <a:schemeClr val="accent1"/>
                </a:solidFill>
                <a:latin typeface="Neutra Text"/>
              </a:defRPr>
            </a:lvl5pPr>
          </a:lstStyle>
          <a:p>
            <a:pPr lvl="0"/>
            <a:r>
              <a:rPr lang="x-none" dirty="0"/>
              <a:t>Texto 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1584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Obrigad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72" y="2918789"/>
            <a:ext cx="8065294" cy="887586"/>
          </a:xfrm>
        </p:spPr>
        <p:txBody>
          <a:bodyPr/>
          <a:lstStyle>
            <a:lvl1pPr>
              <a:defRPr cap="all"/>
            </a:lvl1pPr>
          </a:lstStyle>
          <a:p>
            <a:r>
              <a:rPr lang="x-none" dirty="0"/>
              <a:t>OBRIGADO!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404469" y="6391660"/>
            <a:ext cx="2091002" cy="279638"/>
          </a:xfrm>
          <a:prstGeom prst="rect">
            <a:avLst/>
          </a:prstGeom>
        </p:spPr>
        <p:txBody>
          <a:bodyPr/>
          <a:lstStyle>
            <a:lvl1pPr algn="ctr">
              <a:defRPr sz="1176">
                <a:solidFill>
                  <a:srgbClr val="95BC4A"/>
                </a:solidFill>
                <a:latin typeface="Gill Sans"/>
                <a:cs typeface="Neutra Text-Bold"/>
              </a:defRPr>
            </a:lvl1pPr>
          </a:lstStyle>
          <a:p>
            <a:fld id="{54E26E91-FA1B-6245-924D-A20CF7519F8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2564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8171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/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400" dirty="0"/>
                <a:t>Tipo de documento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400" dirty="0"/>
                <a:t>Data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pt-BR" sz="800" dirty="0"/>
                <a:t>CONFIDENCIAL E DE PROPRIEDADE EXCLUSIVA</a:t>
              </a:r>
            </a:p>
            <a:p>
              <a:pPr defTabSz="804863" eaLnBrk="0" hangingPunct="0"/>
              <a:r>
                <a:rPr lang="pt-BR" sz="800" dirty="0"/>
                <a:t>A utilização deste material sem a permissão expressa da McKinsey &amp; Company é estritamente proibida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6"/>
            </p:custDataLst>
          </p:nvPr>
        </p:nvSpPr>
        <p:spPr>
          <a:xfrm>
            <a:off x="1826372" y="283845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noProof="0" dirty="0"/>
              <a:t>Click </a:t>
            </a:r>
            <a:r>
              <a:rPr lang="pt-BR" noProof="0" dirty="0" err="1"/>
              <a:t>to</a:t>
            </a:r>
            <a:r>
              <a:rPr lang="pt-BR" noProof="0" dirty="0"/>
              <a:t> </a:t>
            </a:r>
            <a:r>
              <a:rPr lang="pt-BR" noProof="0" dirty="0" err="1"/>
              <a:t>edit</a:t>
            </a:r>
            <a:r>
              <a:rPr lang="pt-BR" noProof="0" dirty="0"/>
              <a:t> Master </a:t>
            </a:r>
            <a:r>
              <a:rPr lang="pt-BR" noProof="0" dirty="0" err="1"/>
              <a:t>title</a:t>
            </a:r>
            <a:r>
              <a:rPr lang="pt-BR" noProof="0" dirty="0"/>
              <a:t> </a:t>
            </a:r>
            <a:r>
              <a:rPr lang="pt-BR" noProof="0" dirty="0" err="1"/>
              <a:t>style</a:t>
            </a:r>
            <a:endParaRPr lang="pt-BR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826372" y="5268892"/>
            <a:ext cx="4935537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pt-BR" noProof="0" dirty="0"/>
              <a:t>Click </a:t>
            </a:r>
            <a:r>
              <a:rPr lang="pt-BR" noProof="0" dirty="0" err="1"/>
              <a:t>to</a:t>
            </a:r>
            <a:r>
              <a:rPr lang="pt-BR" noProof="0" dirty="0"/>
              <a:t> </a:t>
            </a:r>
            <a:r>
              <a:rPr lang="pt-BR" noProof="0" dirty="0" err="1"/>
              <a:t>edit</a:t>
            </a:r>
            <a:r>
              <a:rPr lang="pt-BR" noProof="0" dirty="0"/>
              <a:t> Master </a:t>
            </a:r>
            <a:r>
              <a:rPr lang="pt-BR" noProof="0" dirty="0" err="1"/>
              <a:t>subtitle</a:t>
            </a:r>
            <a:r>
              <a:rPr lang="pt-BR" noProof="0" dirty="0"/>
              <a:t> </a:t>
            </a:r>
            <a:r>
              <a:rPr lang="pt-BR" noProof="0" dirty="0" err="1"/>
              <a:t>style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8673211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600" dirty="0"/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40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050" dirty="0"/>
                <a:t>Tipo de documento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050" dirty="0"/>
                <a:t>Data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52"/>
              <a:ext cx="3226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03583" eaLnBrk="0" hangingPunct="0"/>
              <a:r>
                <a:rPr lang="pt-BR" sz="600" dirty="0"/>
                <a:t>CONFIDENCIAL E DE PROPRIEDADE EXCLUSIVA</a:t>
              </a:r>
            </a:p>
            <a:p>
              <a:pPr defTabSz="603583" eaLnBrk="0" hangingPunct="0"/>
              <a:r>
                <a:rPr lang="pt-BR" sz="600" dirty="0"/>
                <a:t>A utilização deste material sem a permissão expressa da McKinsey &amp; Company é estritamente proibida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350" dirty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350" dirty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350" dirty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1"/>
            <a:ext cx="4935538" cy="369332"/>
          </a:xfrm>
          <a:prstGeom prst="rect">
            <a:avLst/>
          </a:prstGeom>
        </p:spPr>
        <p:txBody>
          <a:bodyPr/>
          <a:lstStyle>
            <a:lvl1pPr>
              <a:defRPr sz="2400" b="0"/>
            </a:lvl1pPr>
          </a:lstStyle>
          <a:p>
            <a:pPr lvl="0"/>
            <a:r>
              <a:rPr lang="pt-BR" noProof="0"/>
              <a:t>Click to edit Master title style</a:t>
            </a:r>
            <a:endParaRPr lang="pt-BR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8" cy="161583"/>
          </a:xfrm>
        </p:spPr>
        <p:txBody>
          <a:bodyPr>
            <a:spAutoFit/>
          </a:bodyPr>
          <a:lstStyle>
            <a:lvl1pPr>
              <a:defRPr sz="1050"/>
            </a:lvl1pPr>
          </a:lstStyle>
          <a:p>
            <a:pPr lvl="0"/>
            <a:r>
              <a:rPr lang="pt-BR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873154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pt-BR" sz="750" smtClean="0"/>
              <a:pPr lvl="0"/>
              <a:t>‹nº›</a:t>
            </a:fld>
            <a:endParaRPr lang="pt-BR" sz="750" dirty="0"/>
          </a:p>
        </p:txBody>
      </p:sp>
    </p:spTree>
    <p:extLst>
      <p:ext uri="{BB962C8B-B14F-4D97-AF65-F5344CB8AC3E}">
        <p14:creationId xmlns:p14="http://schemas.microsoft.com/office/powerpoint/2010/main" val="861548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3" Type="http://schemas.openxmlformats.org/officeDocument/2006/relationships/theme" Target="../theme/theme2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10.emf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15.xml"/><Relationship Id="rId4" Type="http://schemas.openxmlformats.org/officeDocument/2006/relationships/vmlDrawing" Target="../drawings/vmlDrawing4.v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13368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Slide do think-cell" r:id="rId11" imgW="378" imgH="377" progId="TCLayout.ActiveDocument.1">
                  <p:embed/>
                </p:oleObj>
              </mc:Choice>
              <mc:Fallback>
                <p:oleObj name="Slide do think-cell" r:id="rId11" imgW="378" imgH="377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8072" y="2566331"/>
            <a:ext cx="8065294" cy="8875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072" y="3764247"/>
            <a:ext cx="8065294" cy="7216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x-none" dirty="0"/>
              <a:t>SUBTÍTU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32924" y="5922746"/>
            <a:ext cx="2091002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68" b="0" i="0">
                <a:solidFill>
                  <a:srgbClr val="95BC4A"/>
                </a:solidFill>
                <a:latin typeface="Candara"/>
                <a:cs typeface="Neutra Text-Bold"/>
              </a:defRPr>
            </a:lvl1pPr>
          </a:lstStyle>
          <a:p>
            <a:endParaRPr lang="en-US" dirty="0"/>
          </a:p>
        </p:txBody>
      </p:sp>
      <p:sp>
        <p:nvSpPr>
          <p:cNvPr id="5" name="AutoShape 390" descr="http://upload.wikimedia.org/wikipedia/commons/4/47/Color_icon_orange.sv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AutoShape 392" descr="http://upload.wikimedia.org/wikipedia/commons/4/47/Color_icon_orange.svg"/>
          <p:cNvSpPr>
            <a:spLocks noChangeAspect="1" noChangeArrowheads="1"/>
          </p:cNvSpPr>
          <p:nvPr userDrawn="1"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233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ftr="0" dt="0"/>
  <p:txStyles>
    <p:titleStyle>
      <a:lvl1pPr algn="ctr" defTabSz="448056" rtl="0" eaLnBrk="1" latinLnBrk="0" hangingPunct="1">
        <a:spcBef>
          <a:spcPct val="0"/>
        </a:spcBef>
        <a:buNone/>
        <a:defRPr sz="3528" b="0" i="0" kern="1200" cap="all">
          <a:solidFill>
            <a:srgbClr val="3180BB"/>
          </a:solidFill>
          <a:latin typeface="Gill Sans"/>
          <a:ea typeface="+mj-ea"/>
          <a:cs typeface="Rubrik"/>
        </a:defRPr>
      </a:lvl1pPr>
    </p:titleStyle>
    <p:bodyStyle>
      <a:lvl1pPr marL="0" indent="0" algn="ctr" defTabSz="448056" rtl="0" eaLnBrk="1" latinLnBrk="0" hangingPunct="1">
        <a:spcBef>
          <a:spcPct val="20000"/>
        </a:spcBef>
        <a:buFont typeface="Arial"/>
        <a:buNone/>
        <a:defRPr sz="2352" b="0" i="0" kern="1200" cap="all">
          <a:solidFill>
            <a:srgbClr val="95BC4A"/>
          </a:solidFill>
          <a:latin typeface="Gill Sans"/>
          <a:ea typeface="+mn-ea"/>
          <a:cs typeface="Rubrik"/>
        </a:defRPr>
      </a:lvl1pPr>
      <a:lvl2pPr marL="728091" indent="-280035" algn="ctr" defTabSz="448056" rtl="0" eaLnBrk="1" latinLnBrk="0" hangingPunct="1">
        <a:spcBef>
          <a:spcPct val="20000"/>
        </a:spcBef>
        <a:buFont typeface="Arial"/>
        <a:buChar char="–"/>
        <a:defRPr sz="2744" kern="1200">
          <a:solidFill>
            <a:schemeClr val="tx1"/>
          </a:solidFill>
          <a:latin typeface="+mn-lt"/>
          <a:ea typeface="+mn-ea"/>
          <a:cs typeface="+mn-cs"/>
        </a:defRPr>
      </a:lvl2pPr>
      <a:lvl3pPr marL="1120140" indent="-224028" algn="ctr" defTabSz="448056" rtl="0" eaLnBrk="1" latinLnBrk="0" hangingPunct="1">
        <a:spcBef>
          <a:spcPct val="20000"/>
        </a:spcBef>
        <a:buFont typeface="Arial"/>
        <a:buChar char="•"/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568196" indent="-224028" algn="ctr" defTabSz="448056" rtl="0" eaLnBrk="1" latinLnBrk="0" hangingPunct="1">
        <a:spcBef>
          <a:spcPct val="20000"/>
        </a:spcBef>
        <a:buFont typeface="Arial"/>
        <a:buChar char="–"/>
        <a:defRPr sz="1960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indent="-224028" algn="ctr" defTabSz="448056" rtl="0" eaLnBrk="1" latinLnBrk="0" hangingPunct="1">
        <a:spcBef>
          <a:spcPct val="20000"/>
        </a:spcBef>
        <a:buFont typeface="Arial"/>
        <a:buChar char="»"/>
        <a:defRPr sz="1960" kern="1200">
          <a:solidFill>
            <a:schemeClr val="tx1"/>
          </a:solidFill>
          <a:latin typeface="+mn-lt"/>
          <a:ea typeface="+mn-ea"/>
          <a:cs typeface="+mn-cs"/>
        </a:defRPr>
      </a:lvl5pPr>
      <a:lvl6pPr marL="2464308" indent="-224028" algn="l" defTabSz="448056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448056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448056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448056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056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448056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448056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448056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448056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448056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448056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448056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448056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541031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xmlns="" id="{1FF166E8-78BC-442D-AC3C-772BA0B8C07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16685" cy="15559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t-BR" sz="1425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4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442"/>
            <a:endParaRPr lang="pt-BR" sz="6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452564" y="1951038"/>
            <a:ext cx="4302125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  <a:endParaRPr lang="pt-BR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19064" y="230189"/>
            <a:ext cx="8618537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9064" y="26989"/>
            <a:ext cx="644407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05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19063" y="531814"/>
            <a:ext cx="861853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2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19064" y="6116655"/>
            <a:ext cx="8548686" cy="454027"/>
            <a:chOff x="75" y="3853"/>
            <a:chExt cx="5385" cy="286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750" baseline="0" dirty="0">
                  <a:latin typeface="+mn-lt"/>
                </a:rPr>
                <a:t>1 Nota de rodapé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57152" indent="-457152" defTabSz="671442">
                <a:tabLst>
                  <a:tab pos="459532" algn="l"/>
                </a:tabLst>
              </a:pPr>
              <a:r>
                <a:rPr lang="pt-BR" sz="750" baseline="0" dirty="0">
                  <a:solidFill>
                    <a:schemeClr val="tx1"/>
                  </a:solidFill>
                  <a:latin typeface="+mn-lt"/>
                </a:rPr>
                <a:t>Source:Fonte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452564" y="1201741"/>
            <a:ext cx="4264025" cy="433388"/>
            <a:chOff x="915" y="757"/>
            <a:chExt cx="2686" cy="273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sz="1350" b="1" dirty="0"/>
                <a:t>Title</a:t>
              </a:r>
            </a:p>
            <a:p>
              <a:r>
                <a:rPr lang="pt-BR" sz="135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9113" y="6403977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71442"/>
            <a:r>
              <a:rPr lang="pt-BR" sz="900" baseline="0" noProof="0" dirty="0">
                <a:latin typeface="+mn-lt"/>
                <a:ea typeface="+mn-ea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397270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</p:sldLayoutIdLst>
  <p:hf hdr="0" ftr="0" dt="0"/>
  <p:txStyles>
    <p:titleStyle>
      <a:lvl1pPr algn="l" defTabSz="671442" rtl="0" eaLnBrk="1" fontAlgn="base" hangingPunct="1">
        <a:spcBef>
          <a:spcPct val="0"/>
        </a:spcBef>
        <a:spcAft>
          <a:spcPct val="0"/>
        </a:spcAft>
        <a:tabLst>
          <a:tab pos="267863" algn="l"/>
        </a:tabLst>
        <a:defRPr sz="142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71442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71442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71442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71442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2864" algn="l" defTabSz="671442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85727" algn="l" defTabSz="671442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28591" algn="l" defTabSz="671442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71455" algn="l" defTabSz="671442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45241" indent="-144050" algn="l" defTabSz="671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>
          <a:solidFill>
            <a:schemeClr val="tx1"/>
          </a:solidFill>
          <a:latin typeface="+mn-lt"/>
        </a:defRPr>
      </a:lvl2pPr>
      <a:lvl3pPr marL="342864" indent="-196432" algn="l" defTabSz="671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460724" indent="-116669" algn="l" defTabSz="671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>
          <a:solidFill>
            <a:schemeClr val="tx1"/>
          </a:solidFill>
          <a:latin typeface="+mn-lt"/>
        </a:defRPr>
      </a:lvl4pPr>
      <a:lvl5pPr marL="562296" indent="-97621" algn="l" defTabSz="671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5pPr>
      <a:lvl6pPr marL="562296" indent="-97621" algn="l" defTabSz="671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6pPr>
      <a:lvl7pPr marL="562296" indent="-97621" algn="l" defTabSz="671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7pPr>
      <a:lvl8pPr marL="562296" indent="-97621" algn="l" defTabSz="671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8pPr>
      <a:lvl9pPr marL="562296" indent="-97621" algn="l" defTabSz="671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72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4" algn="l" defTabSz="68572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7" algn="l" defTabSz="68572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1" algn="l" defTabSz="68572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55" algn="l" defTabSz="68572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18" algn="l" defTabSz="68572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82" algn="l" defTabSz="68572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45" algn="l" defTabSz="68572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09" algn="l" defTabSz="68572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3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microsoft.com/office/2007/relationships/hdphoto" Target="../media/hdphoto2.wdp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3" Type="http://schemas.openxmlformats.org/officeDocument/2006/relationships/tags" Target="../tags/tag80.xml"/><Relationship Id="rId21" Type="http://schemas.openxmlformats.org/officeDocument/2006/relationships/slideLayout" Target="../slideLayouts/slideLayout3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5" Type="http://schemas.openxmlformats.org/officeDocument/2006/relationships/chart" Target="../charts/chart3.xml"/><Relationship Id="rId2" Type="http://schemas.openxmlformats.org/officeDocument/2006/relationships/tags" Target="../tags/tag79.xml"/><Relationship Id="rId16" Type="http://schemas.openxmlformats.org/officeDocument/2006/relationships/tags" Target="../tags/tag93.xml"/><Relationship Id="rId20" Type="http://schemas.openxmlformats.org/officeDocument/2006/relationships/tags" Target="../tags/tag97.xml"/><Relationship Id="rId1" Type="http://schemas.openxmlformats.org/officeDocument/2006/relationships/vmlDrawing" Target="../drawings/vmlDrawing8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24" Type="http://schemas.openxmlformats.org/officeDocument/2006/relationships/image" Target="../media/image4.emf"/><Relationship Id="rId5" Type="http://schemas.openxmlformats.org/officeDocument/2006/relationships/tags" Target="../tags/tag82.xml"/><Relationship Id="rId15" Type="http://schemas.openxmlformats.org/officeDocument/2006/relationships/tags" Target="../tags/tag92.xml"/><Relationship Id="rId23" Type="http://schemas.openxmlformats.org/officeDocument/2006/relationships/oleObject" Target="../embeddings/oleObject8.bin"/><Relationship Id="rId10" Type="http://schemas.openxmlformats.org/officeDocument/2006/relationships/tags" Target="../tags/tag87.xml"/><Relationship Id="rId19" Type="http://schemas.openxmlformats.org/officeDocument/2006/relationships/tags" Target="../tags/tag96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Relationship Id="rId22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tags" Target="../tags/tag109.xml"/><Relationship Id="rId18" Type="http://schemas.openxmlformats.org/officeDocument/2006/relationships/tags" Target="../tags/tag114.xml"/><Relationship Id="rId3" Type="http://schemas.openxmlformats.org/officeDocument/2006/relationships/tags" Target="../tags/tag99.xml"/><Relationship Id="rId21" Type="http://schemas.openxmlformats.org/officeDocument/2006/relationships/oleObject" Target="../embeddings/oleObject9.bin"/><Relationship Id="rId7" Type="http://schemas.openxmlformats.org/officeDocument/2006/relationships/tags" Target="../tags/tag103.xml"/><Relationship Id="rId12" Type="http://schemas.openxmlformats.org/officeDocument/2006/relationships/tags" Target="../tags/tag108.xml"/><Relationship Id="rId17" Type="http://schemas.openxmlformats.org/officeDocument/2006/relationships/tags" Target="../tags/tag113.xml"/><Relationship Id="rId2" Type="http://schemas.openxmlformats.org/officeDocument/2006/relationships/tags" Target="../tags/tag98.xml"/><Relationship Id="rId16" Type="http://schemas.openxmlformats.org/officeDocument/2006/relationships/tags" Target="../tags/tag112.xml"/><Relationship Id="rId20" Type="http://schemas.openxmlformats.org/officeDocument/2006/relationships/slideLayout" Target="../slideLayouts/slideLayout3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5" Type="http://schemas.openxmlformats.org/officeDocument/2006/relationships/tags" Target="../tags/tag101.xml"/><Relationship Id="rId15" Type="http://schemas.openxmlformats.org/officeDocument/2006/relationships/tags" Target="../tags/tag111.xml"/><Relationship Id="rId10" Type="http://schemas.openxmlformats.org/officeDocument/2006/relationships/tags" Target="../tags/tag106.xml"/><Relationship Id="rId19" Type="http://schemas.openxmlformats.org/officeDocument/2006/relationships/tags" Target="../tags/tag115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tags" Target="../tags/tag110.xml"/><Relationship Id="rId22" Type="http://schemas.openxmlformats.org/officeDocument/2006/relationships/image" Target="../media/image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0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4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" Target="slide34.xml"/><Relationship Id="rId3" Type="http://schemas.openxmlformats.org/officeDocument/2006/relationships/tags" Target="../tags/tag120.xml"/><Relationship Id="rId7" Type="http://schemas.openxmlformats.org/officeDocument/2006/relationships/image" Target="../media/image4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3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chart" Target="../charts/chart6.xml"/><Relationship Id="rId4" Type="http://schemas.openxmlformats.org/officeDocument/2006/relationships/notesSlide" Target="../notesSlides/notesSlide2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126.xml"/><Relationship Id="rId7" Type="http://schemas.openxmlformats.org/officeDocument/2006/relationships/slide" Target="slide12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3.xml"/><Relationship Id="rId7" Type="http://schemas.openxmlformats.org/officeDocument/2006/relationships/slide" Target="slide27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9" Type="http://schemas.openxmlformats.org/officeDocument/2006/relationships/tags" Target="../tags/tag59.xml"/><Relationship Id="rId21" Type="http://schemas.openxmlformats.org/officeDocument/2006/relationships/tags" Target="../tags/tag41.xml"/><Relationship Id="rId34" Type="http://schemas.openxmlformats.org/officeDocument/2006/relationships/tags" Target="../tags/tag54.xml"/><Relationship Id="rId42" Type="http://schemas.openxmlformats.org/officeDocument/2006/relationships/tags" Target="../tags/tag62.xml"/><Relationship Id="rId47" Type="http://schemas.openxmlformats.org/officeDocument/2006/relationships/tags" Target="../tags/tag67.xml"/><Relationship Id="rId50" Type="http://schemas.openxmlformats.org/officeDocument/2006/relationships/tags" Target="../tags/tag70.xml"/><Relationship Id="rId55" Type="http://schemas.openxmlformats.org/officeDocument/2006/relationships/tags" Target="../tags/tag75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41" Type="http://schemas.openxmlformats.org/officeDocument/2006/relationships/tags" Target="../tags/tag61.xml"/><Relationship Id="rId54" Type="http://schemas.openxmlformats.org/officeDocument/2006/relationships/tags" Target="../tags/tag74.xml"/><Relationship Id="rId62" Type="http://schemas.openxmlformats.org/officeDocument/2006/relationships/image" Target="../media/image17.png"/><Relationship Id="rId1" Type="http://schemas.openxmlformats.org/officeDocument/2006/relationships/vmlDrawing" Target="../drawings/vmlDrawing6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tags" Target="../tags/tag57.xml"/><Relationship Id="rId40" Type="http://schemas.openxmlformats.org/officeDocument/2006/relationships/tags" Target="../tags/tag60.xml"/><Relationship Id="rId45" Type="http://schemas.openxmlformats.org/officeDocument/2006/relationships/tags" Target="../tags/tag65.xml"/><Relationship Id="rId53" Type="http://schemas.openxmlformats.org/officeDocument/2006/relationships/tags" Target="../tags/tag73.xml"/><Relationship Id="rId58" Type="http://schemas.openxmlformats.org/officeDocument/2006/relationships/notesSlide" Target="../notesSlides/notesSlide4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49" Type="http://schemas.openxmlformats.org/officeDocument/2006/relationships/tags" Target="../tags/tag69.xml"/><Relationship Id="rId57" Type="http://schemas.openxmlformats.org/officeDocument/2006/relationships/slideLayout" Target="../slideLayouts/slideLayout3.xml"/><Relationship Id="rId61" Type="http://schemas.openxmlformats.org/officeDocument/2006/relationships/image" Target="../media/image15.emf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4" Type="http://schemas.openxmlformats.org/officeDocument/2006/relationships/tags" Target="../tags/tag64.xml"/><Relationship Id="rId52" Type="http://schemas.openxmlformats.org/officeDocument/2006/relationships/tags" Target="../tags/tag72.xml"/><Relationship Id="rId60" Type="http://schemas.openxmlformats.org/officeDocument/2006/relationships/oleObject" Target="../embeddings/oleObject6.bin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Relationship Id="rId43" Type="http://schemas.openxmlformats.org/officeDocument/2006/relationships/tags" Target="../tags/tag63.xml"/><Relationship Id="rId48" Type="http://schemas.openxmlformats.org/officeDocument/2006/relationships/tags" Target="../tags/tag68.xml"/><Relationship Id="rId56" Type="http://schemas.openxmlformats.org/officeDocument/2006/relationships/tags" Target="../tags/tag76.xml"/><Relationship Id="rId8" Type="http://schemas.openxmlformats.org/officeDocument/2006/relationships/tags" Target="../tags/tag28.xml"/><Relationship Id="rId51" Type="http://schemas.openxmlformats.org/officeDocument/2006/relationships/tags" Target="../tags/tag71.xml"/><Relationship Id="rId3" Type="http://schemas.openxmlformats.org/officeDocument/2006/relationships/tags" Target="../tags/tag23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tags" Target="../tags/tag58.xml"/><Relationship Id="rId46" Type="http://schemas.openxmlformats.org/officeDocument/2006/relationships/tags" Target="../tags/tag66.xml"/><Relationship Id="rId59" Type="http://schemas.openxmlformats.org/officeDocument/2006/relationships/image" Target="../media/image16.gi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78.xml"/><Relationship Id="rId7" Type="http://schemas.openxmlformats.org/officeDocument/2006/relationships/image" Target="../media/image4.emf"/><Relationship Id="rId12" Type="http://schemas.microsoft.com/office/2007/relationships/diagramDrawing" Target="../diagrams/drawing1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6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3.xml"/><Relationship Id="rId9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gif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225D617-49CE-4A10-86F9-36BD099B8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073" y="2825638"/>
            <a:ext cx="8065294" cy="887586"/>
          </a:xfrm>
        </p:spPr>
        <p:txBody>
          <a:bodyPr>
            <a:noAutofit/>
          </a:bodyPr>
          <a:lstStyle/>
          <a:p>
            <a:r>
              <a:rPr lang="pt-BR" sz="3000" b="1" dirty="0"/>
              <a:t>Ensino médio em tempo integral </a:t>
            </a:r>
            <a:endParaRPr lang="pt-BR" sz="3000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D568A4E2-FDAC-4DBC-A1E9-DF48AE0077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8073" y="3691220"/>
            <a:ext cx="8065293" cy="572282"/>
          </a:xfrm>
        </p:spPr>
        <p:txBody>
          <a:bodyPr>
            <a:normAutofit/>
          </a:bodyPr>
          <a:lstStyle/>
          <a:p>
            <a:r>
              <a:rPr lang="pt-BR" sz="2400" dirty="0"/>
              <a:t>Resultados positivos de Uma formação integral</a:t>
            </a:r>
            <a:endParaRPr lang="pt-BR" dirty="0"/>
          </a:p>
        </p:txBody>
      </p:sp>
      <p:pic>
        <p:nvPicPr>
          <p:cNvPr id="4" name="Picture 6" descr="http://cdn7.staztic.com/app/i/2759/2759001/instituto-natura-publicaao-1-l-280x280.png">
            <a:extLst>
              <a:ext uri="{FF2B5EF4-FFF2-40B4-BE49-F238E27FC236}">
                <a16:creationId xmlns:a16="http://schemas.microsoft.com/office/drawing/2014/main" xmlns="" id="{2ECA358F-6B11-41F1-B057-6542BE3C99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467" b="32961"/>
          <a:stretch/>
        </p:blipFill>
        <p:spPr bwMode="auto">
          <a:xfrm>
            <a:off x="4113032" y="4735150"/>
            <a:ext cx="2947828" cy="84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logo.png">
            <a:extLst>
              <a:ext uri="{FF2B5EF4-FFF2-40B4-BE49-F238E27FC236}">
                <a16:creationId xmlns:a16="http://schemas.microsoft.com/office/drawing/2014/main" xmlns="" id="{3E8D1211-17C3-4189-AFDF-7123B43B8C3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331"/>
          <a:stretch/>
        </p:blipFill>
        <p:spPr bwMode="auto">
          <a:xfrm>
            <a:off x="569899" y="4735150"/>
            <a:ext cx="3439319" cy="84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http://institutosonhogrande.org/wp-content/uploads/2015/08/cropped-logo_03.png">
            <a:extLst>
              <a:ext uri="{FF2B5EF4-FFF2-40B4-BE49-F238E27FC236}">
                <a16:creationId xmlns:a16="http://schemas.microsoft.com/office/drawing/2014/main" xmlns="" id="{A2E4069F-86CC-40DF-97EC-4A894F7EE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674" y="4735150"/>
            <a:ext cx="1122983" cy="84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53233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8" name="Rectangle 17"/>
          <p:cNvSpPr>
            <a:spLocks noGrp="1" noChangeArrowheads="1"/>
          </p:cNvSpPr>
          <p:nvPr>
            <p:ph type="ctrTitle"/>
          </p:nvPr>
        </p:nvSpPr>
        <p:spPr>
          <a:xfrm>
            <a:off x="363706" y="275358"/>
            <a:ext cx="8715900" cy="528182"/>
          </a:xfrm>
        </p:spPr>
        <p:txBody>
          <a:bodyPr>
            <a:noAutofit/>
          </a:bodyPr>
          <a:lstStyle/>
          <a:p>
            <a:r>
              <a:rPr lang="pt-BR" altLang="en-US" sz="2100" dirty="0"/>
              <a:t>O CASO DE Pernambuco: resultados positivos NA DIMINUIÇÃO DAS DESIGUALDADES SOCIAIS </a:t>
            </a:r>
            <a:endParaRPr lang="en-GB" altLang="en-US" sz="2100" dirty="0"/>
          </a:p>
        </p:txBody>
      </p:sp>
      <p:sp>
        <p:nvSpPr>
          <p:cNvPr id="3079" name="Freeform 7"/>
          <p:cNvSpPr>
            <a:spLocks/>
          </p:cNvSpPr>
          <p:nvPr/>
        </p:nvSpPr>
        <p:spPr bwMode="auto">
          <a:xfrm>
            <a:off x="3375638" y="840357"/>
            <a:ext cx="2519679" cy="1799839"/>
          </a:xfrm>
          <a:custGeom>
            <a:avLst/>
            <a:gdLst>
              <a:gd name="T0" fmla="*/ 245350 w 1636"/>
              <a:gd name="T1" fmla="*/ 1122809 h 1386"/>
              <a:gd name="T2" fmla="*/ 265176 w 1636"/>
              <a:gd name="T3" fmla="*/ 1075716 h 1386"/>
              <a:gd name="T4" fmla="*/ 265176 w 1636"/>
              <a:gd name="T5" fmla="*/ 1033579 h 1386"/>
              <a:gd name="T6" fmla="*/ 287481 w 1636"/>
              <a:gd name="T7" fmla="*/ 991443 h 1386"/>
              <a:gd name="T8" fmla="*/ 322177 w 1636"/>
              <a:gd name="T9" fmla="*/ 974093 h 1386"/>
              <a:gd name="T10" fmla="*/ 374221 w 1636"/>
              <a:gd name="T11" fmla="*/ 984007 h 1386"/>
              <a:gd name="T12" fmla="*/ 463439 w 1636"/>
              <a:gd name="T13" fmla="*/ 1065801 h 1386"/>
              <a:gd name="T14" fmla="*/ 503092 w 1636"/>
              <a:gd name="T15" fmla="*/ 1145117 h 1386"/>
              <a:gd name="T16" fmla="*/ 513005 w 1636"/>
              <a:gd name="T17" fmla="*/ 1216996 h 1386"/>
              <a:gd name="T18" fmla="*/ 500614 w 1636"/>
              <a:gd name="T19" fmla="*/ 1278961 h 1386"/>
              <a:gd name="T20" fmla="*/ 475831 w 1636"/>
              <a:gd name="T21" fmla="*/ 1301269 h 1386"/>
              <a:gd name="T22" fmla="*/ 428743 w 1636"/>
              <a:gd name="T23" fmla="*/ 1311183 h 1386"/>
              <a:gd name="T24" fmla="*/ 354395 w 1636"/>
              <a:gd name="T25" fmla="*/ 1274004 h 1386"/>
              <a:gd name="T26" fmla="*/ 307307 w 1636"/>
              <a:gd name="T27" fmla="*/ 1283919 h 1386"/>
              <a:gd name="T28" fmla="*/ 292438 w 1636"/>
              <a:gd name="T29" fmla="*/ 1311183 h 1386"/>
              <a:gd name="T30" fmla="*/ 297394 w 1636"/>
              <a:gd name="T31" fmla="*/ 1365713 h 1386"/>
              <a:gd name="T32" fmla="*/ 495657 w 1636"/>
              <a:gd name="T33" fmla="*/ 1712718 h 1386"/>
              <a:gd name="T34" fmla="*/ 822791 w 1636"/>
              <a:gd name="T35" fmla="*/ 1717675 h 1386"/>
              <a:gd name="T36" fmla="*/ 899617 w 1636"/>
              <a:gd name="T37" fmla="*/ 1680496 h 1386"/>
              <a:gd name="T38" fmla="*/ 909531 w 1636"/>
              <a:gd name="T39" fmla="*/ 1643317 h 1386"/>
              <a:gd name="T40" fmla="*/ 879791 w 1636"/>
              <a:gd name="T41" fmla="*/ 1598702 h 1386"/>
              <a:gd name="T42" fmla="*/ 820312 w 1636"/>
              <a:gd name="T43" fmla="*/ 1556566 h 1386"/>
              <a:gd name="T44" fmla="*/ 810399 w 1636"/>
              <a:gd name="T45" fmla="*/ 1521865 h 1386"/>
              <a:gd name="T46" fmla="*/ 830225 w 1636"/>
              <a:gd name="T47" fmla="*/ 1472293 h 1386"/>
              <a:gd name="T48" fmla="*/ 907052 w 1636"/>
              <a:gd name="T49" fmla="*/ 1430157 h 1386"/>
              <a:gd name="T50" fmla="*/ 988836 w 1636"/>
              <a:gd name="T51" fmla="*/ 1417763 h 1386"/>
              <a:gd name="T52" fmla="*/ 1100358 w 1636"/>
              <a:gd name="T53" fmla="*/ 1440071 h 1386"/>
              <a:gd name="T54" fmla="*/ 1157359 w 1636"/>
              <a:gd name="T55" fmla="*/ 1484686 h 1386"/>
              <a:gd name="T56" fmla="*/ 1167272 w 1636"/>
              <a:gd name="T57" fmla="*/ 1521865 h 1386"/>
              <a:gd name="T58" fmla="*/ 1152402 w 1636"/>
              <a:gd name="T59" fmla="*/ 1566480 h 1386"/>
              <a:gd name="T60" fmla="*/ 1083010 w 1636"/>
              <a:gd name="T61" fmla="*/ 1613573 h 1386"/>
              <a:gd name="T62" fmla="*/ 1068141 w 1636"/>
              <a:gd name="T63" fmla="*/ 1658188 h 1386"/>
              <a:gd name="T64" fmla="*/ 1087967 w 1636"/>
              <a:gd name="T65" fmla="*/ 1687932 h 1386"/>
              <a:gd name="T66" fmla="*/ 1479536 w 1636"/>
              <a:gd name="T67" fmla="*/ 1717675 h 1386"/>
              <a:gd name="T68" fmla="*/ 1489449 w 1636"/>
              <a:gd name="T69" fmla="*/ 1707761 h 1386"/>
              <a:gd name="T70" fmla="*/ 1660451 w 1636"/>
              <a:gd name="T71" fmla="*/ 1410328 h 1386"/>
              <a:gd name="T72" fmla="*/ 1727365 w 1636"/>
              <a:gd name="T73" fmla="*/ 1368191 h 1386"/>
              <a:gd name="T74" fmla="*/ 1759582 w 1636"/>
              <a:gd name="T75" fmla="*/ 1380584 h 1386"/>
              <a:gd name="T76" fmla="*/ 1781887 w 1636"/>
              <a:gd name="T77" fmla="*/ 1427678 h 1386"/>
              <a:gd name="T78" fmla="*/ 1789322 w 1636"/>
              <a:gd name="T79" fmla="*/ 1499558 h 1386"/>
              <a:gd name="T80" fmla="*/ 1816583 w 1636"/>
              <a:gd name="T81" fmla="*/ 1526822 h 1386"/>
              <a:gd name="T82" fmla="*/ 1866148 w 1636"/>
              <a:gd name="T83" fmla="*/ 1534258 h 1386"/>
              <a:gd name="T84" fmla="*/ 1942975 w 1636"/>
              <a:gd name="T85" fmla="*/ 1489643 h 1386"/>
              <a:gd name="T86" fmla="*/ 1995019 w 1636"/>
              <a:gd name="T87" fmla="*/ 1425199 h 1386"/>
              <a:gd name="T88" fmla="*/ 2022280 w 1636"/>
              <a:gd name="T89" fmla="*/ 1355798 h 1386"/>
              <a:gd name="T90" fmla="*/ 2024759 w 1636"/>
              <a:gd name="T91" fmla="*/ 1271526 h 1386"/>
              <a:gd name="T92" fmla="*/ 1990063 w 1636"/>
              <a:gd name="T93" fmla="*/ 1226911 h 1386"/>
              <a:gd name="T94" fmla="*/ 1945454 w 1636"/>
              <a:gd name="T95" fmla="*/ 1219475 h 1386"/>
              <a:gd name="T96" fmla="*/ 1871105 w 1636"/>
              <a:gd name="T97" fmla="*/ 1254175 h 1386"/>
              <a:gd name="T98" fmla="*/ 1824018 w 1636"/>
              <a:gd name="T99" fmla="*/ 1244261 h 1386"/>
              <a:gd name="T100" fmla="*/ 1806670 w 1636"/>
              <a:gd name="T101" fmla="*/ 1216996 h 1386"/>
              <a:gd name="T102" fmla="*/ 1814105 w 1636"/>
              <a:gd name="T103" fmla="*/ 1147595 h 1386"/>
              <a:gd name="T104" fmla="*/ 1960323 w 1636"/>
              <a:gd name="T105" fmla="*/ 827855 h 1386"/>
              <a:gd name="T106" fmla="*/ 399004 w 1636"/>
              <a:gd name="T107" fmla="*/ 163588 h 1386"/>
              <a:gd name="T108" fmla="*/ 163567 w 1636"/>
              <a:gd name="T109" fmla="*/ 1117852 h 1386"/>
              <a:gd name="T110" fmla="*/ 218089 w 1636"/>
              <a:gd name="T111" fmla="*/ 1140159 h 138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36" h="1386">
                <a:moveTo>
                  <a:pt x="184" y="918"/>
                </a:moveTo>
                <a:lnTo>
                  <a:pt x="184" y="918"/>
                </a:lnTo>
                <a:lnTo>
                  <a:pt x="192" y="912"/>
                </a:lnTo>
                <a:lnTo>
                  <a:pt x="198" y="906"/>
                </a:lnTo>
                <a:lnTo>
                  <a:pt x="204" y="900"/>
                </a:lnTo>
                <a:lnTo>
                  <a:pt x="208" y="894"/>
                </a:lnTo>
                <a:lnTo>
                  <a:pt x="212" y="882"/>
                </a:lnTo>
                <a:lnTo>
                  <a:pt x="214" y="868"/>
                </a:lnTo>
                <a:lnTo>
                  <a:pt x="212" y="850"/>
                </a:lnTo>
                <a:lnTo>
                  <a:pt x="214" y="834"/>
                </a:lnTo>
                <a:lnTo>
                  <a:pt x="216" y="820"/>
                </a:lnTo>
                <a:lnTo>
                  <a:pt x="220" y="812"/>
                </a:lnTo>
                <a:lnTo>
                  <a:pt x="224" y="806"/>
                </a:lnTo>
                <a:lnTo>
                  <a:pt x="232" y="800"/>
                </a:lnTo>
                <a:lnTo>
                  <a:pt x="240" y="794"/>
                </a:lnTo>
                <a:lnTo>
                  <a:pt x="250" y="788"/>
                </a:lnTo>
                <a:lnTo>
                  <a:pt x="260" y="786"/>
                </a:lnTo>
                <a:lnTo>
                  <a:pt x="270" y="786"/>
                </a:lnTo>
                <a:lnTo>
                  <a:pt x="282" y="786"/>
                </a:lnTo>
                <a:lnTo>
                  <a:pt x="292" y="790"/>
                </a:lnTo>
                <a:lnTo>
                  <a:pt x="302" y="794"/>
                </a:lnTo>
                <a:lnTo>
                  <a:pt x="324" y="808"/>
                </a:lnTo>
                <a:lnTo>
                  <a:pt x="344" y="824"/>
                </a:lnTo>
                <a:lnTo>
                  <a:pt x="360" y="842"/>
                </a:lnTo>
                <a:lnTo>
                  <a:pt x="374" y="860"/>
                </a:lnTo>
                <a:lnTo>
                  <a:pt x="384" y="876"/>
                </a:lnTo>
                <a:lnTo>
                  <a:pt x="396" y="898"/>
                </a:lnTo>
                <a:lnTo>
                  <a:pt x="406" y="924"/>
                </a:lnTo>
                <a:lnTo>
                  <a:pt x="412" y="954"/>
                </a:lnTo>
                <a:lnTo>
                  <a:pt x="414" y="968"/>
                </a:lnTo>
                <a:lnTo>
                  <a:pt x="414" y="982"/>
                </a:lnTo>
                <a:lnTo>
                  <a:pt x="414" y="1004"/>
                </a:lnTo>
                <a:lnTo>
                  <a:pt x="412" y="1014"/>
                </a:lnTo>
                <a:lnTo>
                  <a:pt x="408" y="1022"/>
                </a:lnTo>
                <a:lnTo>
                  <a:pt x="404" y="1032"/>
                </a:lnTo>
                <a:lnTo>
                  <a:pt x="398" y="1038"/>
                </a:lnTo>
                <a:lnTo>
                  <a:pt x="392" y="1046"/>
                </a:lnTo>
                <a:lnTo>
                  <a:pt x="384" y="1050"/>
                </a:lnTo>
                <a:lnTo>
                  <a:pt x="374" y="1056"/>
                </a:lnTo>
                <a:lnTo>
                  <a:pt x="364" y="1058"/>
                </a:lnTo>
                <a:lnTo>
                  <a:pt x="354" y="1058"/>
                </a:lnTo>
                <a:lnTo>
                  <a:pt x="346" y="1058"/>
                </a:lnTo>
                <a:lnTo>
                  <a:pt x="330" y="1052"/>
                </a:lnTo>
                <a:lnTo>
                  <a:pt x="316" y="1042"/>
                </a:lnTo>
                <a:lnTo>
                  <a:pt x="302" y="1034"/>
                </a:lnTo>
                <a:lnTo>
                  <a:pt x="286" y="1028"/>
                </a:lnTo>
                <a:lnTo>
                  <a:pt x="278" y="1028"/>
                </a:lnTo>
                <a:lnTo>
                  <a:pt x="268" y="1028"/>
                </a:lnTo>
                <a:lnTo>
                  <a:pt x="258" y="1032"/>
                </a:lnTo>
                <a:lnTo>
                  <a:pt x="248" y="1036"/>
                </a:lnTo>
                <a:lnTo>
                  <a:pt x="242" y="1042"/>
                </a:lnTo>
                <a:lnTo>
                  <a:pt x="238" y="1048"/>
                </a:lnTo>
                <a:lnTo>
                  <a:pt x="236" y="1058"/>
                </a:lnTo>
                <a:lnTo>
                  <a:pt x="234" y="1068"/>
                </a:lnTo>
                <a:lnTo>
                  <a:pt x="236" y="1086"/>
                </a:lnTo>
                <a:lnTo>
                  <a:pt x="240" y="1102"/>
                </a:lnTo>
                <a:lnTo>
                  <a:pt x="398" y="1378"/>
                </a:lnTo>
                <a:lnTo>
                  <a:pt x="402" y="1378"/>
                </a:lnTo>
                <a:lnTo>
                  <a:pt x="402" y="1380"/>
                </a:lnTo>
                <a:lnTo>
                  <a:pt x="400" y="1382"/>
                </a:lnTo>
                <a:lnTo>
                  <a:pt x="402" y="1386"/>
                </a:lnTo>
                <a:lnTo>
                  <a:pt x="664" y="1386"/>
                </a:lnTo>
                <a:lnTo>
                  <a:pt x="686" y="1380"/>
                </a:lnTo>
                <a:lnTo>
                  <a:pt x="708" y="1368"/>
                </a:lnTo>
                <a:lnTo>
                  <a:pt x="718" y="1362"/>
                </a:lnTo>
                <a:lnTo>
                  <a:pt x="726" y="1356"/>
                </a:lnTo>
                <a:lnTo>
                  <a:pt x="732" y="1346"/>
                </a:lnTo>
                <a:lnTo>
                  <a:pt x="734" y="1338"/>
                </a:lnTo>
                <a:lnTo>
                  <a:pt x="734" y="1326"/>
                </a:lnTo>
                <a:lnTo>
                  <a:pt x="730" y="1316"/>
                </a:lnTo>
                <a:lnTo>
                  <a:pt x="728" y="1308"/>
                </a:lnTo>
                <a:lnTo>
                  <a:pt x="722" y="1302"/>
                </a:lnTo>
                <a:lnTo>
                  <a:pt x="710" y="1290"/>
                </a:lnTo>
                <a:lnTo>
                  <a:pt x="694" y="1282"/>
                </a:lnTo>
                <a:lnTo>
                  <a:pt x="680" y="1274"/>
                </a:lnTo>
                <a:lnTo>
                  <a:pt x="668" y="1264"/>
                </a:lnTo>
                <a:lnTo>
                  <a:pt x="662" y="1256"/>
                </a:lnTo>
                <a:lnTo>
                  <a:pt x="658" y="1248"/>
                </a:lnTo>
                <a:lnTo>
                  <a:pt x="656" y="1240"/>
                </a:lnTo>
                <a:lnTo>
                  <a:pt x="654" y="1228"/>
                </a:lnTo>
                <a:lnTo>
                  <a:pt x="656" y="1216"/>
                </a:lnTo>
                <a:lnTo>
                  <a:pt x="658" y="1206"/>
                </a:lnTo>
                <a:lnTo>
                  <a:pt x="664" y="1198"/>
                </a:lnTo>
                <a:lnTo>
                  <a:pt x="670" y="1188"/>
                </a:lnTo>
                <a:lnTo>
                  <a:pt x="678" y="1180"/>
                </a:lnTo>
                <a:lnTo>
                  <a:pt x="688" y="1174"/>
                </a:lnTo>
                <a:lnTo>
                  <a:pt x="708" y="1162"/>
                </a:lnTo>
                <a:lnTo>
                  <a:pt x="732" y="1154"/>
                </a:lnTo>
                <a:lnTo>
                  <a:pt x="756" y="1148"/>
                </a:lnTo>
                <a:lnTo>
                  <a:pt x="780" y="1144"/>
                </a:lnTo>
                <a:lnTo>
                  <a:pt x="798" y="1144"/>
                </a:lnTo>
                <a:lnTo>
                  <a:pt x="818" y="1144"/>
                </a:lnTo>
                <a:lnTo>
                  <a:pt x="840" y="1148"/>
                </a:lnTo>
                <a:lnTo>
                  <a:pt x="864" y="1154"/>
                </a:lnTo>
                <a:lnTo>
                  <a:pt x="888" y="1162"/>
                </a:lnTo>
                <a:lnTo>
                  <a:pt x="910" y="1174"/>
                </a:lnTo>
                <a:lnTo>
                  <a:pt x="918" y="1180"/>
                </a:lnTo>
                <a:lnTo>
                  <a:pt x="926" y="1188"/>
                </a:lnTo>
                <a:lnTo>
                  <a:pt x="934" y="1198"/>
                </a:lnTo>
                <a:lnTo>
                  <a:pt x="938" y="1206"/>
                </a:lnTo>
                <a:lnTo>
                  <a:pt x="942" y="1216"/>
                </a:lnTo>
                <a:lnTo>
                  <a:pt x="942" y="1228"/>
                </a:lnTo>
                <a:lnTo>
                  <a:pt x="942" y="1240"/>
                </a:lnTo>
                <a:lnTo>
                  <a:pt x="938" y="1248"/>
                </a:lnTo>
                <a:lnTo>
                  <a:pt x="934" y="1256"/>
                </a:lnTo>
                <a:lnTo>
                  <a:pt x="930" y="1264"/>
                </a:lnTo>
                <a:lnTo>
                  <a:pt x="916" y="1274"/>
                </a:lnTo>
                <a:lnTo>
                  <a:pt x="902" y="1282"/>
                </a:lnTo>
                <a:lnTo>
                  <a:pt x="888" y="1290"/>
                </a:lnTo>
                <a:lnTo>
                  <a:pt x="874" y="1302"/>
                </a:lnTo>
                <a:lnTo>
                  <a:pt x="870" y="1308"/>
                </a:lnTo>
                <a:lnTo>
                  <a:pt x="866" y="1316"/>
                </a:lnTo>
                <a:lnTo>
                  <a:pt x="864" y="1326"/>
                </a:lnTo>
                <a:lnTo>
                  <a:pt x="862" y="1338"/>
                </a:lnTo>
                <a:lnTo>
                  <a:pt x="864" y="1346"/>
                </a:lnTo>
                <a:lnTo>
                  <a:pt x="870" y="1356"/>
                </a:lnTo>
                <a:lnTo>
                  <a:pt x="878" y="1362"/>
                </a:lnTo>
                <a:lnTo>
                  <a:pt x="888" y="1368"/>
                </a:lnTo>
                <a:lnTo>
                  <a:pt x="912" y="1380"/>
                </a:lnTo>
                <a:lnTo>
                  <a:pt x="934" y="1386"/>
                </a:lnTo>
                <a:lnTo>
                  <a:pt x="1194" y="1386"/>
                </a:lnTo>
                <a:lnTo>
                  <a:pt x="1198" y="1380"/>
                </a:lnTo>
                <a:lnTo>
                  <a:pt x="1198" y="1378"/>
                </a:lnTo>
                <a:lnTo>
                  <a:pt x="1202" y="1378"/>
                </a:lnTo>
                <a:lnTo>
                  <a:pt x="1204" y="1372"/>
                </a:lnTo>
                <a:lnTo>
                  <a:pt x="1240" y="1310"/>
                </a:lnTo>
                <a:lnTo>
                  <a:pt x="1340" y="1138"/>
                </a:lnTo>
                <a:lnTo>
                  <a:pt x="1356" y="1124"/>
                </a:lnTo>
                <a:lnTo>
                  <a:pt x="1376" y="1112"/>
                </a:lnTo>
                <a:lnTo>
                  <a:pt x="1384" y="1108"/>
                </a:lnTo>
                <a:lnTo>
                  <a:pt x="1394" y="1104"/>
                </a:lnTo>
                <a:lnTo>
                  <a:pt x="1402" y="1104"/>
                </a:lnTo>
                <a:lnTo>
                  <a:pt x="1410" y="1108"/>
                </a:lnTo>
                <a:lnTo>
                  <a:pt x="1420" y="1114"/>
                </a:lnTo>
                <a:lnTo>
                  <a:pt x="1426" y="1122"/>
                </a:lnTo>
                <a:lnTo>
                  <a:pt x="1432" y="1128"/>
                </a:lnTo>
                <a:lnTo>
                  <a:pt x="1436" y="1136"/>
                </a:lnTo>
                <a:lnTo>
                  <a:pt x="1438" y="1152"/>
                </a:lnTo>
                <a:lnTo>
                  <a:pt x="1438" y="1170"/>
                </a:lnTo>
                <a:lnTo>
                  <a:pt x="1438" y="1186"/>
                </a:lnTo>
                <a:lnTo>
                  <a:pt x="1440" y="1202"/>
                </a:lnTo>
                <a:lnTo>
                  <a:pt x="1444" y="1210"/>
                </a:lnTo>
                <a:lnTo>
                  <a:pt x="1448" y="1218"/>
                </a:lnTo>
                <a:lnTo>
                  <a:pt x="1456" y="1226"/>
                </a:lnTo>
                <a:lnTo>
                  <a:pt x="1466" y="1232"/>
                </a:lnTo>
                <a:lnTo>
                  <a:pt x="1476" y="1236"/>
                </a:lnTo>
                <a:lnTo>
                  <a:pt x="1486" y="1240"/>
                </a:lnTo>
                <a:lnTo>
                  <a:pt x="1496" y="1240"/>
                </a:lnTo>
                <a:lnTo>
                  <a:pt x="1506" y="1238"/>
                </a:lnTo>
                <a:lnTo>
                  <a:pt x="1518" y="1234"/>
                </a:lnTo>
                <a:lnTo>
                  <a:pt x="1528" y="1230"/>
                </a:lnTo>
                <a:lnTo>
                  <a:pt x="1550" y="1218"/>
                </a:lnTo>
                <a:lnTo>
                  <a:pt x="1568" y="1202"/>
                </a:lnTo>
                <a:lnTo>
                  <a:pt x="1586" y="1184"/>
                </a:lnTo>
                <a:lnTo>
                  <a:pt x="1600" y="1166"/>
                </a:lnTo>
                <a:lnTo>
                  <a:pt x="1610" y="1150"/>
                </a:lnTo>
                <a:lnTo>
                  <a:pt x="1618" y="1132"/>
                </a:lnTo>
                <a:lnTo>
                  <a:pt x="1628" y="1112"/>
                </a:lnTo>
                <a:lnTo>
                  <a:pt x="1632" y="1094"/>
                </a:lnTo>
                <a:lnTo>
                  <a:pt x="1636" y="1076"/>
                </a:lnTo>
                <a:lnTo>
                  <a:pt x="1636" y="1060"/>
                </a:lnTo>
                <a:lnTo>
                  <a:pt x="1636" y="1042"/>
                </a:lnTo>
                <a:lnTo>
                  <a:pt x="1634" y="1026"/>
                </a:lnTo>
                <a:lnTo>
                  <a:pt x="1628" y="1012"/>
                </a:lnTo>
                <a:lnTo>
                  <a:pt x="1618" y="1000"/>
                </a:lnTo>
                <a:lnTo>
                  <a:pt x="1606" y="990"/>
                </a:lnTo>
                <a:lnTo>
                  <a:pt x="1596" y="986"/>
                </a:lnTo>
                <a:lnTo>
                  <a:pt x="1586" y="984"/>
                </a:lnTo>
                <a:lnTo>
                  <a:pt x="1578" y="982"/>
                </a:lnTo>
                <a:lnTo>
                  <a:pt x="1570" y="984"/>
                </a:lnTo>
                <a:lnTo>
                  <a:pt x="1554" y="990"/>
                </a:lnTo>
                <a:lnTo>
                  <a:pt x="1540" y="998"/>
                </a:lnTo>
                <a:lnTo>
                  <a:pt x="1524" y="1006"/>
                </a:lnTo>
                <a:lnTo>
                  <a:pt x="1510" y="1012"/>
                </a:lnTo>
                <a:lnTo>
                  <a:pt x="1500" y="1014"/>
                </a:lnTo>
                <a:lnTo>
                  <a:pt x="1492" y="1012"/>
                </a:lnTo>
                <a:lnTo>
                  <a:pt x="1482" y="1010"/>
                </a:lnTo>
                <a:lnTo>
                  <a:pt x="1472" y="1004"/>
                </a:lnTo>
                <a:lnTo>
                  <a:pt x="1464" y="1000"/>
                </a:lnTo>
                <a:lnTo>
                  <a:pt x="1460" y="992"/>
                </a:lnTo>
                <a:lnTo>
                  <a:pt x="1458" y="982"/>
                </a:lnTo>
                <a:lnTo>
                  <a:pt x="1458" y="972"/>
                </a:lnTo>
                <a:lnTo>
                  <a:pt x="1458" y="950"/>
                </a:lnTo>
                <a:lnTo>
                  <a:pt x="1462" y="928"/>
                </a:lnTo>
                <a:lnTo>
                  <a:pt x="1464" y="926"/>
                </a:lnTo>
                <a:lnTo>
                  <a:pt x="1466" y="920"/>
                </a:lnTo>
                <a:lnTo>
                  <a:pt x="1598" y="692"/>
                </a:lnTo>
                <a:lnTo>
                  <a:pt x="1582" y="668"/>
                </a:lnTo>
                <a:lnTo>
                  <a:pt x="1584" y="668"/>
                </a:lnTo>
                <a:lnTo>
                  <a:pt x="1198" y="0"/>
                </a:lnTo>
                <a:lnTo>
                  <a:pt x="398" y="0"/>
                </a:lnTo>
                <a:lnTo>
                  <a:pt x="322" y="132"/>
                </a:lnTo>
                <a:lnTo>
                  <a:pt x="0" y="690"/>
                </a:lnTo>
                <a:lnTo>
                  <a:pt x="116" y="888"/>
                </a:lnTo>
                <a:lnTo>
                  <a:pt x="132" y="902"/>
                </a:lnTo>
                <a:lnTo>
                  <a:pt x="150" y="914"/>
                </a:lnTo>
                <a:lnTo>
                  <a:pt x="160" y="918"/>
                </a:lnTo>
                <a:lnTo>
                  <a:pt x="168" y="920"/>
                </a:lnTo>
                <a:lnTo>
                  <a:pt x="176" y="920"/>
                </a:lnTo>
                <a:lnTo>
                  <a:pt x="184" y="918"/>
                </a:lnTo>
                <a:close/>
              </a:path>
            </a:pathLst>
          </a:custGeom>
          <a:solidFill>
            <a:srgbClr val="179A9D"/>
          </a:solidFill>
          <a:ln w="38100" cap="flat" cmpd="sng">
            <a:solidFill>
              <a:srgbClr val="179A9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080" name="Freeform 8"/>
          <p:cNvSpPr>
            <a:spLocks/>
          </p:cNvSpPr>
          <p:nvPr/>
        </p:nvSpPr>
        <p:spPr bwMode="auto">
          <a:xfrm>
            <a:off x="5248771" y="1740823"/>
            <a:ext cx="2462458" cy="2107574"/>
          </a:xfrm>
          <a:custGeom>
            <a:avLst/>
            <a:gdLst>
              <a:gd name="T0" fmla="*/ 324422 w 1600"/>
              <a:gd name="T1" fmla="*/ 322016 h 1624"/>
              <a:gd name="T2" fmla="*/ 354140 w 1600"/>
              <a:gd name="T3" fmla="*/ 391373 h 1624"/>
              <a:gd name="T4" fmla="*/ 463106 w 1600"/>
              <a:gd name="T5" fmla="*/ 359172 h 1624"/>
              <a:gd name="T6" fmla="*/ 525018 w 1600"/>
              <a:gd name="T7" fmla="*/ 378988 h 1624"/>
              <a:gd name="T8" fmla="*/ 532448 w 1600"/>
              <a:gd name="T9" fmla="*/ 527611 h 1624"/>
              <a:gd name="T10" fmla="*/ 455676 w 1600"/>
              <a:gd name="T11" fmla="*/ 648986 h 1624"/>
              <a:gd name="T12" fmla="*/ 339281 w 1600"/>
              <a:gd name="T13" fmla="*/ 691096 h 1624"/>
              <a:gd name="T14" fmla="*/ 294704 w 1600"/>
              <a:gd name="T15" fmla="*/ 629170 h 1624"/>
              <a:gd name="T16" fmla="*/ 260033 w 1600"/>
              <a:gd name="T17" fmla="*/ 532565 h 1624"/>
              <a:gd name="T18" fmla="*/ 173355 w 1600"/>
              <a:gd name="T19" fmla="*/ 569721 h 1624"/>
              <a:gd name="T20" fmla="*/ 173355 w 1600"/>
              <a:gd name="T21" fmla="*/ 1156781 h 1624"/>
              <a:gd name="T22" fmla="*/ 264986 w 1600"/>
              <a:gd name="T23" fmla="*/ 1198891 h 1624"/>
              <a:gd name="T24" fmla="*/ 299657 w 1600"/>
              <a:gd name="T25" fmla="*/ 1122102 h 1624"/>
              <a:gd name="T26" fmla="*/ 331851 w 1600"/>
              <a:gd name="T27" fmla="*/ 1045314 h 1624"/>
              <a:gd name="T28" fmla="*/ 435864 w 1600"/>
              <a:gd name="T29" fmla="*/ 1062653 h 1624"/>
              <a:gd name="T30" fmla="*/ 534924 w 1600"/>
              <a:gd name="T31" fmla="*/ 1193937 h 1624"/>
              <a:gd name="T32" fmla="*/ 532448 w 1600"/>
              <a:gd name="T33" fmla="*/ 1335128 h 1624"/>
              <a:gd name="T34" fmla="*/ 465582 w 1600"/>
              <a:gd name="T35" fmla="*/ 1362376 h 1624"/>
              <a:gd name="T36" fmla="*/ 356616 w 1600"/>
              <a:gd name="T37" fmla="*/ 1330174 h 1624"/>
              <a:gd name="T38" fmla="*/ 329375 w 1600"/>
              <a:gd name="T39" fmla="*/ 1406963 h 1624"/>
              <a:gd name="T40" fmla="*/ 827151 w 1600"/>
              <a:gd name="T41" fmla="*/ 1716593 h 1624"/>
              <a:gd name="T42" fmla="*/ 849440 w 1600"/>
              <a:gd name="T43" fmla="*/ 1724025 h 1624"/>
              <a:gd name="T44" fmla="*/ 861822 w 1600"/>
              <a:gd name="T45" fmla="*/ 1731456 h 1624"/>
              <a:gd name="T46" fmla="*/ 871728 w 1600"/>
              <a:gd name="T47" fmla="*/ 1736410 h 1624"/>
              <a:gd name="T48" fmla="*/ 884111 w 1600"/>
              <a:gd name="T49" fmla="*/ 1746318 h 1624"/>
              <a:gd name="T50" fmla="*/ 891540 w 1600"/>
              <a:gd name="T51" fmla="*/ 1751272 h 1624"/>
              <a:gd name="T52" fmla="*/ 896493 w 1600"/>
              <a:gd name="T53" fmla="*/ 1761180 h 1624"/>
              <a:gd name="T54" fmla="*/ 898970 w 1600"/>
              <a:gd name="T55" fmla="*/ 1771088 h 1624"/>
              <a:gd name="T56" fmla="*/ 898970 w 1600"/>
              <a:gd name="T57" fmla="*/ 1778520 h 1624"/>
              <a:gd name="T58" fmla="*/ 896493 w 1600"/>
              <a:gd name="T59" fmla="*/ 1793382 h 1624"/>
              <a:gd name="T60" fmla="*/ 871728 w 1600"/>
              <a:gd name="T61" fmla="*/ 1828061 h 1624"/>
              <a:gd name="T62" fmla="*/ 832104 w 1600"/>
              <a:gd name="T63" fmla="*/ 1850354 h 1624"/>
              <a:gd name="T64" fmla="*/ 817245 w 1600"/>
              <a:gd name="T65" fmla="*/ 1862739 h 1624"/>
              <a:gd name="T66" fmla="*/ 807339 w 1600"/>
              <a:gd name="T67" fmla="*/ 1875124 h 1624"/>
              <a:gd name="T68" fmla="*/ 802386 w 1600"/>
              <a:gd name="T69" fmla="*/ 1894941 h 1624"/>
              <a:gd name="T70" fmla="*/ 804863 w 1600"/>
              <a:gd name="T71" fmla="*/ 1934574 h 1624"/>
              <a:gd name="T72" fmla="*/ 926211 w 1600"/>
              <a:gd name="T73" fmla="*/ 2006408 h 1624"/>
              <a:gd name="T74" fmla="*/ 1089660 w 1600"/>
              <a:gd name="T75" fmla="*/ 1989069 h 1624"/>
              <a:gd name="T76" fmla="*/ 1156526 w 1600"/>
              <a:gd name="T77" fmla="*/ 1907326 h 1624"/>
              <a:gd name="T78" fmla="*/ 1154049 w 1600"/>
              <a:gd name="T79" fmla="*/ 1885033 h 1624"/>
              <a:gd name="T80" fmla="*/ 1144143 w 1600"/>
              <a:gd name="T81" fmla="*/ 1867693 h 1624"/>
              <a:gd name="T82" fmla="*/ 1136714 w 1600"/>
              <a:gd name="T83" fmla="*/ 1860262 h 1624"/>
              <a:gd name="T84" fmla="*/ 1121855 w 1600"/>
              <a:gd name="T85" fmla="*/ 1850354 h 1624"/>
              <a:gd name="T86" fmla="*/ 1067372 w 1600"/>
              <a:gd name="T87" fmla="*/ 1808244 h 1624"/>
              <a:gd name="T88" fmla="*/ 1059942 w 1600"/>
              <a:gd name="T89" fmla="*/ 1793382 h 1624"/>
              <a:gd name="T90" fmla="*/ 1057466 w 1600"/>
              <a:gd name="T91" fmla="*/ 1780997 h 1624"/>
              <a:gd name="T92" fmla="*/ 1057466 w 1600"/>
              <a:gd name="T93" fmla="*/ 1771088 h 1624"/>
              <a:gd name="T94" fmla="*/ 1059942 w 1600"/>
              <a:gd name="T95" fmla="*/ 1761180 h 1624"/>
              <a:gd name="T96" fmla="*/ 1064895 w 1600"/>
              <a:gd name="T97" fmla="*/ 1753749 h 1624"/>
              <a:gd name="T98" fmla="*/ 1072325 w 1600"/>
              <a:gd name="T99" fmla="*/ 1746318 h 1624"/>
              <a:gd name="T100" fmla="*/ 1082231 w 1600"/>
              <a:gd name="T101" fmla="*/ 1736410 h 1624"/>
              <a:gd name="T102" fmla="*/ 1094613 w 1600"/>
              <a:gd name="T103" fmla="*/ 1731456 h 1624"/>
              <a:gd name="T104" fmla="*/ 1104519 w 1600"/>
              <a:gd name="T105" fmla="*/ 1726502 h 1624"/>
              <a:gd name="T106" fmla="*/ 1129284 w 1600"/>
              <a:gd name="T107" fmla="*/ 1716593 h 1624"/>
              <a:gd name="T108" fmla="*/ 1485900 w 1600"/>
              <a:gd name="T109" fmla="*/ 0 h 162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00" h="1624">
                <a:moveTo>
                  <a:pt x="1200" y="0"/>
                </a:moveTo>
                <a:lnTo>
                  <a:pt x="402" y="0"/>
                </a:lnTo>
                <a:lnTo>
                  <a:pt x="400" y="6"/>
                </a:lnTo>
                <a:lnTo>
                  <a:pt x="400" y="8"/>
                </a:lnTo>
                <a:lnTo>
                  <a:pt x="266" y="240"/>
                </a:lnTo>
                <a:lnTo>
                  <a:pt x="262" y="260"/>
                </a:lnTo>
                <a:lnTo>
                  <a:pt x="262" y="282"/>
                </a:lnTo>
                <a:lnTo>
                  <a:pt x="264" y="290"/>
                </a:lnTo>
                <a:lnTo>
                  <a:pt x="266" y="298"/>
                </a:lnTo>
                <a:lnTo>
                  <a:pt x="270" y="306"/>
                </a:lnTo>
                <a:lnTo>
                  <a:pt x="276" y="310"/>
                </a:lnTo>
                <a:lnTo>
                  <a:pt x="286" y="316"/>
                </a:lnTo>
                <a:lnTo>
                  <a:pt x="296" y="318"/>
                </a:lnTo>
                <a:lnTo>
                  <a:pt x="306" y="320"/>
                </a:lnTo>
                <a:lnTo>
                  <a:pt x="314" y="318"/>
                </a:lnTo>
                <a:lnTo>
                  <a:pt x="330" y="312"/>
                </a:lnTo>
                <a:lnTo>
                  <a:pt x="344" y="304"/>
                </a:lnTo>
                <a:lnTo>
                  <a:pt x="358" y="296"/>
                </a:lnTo>
                <a:lnTo>
                  <a:pt x="374" y="290"/>
                </a:lnTo>
                <a:lnTo>
                  <a:pt x="382" y="288"/>
                </a:lnTo>
                <a:lnTo>
                  <a:pt x="392" y="290"/>
                </a:lnTo>
                <a:lnTo>
                  <a:pt x="400" y="292"/>
                </a:lnTo>
                <a:lnTo>
                  <a:pt x="412" y="296"/>
                </a:lnTo>
                <a:lnTo>
                  <a:pt x="418" y="302"/>
                </a:lnTo>
                <a:lnTo>
                  <a:pt x="424" y="306"/>
                </a:lnTo>
                <a:lnTo>
                  <a:pt x="434" y="320"/>
                </a:lnTo>
                <a:lnTo>
                  <a:pt x="438" y="336"/>
                </a:lnTo>
                <a:lnTo>
                  <a:pt x="442" y="352"/>
                </a:lnTo>
                <a:lnTo>
                  <a:pt x="442" y="370"/>
                </a:lnTo>
                <a:lnTo>
                  <a:pt x="438" y="390"/>
                </a:lnTo>
                <a:lnTo>
                  <a:pt x="434" y="408"/>
                </a:lnTo>
                <a:lnTo>
                  <a:pt x="430" y="426"/>
                </a:lnTo>
                <a:lnTo>
                  <a:pt x="420" y="450"/>
                </a:lnTo>
                <a:lnTo>
                  <a:pt x="410" y="472"/>
                </a:lnTo>
                <a:lnTo>
                  <a:pt x="398" y="488"/>
                </a:lnTo>
                <a:lnTo>
                  <a:pt x="384" y="506"/>
                </a:lnTo>
                <a:lnTo>
                  <a:pt x="368" y="524"/>
                </a:lnTo>
                <a:lnTo>
                  <a:pt x="348" y="540"/>
                </a:lnTo>
                <a:lnTo>
                  <a:pt x="328" y="552"/>
                </a:lnTo>
                <a:lnTo>
                  <a:pt x="318" y="556"/>
                </a:lnTo>
                <a:lnTo>
                  <a:pt x="306" y="560"/>
                </a:lnTo>
                <a:lnTo>
                  <a:pt x="296" y="562"/>
                </a:lnTo>
                <a:lnTo>
                  <a:pt x="284" y="562"/>
                </a:lnTo>
                <a:lnTo>
                  <a:pt x="274" y="558"/>
                </a:lnTo>
                <a:lnTo>
                  <a:pt x="264" y="554"/>
                </a:lnTo>
                <a:lnTo>
                  <a:pt x="256" y="548"/>
                </a:lnTo>
                <a:lnTo>
                  <a:pt x="248" y="540"/>
                </a:lnTo>
                <a:lnTo>
                  <a:pt x="244" y="532"/>
                </a:lnTo>
                <a:lnTo>
                  <a:pt x="240" y="524"/>
                </a:lnTo>
                <a:lnTo>
                  <a:pt x="238" y="508"/>
                </a:lnTo>
                <a:lnTo>
                  <a:pt x="238" y="492"/>
                </a:lnTo>
                <a:lnTo>
                  <a:pt x="238" y="474"/>
                </a:lnTo>
                <a:lnTo>
                  <a:pt x="234" y="458"/>
                </a:lnTo>
                <a:lnTo>
                  <a:pt x="232" y="450"/>
                </a:lnTo>
                <a:lnTo>
                  <a:pt x="226" y="444"/>
                </a:lnTo>
                <a:lnTo>
                  <a:pt x="218" y="436"/>
                </a:lnTo>
                <a:lnTo>
                  <a:pt x="210" y="430"/>
                </a:lnTo>
                <a:lnTo>
                  <a:pt x="202" y="426"/>
                </a:lnTo>
                <a:lnTo>
                  <a:pt x="192" y="426"/>
                </a:lnTo>
                <a:lnTo>
                  <a:pt x="184" y="430"/>
                </a:lnTo>
                <a:lnTo>
                  <a:pt x="174" y="434"/>
                </a:lnTo>
                <a:lnTo>
                  <a:pt x="156" y="446"/>
                </a:lnTo>
                <a:lnTo>
                  <a:pt x="140" y="460"/>
                </a:lnTo>
                <a:lnTo>
                  <a:pt x="40" y="632"/>
                </a:lnTo>
                <a:lnTo>
                  <a:pt x="4" y="694"/>
                </a:lnTo>
                <a:lnTo>
                  <a:pt x="0" y="694"/>
                </a:lnTo>
                <a:lnTo>
                  <a:pt x="2" y="696"/>
                </a:lnTo>
                <a:lnTo>
                  <a:pt x="4" y="696"/>
                </a:lnTo>
                <a:lnTo>
                  <a:pt x="140" y="934"/>
                </a:lnTo>
                <a:lnTo>
                  <a:pt x="158" y="948"/>
                </a:lnTo>
                <a:lnTo>
                  <a:pt x="176" y="962"/>
                </a:lnTo>
                <a:lnTo>
                  <a:pt x="186" y="968"/>
                </a:lnTo>
                <a:lnTo>
                  <a:pt x="196" y="970"/>
                </a:lnTo>
                <a:lnTo>
                  <a:pt x="206" y="970"/>
                </a:lnTo>
                <a:lnTo>
                  <a:pt x="214" y="968"/>
                </a:lnTo>
                <a:lnTo>
                  <a:pt x="224" y="960"/>
                </a:lnTo>
                <a:lnTo>
                  <a:pt x="230" y="954"/>
                </a:lnTo>
                <a:lnTo>
                  <a:pt x="236" y="946"/>
                </a:lnTo>
                <a:lnTo>
                  <a:pt x="240" y="938"/>
                </a:lnTo>
                <a:lnTo>
                  <a:pt x="242" y="922"/>
                </a:lnTo>
                <a:lnTo>
                  <a:pt x="242" y="906"/>
                </a:lnTo>
                <a:lnTo>
                  <a:pt x="242" y="888"/>
                </a:lnTo>
                <a:lnTo>
                  <a:pt x="244" y="872"/>
                </a:lnTo>
                <a:lnTo>
                  <a:pt x="248" y="864"/>
                </a:lnTo>
                <a:lnTo>
                  <a:pt x="252" y="858"/>
                </a:lnTo>
                <a:lnTo>
                  <a:pt x="260" y="850"/>
                </a:lnTo>
                <a:lnTo>
                  <a:pt x="268" y="844"/>
                </a:lnTo>
                <a:lnTo>
                  <a:pt x="278" y="838"/>
                </a:lnTo>
                <a:lnTo>
                  <a:pt x="290" y="836"/>
                </a:lnTo>
                <a:lnTo>
                  <a:pt x="300" y="836"/>
                </a:lnTo>
                <a:lnTo>
                  <a:pt x="310" y="836"/>
                </a:lnTo>
                <a:lnTo>
                  <a:pt x="322" y="840"/>
                </a:lnTo>
                <a:lnTo>
                  <a:pt x="332" y="844"/>
                </a:lnTo>
                <a:lnTo>
                  <a:pt x="352" y="858"/>
                </a:lnTo>
                <a:lnTo>
                  <a:pt x="372" y="874"/>
                </a:lnTo>
                <a:lnTo>
                  <a:pt x="390" y="892"/>
                </a:lnTo>
                <a:lnTo>
                  <a:pt x="404" y="910"/>
                </a:lnTo>
                <a:lnTo>
                  <a:pt x="414" y="926"/>
                </a:lnTo>
                <a:lnTo>
                  <a:pt x="422" y="944"/>
                </a:lnTo>
                <a:lnTo>
                  <a:pt x="432" y="964"/>
                </a:lnTo>
                <a:lnTo>
                  <a:pt x="438" y="988"/>
                </a:lnTo>
                <a:lnTo>
                  <a:pt x="442" y="1012"/>
                </a:lnTo>
                <a:lnTo>
                  <a:pt x="444" y="1038"/>
                </a:lnTo>
                <a:lnTo>
                  <a:pt x="442" y="1048"/>
                </a:lnTo>
                <a:lnTo>
                  <a:pt x="440" y="1060"/>
                </a:lnTo>
                <a:lnTo>
                  <a:pt x="436" y="1070"/>
                </a:lnTo>
                <a:lnTo>
                  <a:pt x="430" y="1078"/>
                </a:lnTo>
                <a:lnTo>
                  <a:pt x="422" y="1086"/>
                </a:lnTo>
                <a:lnTo>
                  <a:pt x="412" y="1092"/>
                </a:lnTo>
                <a:lnTo>
                  <a:pt x="402" y="1098"/>
                </a:lnTo>
                <a:lnTo>
                  <a:pt x="392" y="1100"/>
                </a:lnTo>
                <a:lnTo>
                  <a:pt x="384" y="1100"/>
                </a:lnTo>
                <a:lnTo>
                  <a:pt x="376" y="1100"/>
                </a:lnTo>
                <a:lnTo>
                  <a:pt x="360" y="1094"/>
                </a:lnTo>
                <a:lnTo>
                  <a:pt x="346" y="1084"/>
                </a:lnTo>
                <a:lnTo>
                  <a:pt x="330" y="1076"/>
                </a:lnTo>
                <a:lnTo>
                  <a:pt x="316" y="1070"/>
                </a:lnTo>
                <a:lnTo>
                  <a:pt x="306" y="1070"/>
                </a:lnTo>
                <a:lnTo>
                  <a:pt x="298" y="1070"/>
                </a:lnTo>
                <a:lnTo>
                  <a:pt x="288" y="1074"/>
                </a:lnTo>
                <a:lnTo>
                  <a:pt x="278" y="1078"/>
                </a:lnTo>
                <a:lnTo>
                  <a:pt x="272" y="1084"/>
                </a:lnTo>
                <a:lnTo>
                  <a:pt x="266" y="1092"/>
                </a:lnTo>
                <a:lnTo>
                  <a:pt x="264" y="1102"/>
                </a:lnTo>
                <a:lnTo>
                  <a:pt x="264" y="1114"/>
                </a:lnTo>
                <a:lnTo>
                  <a:pt x="266" y="1136"/>
                </a:lnTo>
                <a:lnTo>
                  <a:pt x="270" y="1158"/>
                </a:lnTo>
                <a:lnTo>
                  <a:pt x="402" y="1386"/>
                </a:lnTo>
                <a:lnTo>
                  <a:pt x="668" y="1386"/>
                </a:lnTo>
                <a:lnTo>
                  <a:pt x="674" y="1388"/>
                </a:lnTo>
                <a:lnTo>
                  <a:pt x="686" y="1392"/>
                </a:lnTo>
                <a:lnTo>
                  <a:pt x="688" y="1394"/>
                </a:lnTo>
                <a:lnTo>
                  <a:pt x="692" y="1394"/>
                </a:lnTo>
                <a:lnTo>
                  <a:pt x="694" y="1396"/>
                </a:lnTo>
                <a:lnTo>
                  <a:pt x="696" y="1398"/>
                </a:lnTo>
                <a:lnTo>
                  <a:pt x="700" y="1398"/>
                </a:lnTo>
                <a:lnTo>
                  <a:pt x="702" y="1400"/>
                </a:lnTo>
                <a:lnTo>
                  <a:pt x="704" y="1402"/>
                </a:lnTo>
                <a:lnTo>
                  <a:pt x="706" y="1402"/>
                </a:lnTo>
                <a:lnTo>
                  <a:pt x="710" y="1406"/>
                </a:lnTo>
                <a:lnTo>
                  <a:pt x="714" y="1410"/>
                </a:lnTo>
                <a:lnTo>
                  <a:pt x="716" y="1410"/>
                </a:lnTo>
                <a:lnTo>
                  <a:pt x="718" y="1412"/>
                </a:lnTo>
                <a:lnTo>
                  <a:pt x="720" y="1414"/>
                </a:lnTo>
                <a:lnTo>
                  <a:pt x="722" y="1416"/>
                </a:lnTo>
                <a:lnTo>
                  <a:pt x="722" y="1418"/>
                </a:lnTo>
                <a:lnTo>
                  <a:pt x="724" y="1420"/>
                </a:lnTo>
                <a:lnTo>
                  <a:pt x="724" y="1422"/>
                </a:lnTo>
                <a:lnTo>
                  <a:pt x="726" y="1424"/>
                </a:lnTo>
                <a:lnTo>
                  <a:pt x="726" y="1426"/>
                </a:lnTo>
                <a:lnTo>
                  <a:pt x="726" y="1430"/>
                </a:lnTo>
                <a:lnTo>
                  <a:pt x="726" y="1436"/>
                </a:lnTo>
                <a:lnTo>
                  <a:pt x="726" y="1438"/>
                </a:lnTo>
                <a:lnTo>
                  <a:pt x="726" y="1442"/>
                </a:lnTo>
                <a:lnTo>
                  <a:pt x="724" y="1444"/>
                </a:lnTo>
                <a:lnTo>
                  <a:pt x="724" y="1448"/>
                </a:lnTo>
                <a:lnTo>
                  <a:pt x="720" y="1458"/>
                </a:lnTo>
                <a:lnTo>
                  <a:pt x="716" y="1464"/>
                </a:lnTo>
                <a:lnTo>
                  <a:pt x="710" y="1470"/>
                </a:lnTo>
                <a:lnTo>
                  <a:pt x="704" y="1476"/>
                </a:lnTo>
                <a:lnTo>
                  <a:pt x="690" y="1484"/>
                </a:lnTo>
                <a:lnTo>
                  <a:pt x="676" y="1492"/>
                </a:lnTo>
                <a:lnTo>
                  <a:pt x="674" y="1494"/>
                </a:lnTo>
                <a:lnTo>
                  <a:pt x="672" y="1494"/>
                </a:lnTo>
                <a:lnTo>
                  <a:pt x="668" y="1498"/>
                </a:lnTo>
                <a:lnTo>
                  <a:pt x="666" y="1498"/>
                </a:lnTo>
                <a:lnTo>
                  <a:pt x="662" y="1502"/>
                </a:lnTo>
                <a:lnTo>
                  <a:pt x="660" y="1504"/>
                </a:lnTo>
                <a:lnTo>
                  <a:pt x="656" y="1508"/>
                </a:lnTo>
                <a:lnTo>
                  <a:pt x="652" y="1514"/>
                </a:lnTo>
                <a:lnTo>
                  <a:pt x="650" y="1522"/>
                </a:lnTo>
                <a:lnTo>
                  <a:pt x="648" y="1530"/>
                </a:lnTo>
                <a:lnTo>
                  <a:pt x="648" y="1532"/>
                </a:lnTo>
                <a:lnTo>
                  <a:pt x="646" y="1540"/>
                </a:lnTo>
                <a:lnTo>
                  <a:pt x="648" y="1552"/>
                </a:lnTo>
                <a:lnTo>
                  <a:pt x="650" y="1562"/>
                </a:lnTo>
                <a:lnTo>
                  <a:pt x="656" y="1572"/>
                </a:lnTo>
                <a:lnTo>
                  <a:pt x="662" y="1580"/>
                </a:lnTo>
                <a:lnTo>
                  <a:pt x="670" y="1588"/>
                </a:lnTo>
                <a:lnTo>
                  <a:pt x="680" y="1594"/>
                </a:lnTo>
                <a:lnTo>
                  <a:pt x="700" y="1606"/>
                </a:lnTo>
                <a:lnTo>
                  <a:pt x="724" y="1614"/>
                </a:lnTo>
                <a:lnTo>
                  <a:pt x="748" y="1620"/>
                </a:lnTo>
                <a:lnTo>
                  <a:pt x="770" y="1624"/>
                </a:lnTo>
                <a:lnTo>
                  <a:pt x="790" y="1624"/>
                </a:lnTo>
                <a:lnTo>
                  <a:pt x="810" y="1624"/>
                </a:lnTo>
                <a:lnTo>
                  <a:pt x="832" y="1620"/>
                </a:lnTo>
                <a:lnTo>
                  <a:pt x="856" y="1614"/>
                </a:lnTo>
                <a:lnTo>
                  <a:pt x="880" y="1606"/>
                </a:lnTo>
                <a:lnTo>
                  <a:pt x="902" y="1594"/>
                </a:lnTo>
                <a:lnTo>
                  <a:pt x="910" y="1588"/>
                </a:lnTo>
                <a:lnTo>
                  <a:pt x="918" y="1580"/>
                </a:lnTo>
                <a:lnTo>
                  <a:pt x="926" y="1572"/>
                </a:lnTo>
                <a:lnTo>
                  <a:pt x="930" y="1562"/>
                </a:lnTo>
                <a:lnTo>
                  <a:pt x="934" y="1552"/>
                </a:lnTo>
                <a:lnTo>
                  <a:pt x="934" y="1540"/>
                </a:lnTo>
                <a:lnTo>
                  <a:pt x="934" y="1532"/>
                </a:lnTo>
                <a:lnTo>
                  <a:pt x="934" y="1530"/>
                </a:lnTo>
                <a:lnTo>
                  <a:pt x="932" y="1522"/>
                </a:lnTo>
                <a:lnTo>
                  <a:pt x="930" y="1522"/>
                </a:lnTo>
                <a:lnTo>
                  <a:pt x="928" y="1514"/>
                </a:lnTo>
                <a:lnTo>
                  <a:pt x="924" y="1508"/>
                </a:lnTo>
                <a:lnTo>
                  <a:pt x="920" y="1504"/>
                </a:lnTo>
                <a:lnTo>
                  <a:pt x="918" y="1502"/>
                </a:lnTo>
                <a:lnTo>
                  <a:pt x="914" y="1498"/>
                </a:lnTo>
                <a:lnTo>
                  <a:pt x="912" y="1498"/>
                </a:lnTo>
                <a:lnTo>
                  <a:pt x="908" y="1494"/>
                </a:lnTo>
                <a:lnTo>
                  <a:pt x="906" y="1494"/>
                </a:lnTo>
                <a:lnTo>
                  <a:pt x="904" y="1492"/>
                </a:lnTo>
                <a:lnTo>
                  <a:pt x="890" y="1484"/>
                </a:lnTo>
                <a:lnTo>
                  <a:pt x="878" y="1476"/>
                </a:lnTo>
                <a:lnTo>
                  <a:pt x="866" y="1466"/>
                </a:lnTo>
                <a:lnTo>
                  <a:pt x="862" y="1460"/>
                </a:lnTo>
                <a:lnTo>
                  <a:pt x="858" y="1454"/>
                </a:lnTo>
                <a:lnTo>
                  <a:pt x="856" y="1448"/>
                </a:lnTo>
                <a:lnTo>
                  <a:pt x="856" y="1444"/>
                </a:lnTo>
                <a:lnTo>
                  <a:pt x="856" y="1442"/>
                </a:lnTo>
                <a:lnTo>
                  <a:pt x="854" y="1438"/>
                </a:lnTo>
                <a:lnTo>
                  <a:pt x="854" y="1436"/>
                </a:lnTo>
                <a:lnTo>
                  <a:pt x="854" y="1430"/>
                </a:lnTo>
                <a:lnTo>
                  <a:pt x="854" y="1426"/>
                </a:lnTo>
                <a:lnTo>
                  <a:pt x="856" y="1424"/>
                </a:lnTo>
                <a:lnTo>
                  <a:pt x="856" y="1422"/>
                </a:lnTo>
                <a:lnTo>
                  <a:pt x="856" y="1420"/>
                </a:lnTo>
                <a:lnTo>
                  <a:pt x="858" y="1418"/>
                </a:lnTo>
                <a:lnTo>
                  <a:pt x="860" y="1416"/>
                </a:lnTo>
                <a:lnTo>
                  <a:pt x="862" y="1414"/>
                </a:lnTo>
                <a:lnTo>
                  <a:pt x="862" y="1412"/>
                </a:lnTo>
                <a:lnTo>
                  <a:pt x="864" y="1410"/>
                </a:lnTo>
                <a:lnTo>
                  <a:pt x="866" y="1410"/>
                </a:lnTo>
                <a:lnTo>
                  <a:pt x="870" y="1406"/>
                </a:lnTo>
                <a:lnTo>
                  <a:pt x="874" y="1402"/>
                </a:lnTo>
                <a:lnTo>
                  <a:pt x="876" y="1402"/>
                </a:lnTo>
                <a:lnTo>
                  <a:pt x="880" y="1400"/>
                </a:lnTo>
                <a:lnTo>
                  <a:pt x="882" y="1398"/>
                </a:lnTo>
                <a:lnTo>
                  <a:pt x="884" y="1398"/>
                </a:lnTo>
                <a:lnTo>
                  <a:pt x="886" y="1396"/>
                </a:lnTo>
                <a:lnTo>
                  <a:pt x="890" y="1394"/>
                </a:lnTo>
                <a:lnTo>
                  <a:pt x="892" y="1394"/>
                </a:lnTo>
                <a:lnTo>
                  <a:pt x="894" y="1392"/>
                </a:lnTo>
                <a:lnTo>
                  <a:pt x="906" y="1388"/>
                </a:lnTo>
                <a:lnTo>
                  <a:pt x="908" y="1388"/>
                </a:lnTo>
                <a:lnTo>
                  <a:pt x="912" y="1386"/>
                </a:lnTo>
                <a:lnTo>
                  <a:pt x="1200" y="1386"/>
                </a:lnTo>
                <a:lnTo>
                  <a:pt x="1200" y="1384"/>
                </a:lnTo>
                <a:lnTo>
                  <a:pt x="1600" y="694"/>
                </a:lnTo>
                <a:lnTo>
                  <a:pt x="1200" y="0"/>
                </a:lnTo>
                <a:close/>
              </a:path>
            </a:pathLst>
          </a:custGeom>
          <a:solidFill>
            <a:srgbClr val="D0E6A7"/>
          </a:solidFill>
          <a:ln w="38100" cap="flat" cmpd="sng">
            <a:solidFill>
              <a:srgbClr val="D0E6A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xmlns="" id="{903A581B-8F83-4637-A9AA-D8906877254D}"/>
              </a:ext>
            </a:extLst>
          </p:cNvPr>
          <p:cNvSpPr/>
          <p:nvPr/>
        </p:nvSpPr>
        <p:spPr>
          <a:xfrm>
            <a:off x="3483004" y="960287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32D5276B-26A6-431A-975C-9080B564115C}"/>
              </a:ext>
            </a:extLst>
          </p:cNvPr>
          <p:cNvSpPr/>
          <p:nvPr/>
        </p:nvSpPr>
        <p:spPr>
          <a:xfrm>
            <a:off x="7452790" y="2390300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827583E-0A9D-4FD4-8889-DDBCF82D3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1" name="CaixaDeTexto 44">
            <a:extLst>
              <a:ext uri="{FF2B5EF4-FFF2-40B4-BE49-F238E27FC236}">
                <a16:creationId xmlns:a16="http://schemas.microsoft.com/office/drawing/2014/main" xmlns="" id="{227610B5-7330-4DD4-881E-BAF28FAF3257}"/>
              </a:ext>
            </a:extLst>
          </p:cNvPr>
          <p:cNvSpPr txBox="1"/>
          <p:nvPr/>
        </p:nvSpPr>
        <p:spPr>
          <a:xfrm>
            <a:off x="3947784" y="914624"/>
            <a:ext cx="171099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b="1" dirty="0">
                <a:solidFill>
                  <a:srgbClr val="FFFFFF"/>
                </a:solidFill>
                <a:latin typeface="Candara"/>
              </a:rPr>
              <a:t>O caso de Pernambuco: 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resultados positivos em </a:t>
            </a:r>
            <a:r>
              <a:rPr lang="pt-BR" b="1" dirty="0">
                <a:solidFill>
                  <a:srgbClr val="FFFFFF"/>
                </a:solidFill>
                <a:latin typeface="Candara"/>
              </a:rPr>
              <a:t>aprendizagem e fluxo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.</a:t>
            </a:r>
          </a:p>
        </p:txBody>
      </p:sp>
      <p:sp>
        <p:nvSpPr>
          <p:cNvPr id="12" name="CaixaDeTexto 45">
            <a:extLst>
              <a:ext uri="{FF2B5EF4-FFF2-40B4-BE49-F238E27FC236}">
                <a16:creationId xmlns:a16="http://schemas.microsoft.com/office/drawing/2014/main" xmlns="" id="{54113950-4773-4334-A244-8DF0DDA258BC}"/>
              </a:ext>
            </a:extLst>
          </p:cNvPr>
          <p:cNvSpPr txBox="1"/>
          <p:nvPr/>
        </p:nvSpPr>
        <p:spPr>
          <a:xfrm>
            <a:off x="5890727" y="1792105"/>
            <a:ext cx="1710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O caso de Pernambuco: resultados positivos na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diminuição das desigualdades sociais.</a:t>
            </a:r>
          </a:p>
        </p:txBody>
      </p:sp>
    </p:spTree>
    <p:extLst>
      <p:ext uri="{BB962C8B-B14F-4D97-AF65-F5344CB8AC3E}">
        <p14:creationId xmlns:p14="http://schemas.microsoft.com/office/powerpoint/2010/main" val="15211562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63C8E4EF-57F8-4BB7-928B-42C97BE0C76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Saeb 2017: menores diferenças em proficiência, considerando o nível socioeconômico nas escolas em pernambuco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xmlns="" id="{BC83DF01-3684-4366-AACD-C1814DAE6B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255" name="Imagem 254">
            <a:extLst>
              <a:ext uri="{FF2B5EF4-FFF2-40B4-BE49-F238E27FC236}">
                <a16:creationId xmlns:a16="http://schemas.microsoft.com/office/drawing/2014/main" xmlns="" id="{43F0C5DC-80F1-49AC-A68F-B142DAB832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300000"/>
                    </a14:imgEffect>
                  </a14:imgLayer>
                </a14:imgProps>
              </a:ext>
            </a:extLst>
          </a:blip>
          <a:srcRect l="3024" t="24918" r="6129" b="25"/>
          <a:stretch/>
        </p:blipFill>
        <p:spPr>
          <a:xfrm>
            <a:off x="0" y="1728572"/>
            <a:ext cx="8961438" cy="40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413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0E635D34-E1AA-4DAE-873F-46E4846EFEE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pt-BR" sz="2350" dirty="0"/>
              <a:t>IDEPE 2015: O nível socioeconômico está correlacionado com a renda em escolas parciais, mas não em escolas integrais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xmlns="" id="{2DA90F7F-7178-460F-8357-A924BB80B5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xmlns="" id="{6B55B341-23A0-4862-B2EE-2C0A563606C5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63707" y="1510615"/>
          <a:ext cx="8227450" cy="4702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Elipse 6">
            <a:extLst>
              <a:ext uri="{FF2B5EF4-FFF2-40B4-BE49-F238E27FC236}">
                <a16:creationId xmlns:a16="http://schemas.microsoft.com/office/drawing/2014/main" xmlns="" id="{11864BF7-E90A-44A3-B205-8C07DC3B0814}"/>
              </a:ext>
            </a:extLst>
          </p:cNvPr>
          <p:cNvSpPr/>
          <p:nvPr/>
        </p:nvSpPr>
        <p:spPr>
          <a:xfrm>
            <a:off x="2270162" y="3266138"/>
            <a:ext cx="320362" cy="189198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76" dirty="0"/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xmlns="" id="{B2DA4890-E73C-4C02-898D-81F9E1702301}"/>
              </a:ext>
            </a:extLst>
          </p:cNvPr>
          <p:cNvSpPr/>
          <p:nvPr/>
        </p:nvSpPr>
        <p:spPr>
          <a:xfrm>
            <a:off x="5138469" y="3540433"/>
            <a:ext cx="320362" cy="189198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76" dirty="0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xmlns="" id="{8FB008F1-17F7-4192-8313-DE8E7A5CF0A9}"/>
              </a:ext>
            </a:extLst>
          </p:cNvPr>
          <p:cNvSpPr/>
          <p:nvPr/>
        </p:nvSpPr>
        <p:spPr>
          <a:xfrm>
            <a:off x="2498583" y="3560985"/>
            <a:ext cx="320362" cy="189198"/>
          </a:xfrm>
          <a:prstGeom prst="ellipse">
            <a:avLst/>
          </a:prstGeom>
          <a:noFill/>
          <a:ln w="28575">
            <a:solidFill>
              <a:srgbClr val="FD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76" dirty="0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xmlns="" id="{8334C0A3-A4B9-481B-B3CD-6C9DB98BE10E}"/>
              </a:ext>
            </a:extLst>
          </p:cNvPr>
          <p:cNvSpPr/>
          <p:nvPr/>
        </p:nvSpPr>
        <p:spPr>
          <a:xfrm>
            <a:off x="4391676" y="3635032"/>
            <a:ext cx="320362" cy="189198"/>
          </a:xfrm>
          <a:prstGeom prst="ellipse">
            <a:avLst/>
          </a:prstGeom>
          <a:noFill/>
          <a:ln w="28575">
            <a:solidFill>
              <a:srgbClr val="FD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76" dirty="0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xmlns="" id="{87D18BCA-1254-43BF-A84E-5412751937A5}"/>
              </a:ext>
            </a:extLst>
          </p:cNvPr>
          <p:cNvSpPr/>
          <p:nvPr/>
        </p:nvSpPr>
        <p:spPr>
          <a:xfrm>
            <a:off x="2590524" y="3993890"/>
            <a:ext cx="320362" cy="189198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76" dirty="0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xmlns="" id="{3F0D9983-C64A-454F-A6FE-B41054A2347A}"/>
              </a:ext>
            </a:extLst>
          </p:cNvPr>
          <p:cNvSpPr/>
          <p:nvPr/>
        </p:nvSpPr>
        <p:spPr>
          <a:xfrm>
            <a:off x="5993227" y="3588339"/>
            <a:ext cx="320362" cy="189198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76" dirty="0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xmlns="" id="{E8F997A0-20F3-41A3-9D00-4868BE3D24BE}"/>
              </a:ext>
            </a:extLst>
          </p:cNvPr>
          <p:cNvSpPr txBox="1"/>
          <p:nvPr/>
        </p:nvSpPr>
        <p:spPr>
          <a:xfrm>
            <a:off x="1617419" y="5769013"/>
            <a:ext cx="652743" cy="2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76" dirty="0">
                <a:solidFill>
                  <a:schemeClr val="tx2"/>
                </a:solidFill>
              </a:rPr>
              <a:t>Nível II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xmlns="" id="{7160088C-6EAE-4011-88E3-D22B0EFC1CBE}"/>
              </a:ext>
            </a:extLst>
          </p:cNvPr>
          <p:cNvSpPr txBox="1"/>
          <p:nvPr/>
        </p:nvSpPr>
        <p:spPr>
          <a:xfrm>
            <a:off x="2682465" y="5755365"/>
            <a:ext cx="694421" cy="2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76" dirty="0">
                <a:solidFill>
                  <a:schemeClr val="tx2"/>
                </a:solidFill>
              </a:rPr>
              <a:t>Nível III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11AE4F2D-3D18-4515-A14D-9F943C03AE73}"/>
              </a:ext>
            </a:extLst>
          </p:cNvPr>
          <p:cNvSpPr txBox="1"/>
          <p:nvPr/>
        </p:nvSpPr>
        <p:spPr>
          <a:xfrm>
            <a:off x="3462167" y="5755365"/>
            <a:ext cx="712054" cy="2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76" dirty="0">
                <a:solidFill>
                  <a:schemeClr val="tx2"/>
                </a:solidFill>
              </a:rPr>
              <a:t>Nível IV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xmlns="" id="{2E84AFDE-0529-488F-B8C3-8300C94AB8A3}"/>
              </a:ext>
            </a:extLst>
          </p:cNvPr>
          <p:cNvSpPr txBox="1"/>
          <p:nvPr/>
        </p:nvSpPr>
        <p:spPr>
          <a:xfrm>
            <a:off x="4438383" y="5769013"/>
            <a:ext cx="670376" cy="2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76" dirty="0">
                <a:solidFill>
                  <a:schemeClr val="tx2"/>
                </a:solidFill>
              </a:rPr>
              <a:t>Nível V</a:t>
            </a:r>
          </a:p>
        </p:txBody>
      </p: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xmlns="" id="{56514581-1EAD-4434-ABDD-69314FDC6960}"/>
              </a:ext>
            </a:extLst>
          </p:cNvPr>
          <p:cNvCxnSpPr/>
          <p:nvPr/>
        </p:nvCxnSpPr>
        <p:spPr>
          <a:xfrm>
            <a:off x="2723409" y="1692322"/>
            <a:ext cx="0" cy="3725839"/>
          </a:xfrm>
          <a:prstGeom prst="line">
            <a:avLst/>
          </a:prstGeom>
          <a:ln w="952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xmlns="" id="{2877C941-6E59-4336-9E95-292F0E19739D}"/>
              </a:ext>
            </a:extLst>
          </p:cNvPr>
          <p:cNvCxnSpPr/>
          <p:nvPr/>
        </p:nvCxnSpPr>
        <p:spPr>
          <a:xfrm>
            <a:off x="3449019" y="1708242"/>
            <a:ext cx="0" cy="3725839"/>
          </a:xfrm>
          <a:prstGeom prst="line">
            <a:avLst/>
          </a:prstGeom>
          <a:ln w="952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xmlns="" id="{25135B17-7EF1-4E1D-9B93-0FA0D36BD92E}"/>
              </a:ext>
            </a:extLst>
          </p:cNvPr>
          <p:cNvCxnSpPr/>
          <p:nvPr/>
        </p:nvCxnSpPr>
        <p:spPr>
          <a:xfrm>
            <a:off x="5198222" y="1683218"/>
            <a:ext cx="0" cy="3725839"/>
          </a:xfrm>
          <a:prstGeom prst="line">
            <a:avLst/>
          </a:prstGeom>
          <a:ln w="952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>
            <a:extLst>
              <a:ext uri="{FF2B5EF4-FFF2-40B4-BE49-F238E27FC236}">
                <a16:creationId xmlns:a16="http://schemas.microsoft.com/office/drawing/2014/main" xmlns="" id="{975EF7EC-BE02-44E1-8FFB-3E00489E2AB8}"/>
              </a:ext>
            </a:extLst>
          </p:cNvPr>
          <p:cNvCxnSpPr/>
          <p:nvPr/>
        </p:nvCxnSpPr>
        <p:spPr>
          <a:xfrm>
            <a:off x="4258792" y="1699138"/>
            <a:ext cx="0" cy="3725839"/>
          </a:xfrm>
          <a:prstGeom prst="line">
            <a:avLst/>
          </a:prstGeom>
          <a:ln w="952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CaixaDeTexto 25">
            <a:extLst>
              <a:ext uri="{FF2B5EF4-FFF2-40B4-BE49-F238E27FC236}">
                <a16:creationId xmlns:a16="http://schemas.microsoft.com/office/drawing/2014/main" xmlns="" id="{53CCC7DA-D2A6-4518-BD09-D0A1362CBF0E}"/>
              </a:ext>
            </a:extLst>
          </p:cNvPr>
          <p:cNvSpPr txBox="1"/>
          <p:nvPr/>
        </p:nvSpPr>
        <p:spPr>
          <a:xfrm>
            <a:off x="51123" y="1237335"/>
            <a:ext cx="638316" cy="2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76" dirty="0">
                <a:solidFill>
                  <a:schemeClr val="tx2"/>
                </a:solidFill>
              </a:rPr>
              <a:t>IDEPE</a:t>
            </a:r>
          </a:p>
        </p:txBody>
      </p:sp>
      <p:sp>
        <p:nvSpPr>
          <p:cNvPr id="28" name="Botão de Ação: Voltar ou Anterior 27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xmlns="" id="{68A667BE-6BBF-447C-BA8C-95D7C5DC4FE5}"/>
              </a:ext>
            </a:extLst>
          </p:cNvPr>
          <p:cNvSpPr/>
          <p:nvPr/>
        </p:nvSpPr>
        <p:spPr>
          <a:xfrm rot="10800000">
            <a:off x="8441792" y="856057"/>
            <a:ext cx="282250" cy="282250"/>
          </a:xfrm>
          <a:prstGeom prst="actionButtonBackPrevious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</p:spTree>
    <p:extLst>
      <p:ext uri="{BB962C8B-B14F-4D97-AF65-F5344CB8AC3E}">
        <p14:creationId xmlns:p14="http://schemas.microsoft.com/office/powerpoint/2010/main" val="37641238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8" name="Rectangle 17"/>
          <p:cNvSpPr>
            <a:spLocks noGrp="1" noChangeArrowheads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As escolas integrais contribuem com as reduções das desigualdades sociais</a:t>
            </a:r>
            <a:endParaRPr lang="pt-BR" altLang="en-US" dirty="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251288" y="3555879"/>
            <a:ext cx="2462458" cy="1793186"/>
          </a:xfrm>
          <a:custGeom>
            <a:avLst/>
            <a:gdLst>
              <a:gd name="T0" fmla="*/ 1124331 w 1600"/>
              <a:gd name="T1" fmla="*/ 4953 h 1382"/>
              <a:gd name="T2" fmla="*/ 1104519 w 1600"/>
              <a:gd name="T3" fmla="*/ 12383 h 1382"/>
              <a:gd name="T4" fmla="*/ 1094613 w 1600"/>
              <a:gd name="T5" fmla="*/ 17336 h 1382"/>
              <a:gd name="T6" fmla="*/ 1084707 w 1600"/>
              <a:gd name="T7" fmla="*/ 22289 h 1382"/>
              <a:gd name="T8" fmla="*/ 1077278 w 1600"/>
              <a:gd name="T9" fmla="*/ 27243 h 1382"/>
              <a:gd name="T10" fmla="*/ 1067372 w 1600"/>
              <a:gd name="T11" fmla="*/ 34672 h 1382"/>
              <a:gd name="T12" fmla="*/ 1062419 w 1600"/>
              <a:gd name="T13" fmla="*/ 42102 h 1382"/>
              <a:gd name="T14" fmla="*/ 1059942 w 1600"/>
              <a:gd name="T15" fmla="*/ 49532 h 1382"/>
              <a:gd name="T16" fmla="*/ 1057466 w 1600"/>
              <a:gd name="T17" fmla="*/ 56962 h 1382"/>
              <a:gd name="T18" fmla="*/ 1059942 w 1600"/>
              <a:gd name="T19" fmla="*/ 71821 h 1382"/>
              <a:gd name="T20" fmla="*/ 1059942 w 1600"/>
              <a:gd name="T21" fmla="*/ 79251 h 1382"/>
              <a:gd name="T22" fmla="*/ 1072325 w 1600"/>
              <a:gd name="T23" fmla="*/ 101540 h 1382"/>
              <a:gd name="T24" fmla="*/ 1121855 w 1600"/>
              <a:gd name="T25" fmla="*/ 136213 h 1382"/>
              <a:gd name="T26" fmla="*/ 1131761 w 1600"/>
              <a:gd name="T27" fmla="*/ 141166 h 1382"/>
              <a:gd name="T28" fmla="*/ 1144143 w 1600"/>
              <a:gd name="T29" fmla="*/ 153549 h 1382"/>
              <a:gd name="T30" fmla="*/ 1149096 w 1600"/>
              <a:gd name="T31" fmla="*/ 160978 h 1382"/>
              <a:gd name="T32" fmla="*/ 1156526 w 1600"/>
              <a:gd name="T33" fmla="*/ 180791 h 1382"/>
              <a:gd name="T34" fmla="*/ 1156526 w 1600"/>
              <a:gd name="T35" fmla="*/ 193174 h 1382"/>
              <a:gd name="T36" fmla="*/ 1126808 w 1600"/>
              <a:gd name="T37" fmla="*/ 252612 h 1382"/>
              <a:gd name="T38" fmla="*/ 978218 w 1600"/>
              <a:gd name="T39" fmla="*/ 297191 h 1382"/>
              <a:gd name="T40" fmla="*/ 842010 w 1600"/>
              <a:gd name="T41" fmla="*/ 260042 h 1382"/>
              <a:gd name="T42" fmla="*/ 799910 w 1600"/>
              <a:gd name="T43" fmla="*/ 193174 h 1382"/>
              <a:gd name="T44" fmla="*/ 802386 w 1600"/>
              <a:gd name="T45" fmla="*/ 183268 h 1382"/>
              <a:gd name="T46" fmla="*/ 804863 w 1600"/>
              <a:gd name="T47" fmla="*/ 170885 h 1382"/>
              <a:gd name="T48" fmla="*/ 812292 w 1600"/>
              <a:gd name="T49" fmla="*/ 153549 h 1382"/>
              <a:gd name="T50" fmla="*/ 819722 w 1600"/>
              <a:gd name="T51" fmla="*/ 146119 h 1382"/>
              <a:gd name="T52" fmla="*/ 832104 w 1600"/>
              <a:gd name="T53" fmla="*/ 136213 h 1382"/>
              <a:gd name="T54" fmla="*/ 869252 w 1600"/>
              <a:gd name="T55" fmla="*/ 113923 h 1382"/>
              <a:gd name="T56" fmla="*/ 896493 w 1600"/>
              <a:gd name="T57" fmla="*/ 79251 h 1382"/>
              <a:gd name="T58" fmla="*/ 898970 w 1600"/>
              <a:gd name="T59" fmla="*/ 71821 h 1382"/>
              <a:gd name="T60" fmla="*/ 898970 w 1600"/>
              <a:gd name="T61" fmla="*/ 56962 h 1382"/>
              <a:gd name="T62" fmla="*/ 898970 w 1600"/>
              <a:gd name="T63" fmla="*/ 49532 h 1382"/>
              <a:gd name="T64" fmla="*/ 894017 w 1600"/>
              <a:gd name="T65" fmla="*/ 42102 h 1382"/>
              <a:gd name="T66" fmla="*/ 889064 w 1600"/>
              <a:gd name="T67" fmla="*/ 34672 h 1382"/>
              <a:gd name="T68" fmla="*/ 879158 w 1600"/>
              <a:gd name="T69" fmla="*/ 27243 h 1382"/>
              <a:gd name="T70" fmla="*/ 871728 w 1600"/>
              <a:gd name="T71" fmla="*/ 22289 h 1382"/>
              <a:gd name="T72" fmla="*/ 861822 w 1600"/>
              <a:gd name="T73" fmla="*/ 17336 h 1382"/>
              <a:gd name="T74" fmla="*/ 851916 w 1600"/>
              <a:gd name="T75" fmla="*/ 12383 h 1382"/>
              <a:gd name="T76" fmla="*/ 834581 w 1600"/>
              <a:gd name="T77" fmla="*/ 4953 h 1382"/>
              <a:gd name="T78" fmla="*/ 497777 w 1600"/>
              <a:gd name="T79" fmla="*/ 2477 h 1382"/>
              <a:gd name="T80" fmla="*/ 324422 w 1600"/>
              <a:gd name="T81" fmla="*/ 371489 h 1382"/>
              <a:gd name="T82" fmla="*/ 373952 w 1600"/>
              <a:gd name="T83" fmla="*/ 398731 h 1382"/>
              <a:gd name="T84" fmla="*/ 470535 w 1600"/>
              <a:gd name="T85" fmla="*/ 361582 h 1382"/>
              <a:gd name="T86" fmla="*/ 525018 w 1600"/>
              <a:gd name="T87" fmla="*/ 388825 h 1382"/>
              <a:gd name="T88" fmla="*/ 537401 w 1600"/>
              <a:gd name="T89" fmla="*/ 500272 h 1382"/>
              <a:gd name="T90" fmla="*/ 475488 w 1600"/>
              <a:gd name="T91" fmla="*/ 619148 h 1382"/>
              <a:gd name="T92" fmla="*/ 366522 w 1600"/>
              <a:gd name="T93" fmla="*/ 688493 h 1382"/>
              <a:gd name="T94" fmla="*/ 307086 w 1600"/>
              <a:gd name="T95" fmla="*/ 661250 h 1382"/>
              <a:gd name="T96" fmla="*/ 289751 w 1600"/>
              <a:gd name="T97" fmla="*/ 562186 h 1382"/>
              <a:gd name="T98" fmla="*/ 250127 w 1600"/>
              <a:gd name="T99" fmla="*/ 522561 h 1382"/>
              <a:gd name="T100" fmla="*/ 4953 w 1600"/>
              <a:gd name="T101" fmla="*/ 854424 h 1382"/>
              <a:gd name="T102" fmla="*/ 180785 w 1600"/>
              <a:gd name="T103" fmla="*/ 1151615 h 1382"/>
              <a:gd name="T104" fmla="*/ 245174 w 1600"/>
              <a:gd name="T105" fmla="*/ 1181334 h 1382"/>
              <a:gd name="T106" fmla="*/ 282321 w 1600"/>
              <a:gd name="T107" fmla="*/ 1141709 h 1382"/>
              <a:gd name="T108" fmla="*/ 299657 w 1600"/>
              <a:gd name="T109" fmla="*/ 1042645 h 1382"/>
              <a:gd name="T110" fmla="*/ 354140 w 1600"/>
              <a:gd name="T111" fmla="*/ 1015403 h 1382"/>
              <a:gd name="T112" fmla="*/ 460629 w 1600"/>
              <a:gd name="T113" fmla="*/ 1072364 h 1382"/>
              <a:gd name="T114" fmla="*/ 525018 w 1600"/>
              <a:gd name="T115" fmla="*/ 1173905 h 1382"/>
              <a:gd name="T116" fmla="*/ 529971 w 1600"/>
              <a:gd name="T117" fmla="*/ 1305164 h 1382"/>
              <a:gd name="T118" fmla="*/ 465582 w 1600"/>
              <a:gd name="T119" fmla="*/ 1342313 h 1382"/>
              <a:gd name="T120" fmla="*/ 381381 w 1600"/>
              <a:gd name="T121" fmla="*/ 1307641 h 1382"/>
              <a:gd name="T122" fmla="*/ 326898 w 1600"/>
              <a:gd name="T123" fmla="*/ 1322500 h 1382"/>
              <a:gd name="T124" fmla="*/ 497777 w 1600"/>
              <a:gd name="T125" fmla="*/ 1711325 h 138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00" h="1382">
                <a:moveTo>
                  <a:pt x="1200" y="2"/>
                </a:moveTo>
                <a:lnTo>
                  <a:pt x="912" y="2"/>
                </a:lnTo>
                <a:lnTo>
                  <a:pt x="908" y="4"/>
                </a:lnTo>
                <a:lnTo>
                  <a:pt x="906" y="4"/>
                </a:lnTo>
                <a:lnTo>
                  <a:pt x="894" y="8"/>
                </a:lnTo>
                <a:lnTo>
                  <a:pt x="892" y="10"/>
                </a:lnTo>
                <a:lnTo>
                  <a:pt x="890" y="10"/>
                </a:lnTo>
                <a:lnTo>
                  <a:pt x="886" y="12"/>
                </a:lnTo>
                <a:lnTo>
                  <a:pt x="884" y="14"/>
                </a:lnTo>
                <a:lnTo>
                  <a:pt x="882" y="14"/>
                </a:lnTo>
                <a:lnTo>
                  <a:pt x="880" y="16"/>
                </a:lnTo>
                <a:lnTo>
                  <a:pt x="876" y="18"/>
                </a:lnTo>
                <a:lnTo>
                  <a:pt x="874" y="18"/>
                </a:lnTo>
                <a:lnTo>
                  <a:pt x="870" y="22"/>
                </a:lnTo>
                <a:lnTo>
                  <a:pt x="866" y="26"/>
                </a:lnTo>
                <a:lnTo>
                  <a:pt x="864" y="26"/>
                </a:lnTo>
                <a:lnTo>
                  <a:pt x="862" y="28"/>
                </a:lnTo>
                <a:lnTo>
                  <a:pt x="862" y="30"/>
                </a:lnTo>
                <a:lnTo>
                  <a:pt x="860" y="32"/>
                </a:lnTo>
                <a:lnTo>
                  <a:pt x="858" y="34"/>
                </a:lnTo>
                <a:lnTo>
                  <a:pt x="856" y="36"/>
                </a:lnTo>
                <a:lnTo>
                  <a:pt x="856" y="38"/>
                </a:lnTo>
                <a:lnTo>
                  <a:pt x="856" y="40"/>
                </a:lnTo>
                <a:lnTo>
                  <a:pt x="854" y="42"/>
                </a:lnTo>
                <a:lnTo>
                  <a:pt x="854" y="46"/>
                </a:lnTo>
                <a:lnTo>
                  <a:pt x="854" y="52"/>
                </a:lnTo>
                <a:lnTo>
                  <a:pt x="854" y="54"/>
                </a:lnTo>
                <a:lnTo>
                  <a:pt x="856" y="58"/>
                </a:lnTo>
                <a:lnTo>
                  <a:pt x="856" y="60"/>
                </a:lnTo>
                <a:lnTo>
                  <a:pt x="856" y="64"/>
                </a:lnTo>
                <a:lnTo>
                  <a:pt x="858" y="70"/>
                </a:lnTo>
                <a:lnTo>
                  <a:pt x="862" y="76"/>
                </a:lnTo>
                <a:lnTo>
                  <a:pt x="866" y="82"/>
                </a:lnTo>
                <a:lnTo>
                  <a:pt x="878" y="92"/>
                </a:lnTo>
                <a:lnTo>
                  <a:pt x="890" y="100"/>
                </a:lnTo>
                <a:lnTo>
                  <a:pt x="904" y="108"/>
                </a:lnTo>
                <a:lnTo>
                  <a:pt x="906" y="110"/>
                </a:lnTo>
                <a:lnTo>
                  <a:pt x="908" y="110"/>
                </a:lnTo>
                <a:lnTo>
                  <a:pt x="912" y="114"/>
                </a:lnTo>
                <a:lnTo>
                  <a:pt x="914" y="114"/>
                </a:lnTo>
                <a:lnTo>
                  <a:pt x="918" y="118"/>
                </a:lnTo>
                <a:lnTo>
                  <a:pt x="920" y="120"/>
                </a:lnTo>
                <a:lnTo>
                  <a:pt x="924" y="124"/>
                </a:lnTo>
                <a:lnTo>
                  <a:pt x="928" y="130"/>
                </a:lnTo>
                <a:lnTo>
                  <a:pt x="930" y="138"/>
                </a:lnTo>
                <a:lnTo>
                  <a:pt x="932" y="138"/>
                </a:lnTo>
                <a:lnTo>
                  <a:pt x="934" y="146"/>
                </a:lnTo>
                <a:lnTo>
                  <a:pt x="934" y="148"/>
                </a:lnTo>
                <a:lnTo>
                  <a:pt x="934" y="156"/>
                </a:lnTo>
                <a:lnTo>
                  <a:pt x="934" y="168"/>
                </a:lnTo>
                <a:lnTo>
                  <a:pt x="930" y="178"/>
                </a:lnTo>
                <a:lnTo>
                  <a:pt x="926" y="188"/>
                </a:lnTo>
                <a:lnTo>
                  <a:pt x="918" y="196"/>
                </a:lnTo>
                <a:lnTo>
                  <a:pt x="910" y="204"/>
                </a:lnTo>
                <a:lnTo>
                  <a:pt x="902" y="210"/>
                </a:lnTo>
                <a:lnTo>
                  <a:pt x="880" y="222"/>
                </a:lnTo>
                <a:lnTo>
                  <a:pt x="856" y="230"/>
                </a:lnTo>
                <a:lnTo>
                  <a:pt x="832" y="236"/>
                </a:lnTo>
                <a:lnTo>
                  <a:pt x="810" y="240"/>
                </a:lnTo>
                <a:lnTo>
                  <a:pt x="790" y="240"/>
                </a:lnTo>
                <a:lnTo>
                  <a:pt x="770" y="240"/>
                </a:lnTo>
                <a:lnTo>
                  <a:pt x="748" y="236"/>
                </a:lnTo>
                <a:lnTo>
                  <a:pt x="724" y="230"/>
                </a:lnTo>
                <a:lnTo>
                  <a:pt x="700" y="222"/>
                </a:lnTo>
                <a:lnTo>
                  <a:pt x="680" y="210"/>
                </a:lnTo>
                <a:lnTo>
                  <a:pt x="670" y="204"/>
                </a:lnTo>
                <a:lnTo>
                  <a:pt x="662" y="196"/>
                </a:lnTo>
                <a:lnTo>
                  <a:pt x="656" y="188"/>
                </a:lnTo>
                <a:lnTo>
                  <a:pt x="650" y="178"/>
                </a:lnTo>
                <a:lnTo>
                  <a:pt x="648" y="168"/>
                </a:lnTo>
                <a:lnTo>
                  <a:pt x="646" y="156"/>
                </a:lnTo>
                <a:lnTo>
                  <a:pt x="648" y="148"/>
                </a:lnTo>
                <a:lnTo>
                  <a:pt x="648" y="146"/>
                </a:lnTo>
                <a:lnTo>
                  <a:pt x="650" y="138"/>
                </a:lnTo>
                <a:lnTo>
                  <a:pt x="652" y="130"/>
                </a:lnTo>
                <a:lnTo>
                  <a:pt x="656" y="124"/>
                </a:lnTo>
                <a:lnTo>
                  <a:pt x="660" y="120"/>
                </a:lnTo>
                <a:lnTo>
                  <a:pt x="662" y="118"/>
                </a:lnTo>
                <a:lnTo>
                  <a:pt x="666" y="114"/>
                </a:lnTo>
                <a:lnTo>
                  <a:pt x="668" y="114"/>
                </a:lnTo>
                <a:lnTo>
                  <a:pt x="672" y="110"/>
                </a:lnTo>
                <a:lnTo>
                  <a:pt x="674" y="110"/>
                </a:lnTo>
                <a:lnTo>
                  <a:pt x="676" y="108"/>
                </a:lnTo>
                <a:lnTo>
                  <a:pt x="690" y="100"/>
                </a:lnTo>
                <a:lnTo>
                  <a:pt x="702" y="92"/>
                </a:lnTo>
                <a:lnTo>
                  <a:pt x="714" y="82"/>
                </a:lnTo>
                <a:lnTo>
                  <a:pt x="718" y="76"/>
                </a:lnTo>
                <a:lnTo>
                  <a:pt x="722" y="70"/>
                </a:lnTo>
                <a:lnTo>
                  <a:pt x="724" y="64"/>
                </a:lnTo>
                <a:lnTo>
                  <a:pt x="724" y="60"/>
                </a:lnTo>
                <a:lnTo>
                  <a:pt x="726" y="58"/>
                </a:lnTo>
                <a:lnTo>
                  <a:pt x="726" y="54"/>
                </a:lnTo>
                <a:lnTo>
                  <a:pt x="726" y="52"/>
                </a:lnTo>
                <a:lnTo>
                  <a:pt x="726" y="46"/>
                </a:lnTo>
                <a:lnTo>
                  <a:pt x="726" y="42"/>
                </a:lnTo>
                <a:lnTo>
                  <a:pt x="726" y="40"/>
                </a:lnTo>
                <a:lnTo>
                  <a:pt x="724" y="38"/>
                </a:lnTo>
                <a:lnTo>
                  <a:pt x="724" y="36"/>
                </a:lnTo>
                <a:lnTo>
                  <a:pt x="722" y="34"/>
                </a:lnTo>
                <a:lnTo>
                  <a:pt x="722" y="32"/>
                </a:lnTo>
                <a:lnTo>
                  <a:pt x="720" y="30"/>
                </a:lnTo>
                <a:lnTo>
                  <a:pt x="718" y="28"/>
                </a:lnTo>
                <a:lnTo>
                  <a:pt x="716" y="26"/>
                </a:lnTo>
                <a:lnTo>
                  <a:pt x="714" y="26"/>
                </a:lnTo>
                <a:lnTo>
                  <a:pt x="710" y="22"/>
                </a:lnTo>
                <a:lnTo>
                  <a:pt x="706" y="18"/>
                </a:lnTo>
                <a:lnTo>
                  <a:pt x="704" y="18"/>
                </a:lnTo>
                <a:lnTo>
                  <a:pt x="702" y="16"/>
                </a:lnTo>
                <a:lnTo>
                  <a:pt x="700" y="14"/>
                </a:lnTo>
                <a:lnTo>
                  <a:pt x="696" y="14"/>
                </a:lnTo>
                <a:lnTo>
                  <a:pt x="694" y="12"/>
                </a:lnTo>
                <a:lnTo>
                  <a:pt x="692" y="10"/>
                </a:lnTo>
                <a:lnTo>
                  <a:pt x="688" y="10"/>
                </a:lnTo>
                <a:lnTo>
                  <a:pt x="686" y="8"/>
                </a:lnTo>
                <a:lnTo>
                  <a:pt x="674" y="4"/>
                </a:lnTo>
                <a:lnTo>
                  <a:pt x="668" y="2"/>
                </a:lnTo>
                <a:lnTo>
                  <a:pt x="402" y="2"/>
                </a:lnTo>
                <a:lnTo>
                  <a:pt x="264" y="238"/>
                </a:lnTo>
                <a:lnTo>
                  <a:pt x="260" y="260"/>
                </a:lnTo>
                <a:lnTo>
                  <a:pt x="260" y="282"/>
                </a:lnTo>
                <a:lnTo>
                  <a:pt x="260" y="292"/>
                </a:lnTo>
                <a:lnTo>
                  <a:pt x="262" y="300"/>
                </a:lnTo>
                <a:lnTo>
                  <a:pt x="268" y="308"/>
                </a:lnTo>
                <a:lnTo>
                  <a:pt x="274" y="314"/>
                </a:lnTo>
                <a:lnTo>
                  <a:pt x="284" y="318"/>
                </a:lnTo>
                <a:lnTo>
                  <a:pt x="294" y="322"/>
                </a:lnTo>
                <a:lnTo>
                  <a:pt x="302" y="322"/>
                </a:lnTo>
                <a:lnTo>
                  <a:pt x="312" y="322"/>
                </a:lnTo>
                <a:lnTo>
                  <a:pt x="326" y="316"/>
                </a:lnTo>
                <a:lnTo>
                  <a:pt x="342" y="308"/>
                </a:lnTo>
                <a:lnTo>
                  <a:pt x="356" y="298"/>
                </a:lnTo>
                <a:lnTo>
                  <a:pt x="372" y="292"/>
                </a:lnTo>
                <a:lnTo>
                  <a:pt x="380" y="292"/>
                </a:lnTo>
                <a:lnTo>
                  <a:pt x="388" y="292"/>
                </a:lnTo>
                <a:lnTo>
                  <a:pt x="398" y="294"/>
                </a:lnTo>
                <a:lnTo>
                  <a:pt x="408" y="300"/>
                </a:lnTo>
                <a:lnTo>
                  <a:pt x="418" y="306"/>
                </a:lnTo>
                <a:lnTo>
                  <a:pt x="424" y="314"/>
                </a:lnTo>
                <a:lnTo>
                  <a:pt x="430" y="322"/>
                </a:lnTo>
                <a:lnTo>
                  <a:pt x="434" y="332"/>
                </a:lnTo>
                <a:lnTo>
                  <a:pt x="438" y="344"/>
                </a:lnTo>
                <a:lnTo>
                  <a:pt x="438" y="354"/>
                </a:lnTo>
                <a:lnTo>
                  <a:pt x="438" y="380"/>
                </a:lnTo>
                <a:lnTo>
                  <a:pt x="434" y="404"/>
                </a:lnTo>
                <a:lnTo>
                  <a:pt x="426" y="428"/>
                </a:lnTo>
                <a:lnTo>
                  <a:pt x="418" y="448"/>
                </a:lnTo>
                <a:lnTo>
                  <a:pt x="410" y="466"/>
                </a:lnTo>
                <a:lnTo>
                  <a:pt x="398" y="482"/>
                </a:lnTo>
                <a:lnTo>
                  <a:pt x="384" y="500"/>
                </a:lnTo>
                <a:lnTo>
                  <a:pt x="368" y="518"/>
                </a:lnTo>
                <a:lnTo>
                  <a:pt x="348" y="534"/>
                </a:lnTo>
                <a:lnTo>
                  <a:pt x="328" y="548"/>
                </a:lnTo>
                <a:lnTo>
                  <a:pt x="318" y="552"/>
                </a:lnTo>
                <a:lnTo>
                  <a:pt x="306" y="554"/>
                </a:lnTo>
                <a:lnTo>
                  <a:pt x="296" y="556"/>
                </a:lnTo>
                <a:lnTo>
                  <a:pt x="284" y="556"/>
                </a:lnTo>
                <a:lnTo>
                  <a:pt x="274" y="554"/>
                </a:lnTo>
                <a:lnTo>
                  <a:pt x="264" y="548"/>
                </a:lnTo>
                <a:lnTo>
                  <a:pt x="256" y="542"/>
                </a:lnTo>
                <a:lnTo>
                  <a:pt x="248" y="534"/>
                </a:lnTo>
                <a:lnTo>
                  <a:pt x="244" y="528"/>
                </a:lnTo>
                <a:lnTo>
                  <a:pt x="240" y="520"/>
                </a:lnTo>
                <a:lnTo>
                  <a:pt x="238" y="504"/>
                </a:lnTo>
                <a:lnTo>
                  <a:pt x="238" y="486"/>
                </a:lnTo>
                <a:lnTo>
                  <a:pt x="238" y="470"/>
                </a:lnTo>
                <a:lnTo>
                  <a:pt x="234" y="454"/>
                </a:lnTo>
                <a:lnTo>
                  <a:pt x="232" y="446"/>
                </a:lnTo>
                <a:lnTo>
                  <a:pt x="226" y="438"/>
                </a:lnTo>
                <a:lnTo>
                  <a:pt x="218" y="430"/>
                </a:lnTo>
                <a:lnTo>
                  <a:pt x="210" y="424"/>
                </a:lnTo>
                <a:lnTo>
                  <a:pt x="202" y="422"/>
                </a:lnTo>
                <a:lnTo>
                  <a:pt x="194" y="422"/>
                </a:lnTo>
                <a:lnTo>
                  <a:pt x="184" y="424"/>
                </a:lnTo>
                <a:lnTo>
                  <a:pt x="174" y="428"/>
                </a:lnTo>
                <a:lnTo>
                  <a:pt x="156" y="440"/>
                </a:lnTo>
                <a:lnTo>
                  <a:pt x="140" y="454"/>
                </a:lnTo>
                <a:lnTo>
                  <a:pt x="4" y="690"/>
                </a:lnTo>
                <a:lnTo>
                  <a:pt x="0" y="690"/>
                </a:lnTo>
                <a:lnTo>
                  <a:pt x="2" y="694"/>
                </a:lnTo>
                <a:lnTo>
                  <a:pt x="4" y="694"/>
                </a:lnTo>
                <a:lnTo>
                  <a:pt x="132" y="918"/>
                </a:lnTo>
                <a:lnTo>
                  <a:pt x="146" y="930"/>
                </a:lnTo>
                <a:lnTo>
                  <a:pt x="160" y="942"/>
                </a:lnTo>
                <a:lnTo>
                  <a:pt x="176" y="950"/>
                </a:lnTo>
                <a:lnTo>
                  <a:pt x="184" y="954"/>
                </a:lnTo>
                <a:lnTo>
                  <a:pt x="192" y="954"/>
                </a:lnTo>
                <a:lnTo>
                  <a:pt x="198" y="954"/>
                </a:lnTo>
                <a:lnTo>
                  <a:pt x="202" y="952"/>
                </a:lnTo>
                <a:lnTo>
                  <a:pt x="212" y="944"/>
                </a:lnTo>
                <a:lnTo>
                  <a:pt x="220" y="938"/>
                </a:lnTo>
                <a:lnTo>
                  <a:pt x="224" y="930"/>
                </a:lnTo>
                <a:lnTo>
                  <a:pt x="228" y="922"/>
                </a:lnTo>
                <a:lnTo>
                  <a:pt x="230" y="906"/>
                </a:lnTo>
                <a:lnTo>
                  <a:pt x="230" y="890"/>
                </a:lnTo>
                <a:lnTo>
                  <a:pt x="230" y="872"/>
                </a:lnTo>
                <a:lnTo>
                  <a:pt x="234" y="856"/>
                </a:lnTo>
                <a:lnTo>
                  <a:pt x="236" y="848"/>
                </a:lnTo>
                <a:lnTo>
                  <a:pt x="242" y="842"/>
                </a:lnTo>
                <a:lnTo>
                  <a:pt x="248" y="834"/>
                </a:lnTo>
                <a:lnTo>
                  <a:pt x="258" y="828"/>
                </a:lnTo>
                <a:lnTo>
                  <a:pt x="272" y="822"/>
                </a:lnTo>
                <a:lnTo>
                  <a:pt x="286" y="820"/>
                </a:lnTo>
                <a:lnTo>
                  <a:pt x="296" y="820"/>
                </a:lnTo>
                <a:lnTo>
                  <a:pt x="304" y="822"/>
                </a:lnTo>
                <a:lnTo>
                  <a:pt x="322" y="828"/>
                </a:lnTo>
                <a:lnTo>
                  <a:pt x="340" y="838"/>
                </a:lnTo>
                <a:lnTo>
                  <a:pt x="358" y="852"/>
                </a:lnTo>
                <a:lnTo>
                  <a:pt x="372" y="866"/>
                </a:lnTo>
                <a:lnTo>
                  <a:pt x="386" y="882"/>
                </a:lnTo>
                <a:lnTo>
                  <a:pt x="398" y="896"/>
                </a:lnTo>
                <a:lnTo>
                  <a:pt x="406" y="910"/>
                </a:lnTo>
                <a:lnTo>
                  <a:pt x="414" y="928"/>
                </a:lnTo>
                <a:lnTo>
                  <a:pt x="424" y="948"/>
                </a:lnTo>
                <a:lnTo>
                  <a:pt x="430" y="972"/>
                </a:lnTo>
                <a:lnTo>
                  <a:pt x="434" y="996"/>
                </a:lnTo>
                <a:lnTo>
                  <a:pt x="436" y="1022"/>
                </a:lnTo>
                <a:lnTo>
                  <a:pt x="434" y="1032"/>
                </a:lnTo>
                <a:lnTo>
                  <a:pt x="432" y="1044"/>
                </a:lnTo>
                <a:lnTo>
                  <a:pt x="428" y="1054"/>
                </a:lnTo>
                <a:lnTo>
                  <a:pt x="422" y="1062"/>
                </a:lnTo>
                <a:lnTo>
                  <a:pt x="414" y="1070"/>
                </a:lnTo>
                <a:lnTo>
                  <a:pt x="404" y="1076"/>
                </a:lnTo>
                <a:lnTo>
                  <a:pt x="390" y="1082"/>
                </a:lnTo>
                <a:lnTo>
                  <a:pt x="376" y="1084"/>
                </a:lnTo>
                <a:lnTo>
                  <a:pt x="366" y="1084"/>
                </a:lnTo>
                <a:lnTo>
                  <a:pt x="354" y="1080"/>
                </a:lnTo>
                <a:lnTo>
                  <a:pt x="336" y="1070"/>
                </a:lnTo>
                <a:lnTo>
                  <a:pt x="318" y="1060"/>
                </a:lnTo>
                <a:lnTo>
                  <a:pt x="308" y="1056"/>
                </a:lnTo>
                <a:lnTo>
                  <a:pt x="296" y="1054"/>
                </a:lnTo>
                <a:lnTo>
                  <a:pt x="284" y="1056"/>
                </a:lnTo>
                <a:lnTo>
                  <a:pt x="270" y="1062"/>
                </a:lnTo>
                <a:lnTo>
                  <a:pt x="264" y="1068"/>
                </a:lnTo>
                <a:lnTo>
                  <a:pt x="258" y="1076"/>
                </a:lnTo>
                <a:lnTo>
                  <a:pt x="256" y="1086"/>
                </a:lnTo>
                <a:lnTo>
                  <a:pt x="256" y="1096"/>
                </a:lnTo>
                <a:lnTo>
                  <a:pt x="258" y="1120"/>
                </a:lnTo>
                <a:lnTo>
                  <a:pt x="262" y="1142"/>
                </a:lnTo>
                <a:lnTo>
                  <a:pt x="402" y="1382"/>
                </a:lnTo>
                <a:lnTo>
                  <a:pt x="1200" y="1382"/>
                </a:lnTo>
                <a:lnTo>
                  <a:pt x="1600" y="690"/>
                </a:lnTo>
                <a:lnTo>
                  <a:pt x="1200" y="0"/>
                </a:lnTo>
                <a:lnTo>
                  <a:pt x="1200" y="2"/>
                </a:lnTo>
                <a:close/>
              </a:path>
            </a:pathLst>
          </a:custGeom>
          <a:solidFill>
            <a:srgbClr val="B4B4B7"/>
          </a:solidFill>
          <a:ln w="38100" cap="flat" cmpd="sng">
            <a:solidFill>
              <a:srgbClr val="B4B4B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079" name="Freeform 7"/>
          <p:cNvSpPr>
            <a:spLocks/>
          </p:cNvSpPr>
          <p:nvPr/>
        </p:nvSpPr>
        <p:spPr bwMode="auto">
          <a:xfrm>
            <a:off x="3375638" y="834399"/>
            <a:ext cx="2519679" cy="1799839"/>
          </a:xfrm>
          <a:custGeom>
            <a:avLst/>
            <a:gdLst>
              <a:gd name="T0" fmla="*/ 245350 w 1636"/>
              <a:gd name="T1" fmla="*/ 1122809 h 1386"/>
              <a:gd name="T2" fmla="*/ 265176 w 1636"/>
              <a:gd name="T3" fmla="*/ 1075716 h 1386"/>
              <a:gd name="T4" fmla="*/ 265176 w 1636"/>
              <a:gd name="T5" fmla="*/ 1033579 h 1386"/>
              <a:gd name="T6" fmla="*/ 287481 w 1636"/>
              <a:gd name="T7" fmla="*/ 991443 h 1386"/>
              <a:gd name="T8" fmla="*/ 322177 w 1636"/>
              <a:gd name="T9" fmla="*/ 974093 h 1386"/>
              <a:gd name="T10" fmla="*/ 374221 w 1636"/>
              <a:gd name="T11" fmla="*/ 984007 h 1386"/>
              <a:gd name="T12" fmla="*/ 463439 w 1636"/>
              <a:gd name="T13" fmla="*/ 1065801 h 1386"/>
              <a:gd name="T14" fmla="*/ 503092 w 1636"/>
              <a:gd name="T15" fmla="*/ 1145117 h 1386"/>
              <a:gd name="T16" fmla="*/ 513005 w 1636"/>
              <a:gd name="T17" fmla="*/ 1216996 h 1386"/>
              <a:gd name="T18" fmla="*/ 500614 w 1636"/>
              <a:gd name="T19" fmla="*/ 1278961 h 1386"/>
              <a:gd name="T20" fmla="*/ 475831 w 1636"/>
              <a:gd name="T21" fmla="*/ 1301269 h 1386"/>
              <a:gd name="T22" fmla="*/ 428743 w 1636"/>
              <a:gd name="T23" fmla="*/ 1311183 h 1386"/>
              <a:gd name="T24" fmla="*/ 354395 w 1636"/>
              <a:gd name="T25" fmla="*/ 1274004 h 1386"/>
              <a:gd name="T26" fmla="*/ 307307 w 1636"/>
              <a:gd name="T27" fmla="*/ 1283919 h 1386"/>
              <a:gd name="T28" fmla="*/ 292438 w 1636"/>
              <a:gd name="T29" fmla="*/ 1311183 h 1386"/>
              <a:gd name="T30" fmla="*/ 297394 w 1636"/>
              <a:gd name="T31" fmla="*/ 1365713 h 1386"/>
              <a:gd name="T32" fmla="*/ 495657 w 1636"/>
              <a:gd name="T33" fmla="*/ 1712718 h 1386"/>
              <a:gd name="T34" fmla="*/ 822791 w 1636"/>
              <a:gd name="T35" fmla="*/ 1717675 h 1386"/>
              <a:gd name="T36" fmla="*/ 899617 w 1636"/>
              <a:gd name="T37" fmla="*/ 1680496 h 1386"/>
              <a:gd name="T38" fmla="*/ 909531 w 1636"/>
              <a:gd name="T39" fmla="*/ 1643317 h 1386"/>
              <a:gd name="T40" fmla="*/ 879791 w 1636"/>
              <a:gd name="T41" fmla="*/ 1598702 h 1386"/>
              <a:gd name="T42" fmla="*/ 820312 w 1636"/>
              <a:gd name="T43" fmla="*/ 1556566 h 1386"/>
              <a:gd name="T44" fmla="*/ 810399 w 1636"/>
              <a:gd name="T45" fmla="*/ 1521865 h 1386"/>
              <a:gd name="T46" fmla="*/ 830225 w 1636"/>
              <a:gd name="T47" fmla="*/ 1472293 h 1386"/>
              <a:gd name="T48" fmla="*/ 907052 w 1636"/>
              <a:gd name="T49" fmla="*/ 1430157 h 1386"/>
              <a:gd name="T50" fmla="*/ 988836 w 1636"/>
              <a:gd name="T51" fmla="*/ 1417763 h 1386"/>
              <a:gd name="T52" fmla="*/ 1100358 w 1636"/>
              <a:gd name="T53" fmla="*/ 1440071 h 1386"/>
              <a:gd name="T54" fmla="*/ 1157359 w 1636"/>
              <a:gd name="T55" fmla="*/ 1484686 h 1386"/>
              <a:gd name="T56" fmla="*/ 1167272 w 1636"/>
              <a:gd name="T57" fmla="*/ 1521865 h 1386"/>
              <a:gd name="T58" fmla="*/ 1152402 w 1636"/>
              <a:gd name="T59" fmla="*/ 1566480 h 1386"/>
              <a:gd name="T60" fmla="*/ 1083010 w 1636"/>
              <a:gd name="T61" fmla="*/ 1613573 h 1386"/>
              <a:gd name="T62" fmla="*/ 1068141 w 1636"/>
              <a:gd name="T63" fmla="*/ 1658188 h 1386"/>
              <a:gd name="T64" fmla="*/ 1087967 w 1636"/>
              <a:gd name="T65" fmla="*/ 1687932 h 1386"/>
              <a:gd name="T66" fmla="*/ 1479536 w 1636"/>
              <a:gd name="T67" fmla="*/ 1717675 h 1386"/>
              <a:gd name="T68" fmla="*/ 1489449 w 1636"/>
              <a:gd name="T69" fmla="*/ 1707761 h 1386"/>
              <a:gd name="T70" fmla="*/ 1660451 w 1636"/>
              <a:gd name="T71" fmla="*/ 1410328 h 1386"/>
              <a:gd name="T72" fmla="*/ 1727365 w 1636"/>
              <a:gd name="T73" fmla="*/ 1368191 h 1386"/>
              <a:gd name="T74" fmla="*/ 1759582 w 1636"/>
              <a:gd name="T75" fmla="*/ 1380584 h 1386"/>
              <a:gd name="T76" fmla="*/ 1781887 w 1636"/>
              <a:gd name="T77" fmla="*/ 1427678 h 1386"/>
              <a:gd name="T78" fmla="*/ 1789322 w 1636"/>
              <a:gd name="T79" fmla="*/ 1499558 h 1386"/>
              <a:gd name="T80" fmla="*/ 1816583 w 1636"/>
              <a:gd name="T81" fmla="*/ 1526822 h 1386"/>
              <a:gd name="T82" fmla="*/ 1866148 w 1636"/>
              <a:gd name="T83" fmla="*/ 1534258 h 1386"/>
              <a:gd name="T84" fmla="*/ 1942975 w 1636"/>
              <a:gd name="T85" fmla="*/ 1489643 h 1386"/>
              <a:gd name="T86" fmla="*/ 1995019 w 1636"/>
              <a:gd name="T87" fmla="*/ 1425199 h 1386"/>
              <a:gd name="T88" fmla="*/ 2022280 w 1636"/>
              <a:gd name="T89" fmla="*/ 1355798 h 1386"/>
              <a:gd name="T90" fmla="*/ 2024759 w 1636"/>
              <a:gd name="T91" fmla="*/ 1271526 h 1386"/>
              <a:gd name="T92" fmla="*/ 1990063 w 1636"/>
              <a:gd name="T93" fmla="*/ 1226911 h 1386"/>
              <a:gd name="T94" fmla="*/ 1945454 w 1636"/>
              <a:gd name="T95" fmla="*/ 1219475 h 1386"/>
              <a:gd name="T96" fmla="*/ 1871105 w 1636"/>
              <a:gd name="T97" fmla="*/ 1254175 h 1386"/>
              <a:gd name="T98" fmla="*/ 1824018 w 1636"/>
              <a:gd name="T99" fmla="*/ 1244261 h 1386"/>
              <a:gd name="T100" fmla="*/ 1806670 w 1636"/>
              <a:gd name="T101" fmla="*/ 1216996 h 1386"/>
              <a:gd name="T102" fmla="*/ 1814105 w 1636"/>
              <a:gd name="T103" fmla="*/ 1147595 h 1386"/>
              <a:gd name="T104" fmla="*/ 1960323 w 1636"/>
              <a:gd name="T105" fmla="*/ 827855 h 1386"/>
              <a:gd name="T106" fmla="*/ 399004 w 1636"/>
              <a:gd name="T107" fmla="*/ 163588 h 1386"/>
              <a:gd name="T108" fmla="*/ 163567 w 1636"/>
              <a:gd name="T109" fmla="*/ 1117852 h 1386"/>
              <a:gd name="T110" fmla="*/ 218089 w 1636"/>
              <a:gd name="T111" fmla="*/ 1140159 h 138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36" h="1386">
                <a:moveTo>
                  <a:pt x="184" y="918"/>
                </a:moveTo>
                <a:lnTo>
                  <a:pt x="184" y="918"/>
                </a:lnTo>
                <a:lnTo>
                  <a:pt x="192" y="912"/>
                </a:lnTo>
                <a:lnTo>
                  <a:pt x="198" y="906"/>
                </a:lnTo>
                <a:lnTo>
                  <a:pt x="204" y="900"/>
                </a:lnTo>
                <a:lnTo>
                  <a:pt x="208" y="894"/>
                </a:lnTo>
                <a:lnTo>
                  <a:pt x="212" y="882"/>
                </a:lnTo>
                <a:lnTo>
                  <a:pt x="214" y="868"/>
                </a:lnTo>
                <a:lnTo>
                  <a:pt x="212" y="850"/>
                </a:lnTo>
                <a:lnTo>
                  <a:pt x="214" y="834"/>
                </a:lnTo>
                <a:lnTo>
                  <a:pt x="216" y="820"/>
                </a:lnTo>
                <a:lnTo>
                  <a:pt x="220" y="812"/>
                </a:lnTo>
                <a:lnTo>
                  <a:pt x="224" y="806"/>
                </a:lnTo>
                <a:lnTo>
                  <a:pt x="232" y="800"/>
                </a:lnTo>
                <a:lnTo>
                  <a:pt x="240" y="794"/>
                </a:lnTo>
                <a:lnTo>
                  <a:pt x="250" y="788"/>
                </a:lnTo>
                <a:lnTo>
                  <a:pt x="260" y="786"/>
                </a:lnTo>
                <a:lnTo>
                  <a:pt x="270" y="786"/>
                </a:lnTo>
                <a:lnTo>
                  <a:pt x="282" y="786"/>
                </a:lnTo>
                <a:lnTo>
                  <a:pt x="292" y="790"/>
                </a:lnTo>
                <a:lnTo>
                  <a:pt x="302" y="794"/>
                </a:lnTo>
                <a:lnTo>
                  <a:pt x="324" y="808"/>
                </a:lnTo>
                <a:lnTo>
                  <a:pt x="344" y="824"/>
                </a:lnTo>
                <a:lnTo>
                  <a:pt x="360" y="842"/>
                </a:lnTo>
                <a:lnTo>
                  <a:pt x="374" y="860"/>
                </a:lnTo>
                <a:lnTo>
                  <a:pt x="384" y="876"/>
                </a:lnTo>
                <a:lnTo>
                  <a:pt x="396" y="898"/>
                </a:lnTo>
                <a:lnTo>
                  <a:pt x="406" y="924"/>
                </a:lnTo>
                <a:lnTo>
                  <a:pt x="412" y="954"/>
                </a:lnTo>
                <a:lnTo>
                  <a:pt x="414" y="968"/>
                </a:lnTo>
                <a:lnTo>
                  <a:pt x="414" y="982"/>
                </a:lnTo>
                <a:lnTo>
                  <a:pt x="414" y="1004"/>
                </a:lnTo>
                <a:lnTo>
                  <a:pt x="412" y="1014"/>
                </a:lnTo>
                <a:lnTo>
                  <a:pt x="408" y="1022"/>
                </a:lnTo>
                <a:lnTo>
                  <a:pt x="404" y="1032"/>
                </a:lnTo>
                <a:lnTo>
                  <a:pt x="398" y="1038"/>
                </a:lnTo>
                <a:lnTo>
                  <a:pt x="392" y="1046"/>
                </a:lnTo>
                <a:lnTo>
                  <a:pt x="384" y="1050"/>
                </a:lnTo>
                <a:lnTo>
                  <a:pt x="374" y="1056"/>
                </a:lnTo>
                <a:lnTo>
                  <a:pt x="364" y="1058"/>
                </a:lnTo>
                <a:lnTo>
                  <a:pt x="354" y="1058"/>
                </a:lnTo>
                <a:lnTo>
                  <a:pt x="346" y="1058"/>
                </a:lnTo>
                <a:lnTo>
                  <a:pt x="330" y="1052"/>
                </a:lnTo>
                <a:lnTo>
                  <a:pt x="316" y="1042"/>
                </a:lnTo>
                <a:lnTo>
                  <a:pt x="302" y="1034"/>
                </a:lnTo>
                <a:lnTo>
                  <a:pt x="286" y="1028"/>
                </a:lnTo>
                <a:lnTo>
                  <a:pt x="278" y="1028"/>
                </a:lnTo>
                <a:lnTo>
                  <a:pt x="268" y="1028"/>
                </a:lnTo>
                <a:lnTo>
                  <a:pt x="258" y="1032"/>
                </a:lnTo>
                <a:lnTo>
                  <a:pt x="248" y="1036"/>
                </a:lnTo>
                <a:lnTo>
                  <a:pt x="242" y="1042"/>
                </a:lnTo>
                <a:lnTo>
                  <a:pt x="238" y="1048"/>
                </a:lnTo>
                <a:lnTo>
                  <a:pt x="236" y="1058"/>
                </a:lnTo>
                <a:lnTo>
                  <a:pt x="234" y="1068"/>
                </a:lnTo>
                <a:lnTo>
                  <a:pt x="236" y="1086"/>
                </a:lnTo>
                <a:lnTo>
                  <a:pt x="240" y="1102"/>
                </a:lnTo>
                <a:lnTo>
                  <a:pt x="398" y="1378"/>
                </a:lnTo>
                <a:lnTo>
                  <a:pt x="402" y="1378"/>
                </a:lnTo>
                <a:lnTo>
                  <a:pt x="402" y="1380"/>
                </a:lnTo>
                <a:lnTo>
                  <a:pt x="400" y="1382"/>
                </a:lnTo>
                <a:lnTo>
                  <a:pt x="402" y="1386"/>
                </a:lnTo>
                <a:lnTo>
                  <a:pt x="664" y="1386"/>
                </a:lnTo>
                <a:lnTo>
                  <a:pt x="686" y="1380"/>
                </a:lnTo>
                <a:lnTo>
                  <a:pt x="708" y="1368"/>
                </a:lnTo>
                <a:lnTo>
                  <a:pt x="718" y="1362"/>
                </a:lnTo>
                <a:lnTo>
                  <a:pt x="726" y="1356"/>
                </a:lnTo>
                <a:lnTo>
                  <a:pt x="732" y="1346"/>
                </a:lnTo>
                <a:lnTo>
                  <a:pt x="734" y="1338"/>
                </a:lnTo>
                <a:lnTo>
                  <a:pt x="734" y="1326"/>
                </a:lnTo>
                <a:lnTo>
                  <a:pt x="730" y="1316"/>
                </a:lnTo>
                <a:lnTo>
                  <a:pt x="728" y="1308"/>
                </a:lnTo>
                <a:lnTo>
                  <a:pt x="722" y="1302"/>
                </a:lnTo>
                <a:lnTo>
                  <a:pt x="710" y="1290"/>
                </a:lnTo>
                <a:lnTo>
                  <a:pt x="694" y="1282"/>
                </a:lnTo>
                <a:lnTo>
                  <a:pt x="680" y="1274"/>
                </a:lnTo>
                <a:lnTo>
                  <a:pt x="668" y="1264"/>
                </a:lnTo>
                <a:lnTo>
                  <a:pt x="662" y="1256"/>
                </a:lnTo>
                <a:lnTo>
                  <a:pt x="658" y="1248"/>
                </a:lnTo>
                <a:lnTo>
                  <a:pt x="656" y="1240"/>
                </a:lnTo>
                <a:lnTo>
                  <a:pt x="654" y="1228"/>
                </a:lnTo>
                <a:lnTo>
                  <a:pt x="656" y="1216"/>
                </a:lnTo>
                <a:lnTo>
                  <a:pt x="658" y="1206"/>
                </a:lnTo>
                <a:lnTo>
                  <a:pt x="664" y="1198"/>
                </a:lnTo>
                <a:lnTo>
                  <a:pt x="670" y="1188"/>
                </a:lnTo>
                <a:lnTo>
                  <a:pt x="678" y="1180"/>
                </a:lnTo>
                <a:lnTo>
                  <a:pt x="688" y="1174"/>
                </a:lnTo>
                <a:lnTo>
                  <a:pt x="708" y="1162"/>
                </a:lnTo>
                <a:lnTo>
                  <a:pt x="732" y="1154"/>
                </a:lnTo>
                <a:lnTo>
                  <a:pt x="756" y="1148"/>
                </a:lnTo>
                <a:lnTo>
                  <a:pt x="780" y="1144"/>
                </a:lnTo>
                <a:lnTo>
                  <a:pt x="798" y="1144"/>
                </a:lnTo>
                <a:lnTo>
                  <a:pt x="818" y="1144"/>
                </a:lnTo>
                <a:lnTo>
                  <a:pt x="840" y="1148"/>
                </a:lnTo>
                <a:lnTo>
                  <a:pt x="864" y="1154"/>
                </a:lnTo>
                <a:lnTo>
                  <a:pt x="888" y="1162"/>
                </a:lnTo>
                <a:lnTo>
                  <a:pt x="910" y="1174"/>
                </a:lnTo>
                <a:lnTo>
                  <a:pt x="918" y="1180"/>
                </a:lnTo>
                <a:lnTo>
                  <a:pt x="926" y="1188"/>
                </a:lnTo>
                <a:lnTo>
                  <a:pt x="934" y="1198"/>
                </a:lnTo>
                <a:lnTo>
                  <a:pt x="938" y="1206"/>
                </a:lnTo>
                <a:lnTo>
                  <a:pt x="942" y="1216"/>
                </a:lnTo>
                <a:lnTo>
                  <a:pt x="942" y="1228"/>
                </a:lnTo>
                <a:lnTo>
                  <a:pt x="942" y="1240"/>
                </a:lnTo>
                <a:lnTo>
                  <a:pt x="938" y="1248"/>
                </a:lnTo>
                <a:lnTo>
                  <a:pt x="934" y="1256"/>
                </a:lnTo>
                <a:lnTo>
                  <a:pt x="930" y="1264"/>
                </a:lnTo>
                <a:lnTo>
                  <a:pt x="916" y="1274"/>
                </a:lnTo>
                <a:lnTo>
                  <a:pt x="902" y="1282"/>
                </a:lnTo>
                <a:lnTo>
                  <a:pt x="888" y="1290"/>
                </a:lnTo>
                <a:lnTo>
                  <a:pt x="874" y="1302"/>
                </a:lnTo>
                <a:lnTo>
                  <a:pt x="870" y="1308"/>
                </a:lnTo>
                <a:lnTo>
                  <a:pt x="866" y="1316"/>
                </a:lnTo>
                <a:lnTo>
                  <a:pt x="864" y="1326"/>
                </a:lnTo>
                <a:lnTo>
                  <a:pt x="862" y="1338"/>
                </a:lnTo>
                <a:lnTo>
                  <a:pt x="864" y="1346"/>
                </a:lnTo>
                <a:lnTo>
                  <a:pt x="870" y="1356"/>
                </a:lnTo>
                <a:lnTo>
                  <a:pt x="878" y="1362"/>
                </a:lnTo>
                <a:lnTo>
                  <a:pt x="888" y="1368"/>
                </a:lnTo>
                <a:lnTo>
                  <a:pt x="912" y="1380"/>
                </a:lnTo>
                <a:lnTo>
                  <a:pt x="934" y="1386"/>
                </a:lnTo>
                <a:lnTo>
                  <a:pt x="1194" y="1386"/>
                </a:lnTo>
                <a:lnTo>
                  <a:pt x="1198" y="1380"/>
                </a:lnTo>
                <a:lnTo>
                  <a:pt x="1198" y="1378"/>
                </a:lnTo>
                <a:lnTo>
                  <a:pt x="1202" y="1378"/>
                </a:lnTo>
                <a:lnTo>
                  <a:pt x="1204" y="1372"/>
                </a:lnTo>
                <a:lnTo>
                  <a:pt x="1240" y="1310"/>
                </a:lnTo>
                <a:lnTo>
                  <a:pt x="1340" y="1138"/>
                </a:lnTo>
                <a:lnTo>
                  <a:pt x="1356" y="1124"/>
                </a:lnTo>
                <a:lnTo>
                  <a:pt x="1376" y="1112"/>
                </a:lnTo>
                <a:lnTo>
                  <a:pt x="1384" y="1108"/>
                </a:lnTo>
                <a:lnTo>
                  <a:pt x="1394" y="1104"/>
                </a:lnTo>
                <a:lnTo>
                  <a:pt x="1402" y="1104"/>
                </a:lnTo>
                <a:lnTo>
                  <a:pt x="1410" y="1108"/>
                </a:lnTo>
                <a:lnTo>
                  <a:pt x="1420" y="1114"/>
                </a:lnTo>
                <a:lnTo>
                  <a:pt x="1426" y="1122"/>
                </a:lnTo>
                <a:lnTo>
                  <a:pt x="1432" y="1128"/>
                </a:lnTo>
                <a:lnTo>
                  <a:pt x="1436" y="1136"/>
                </a:lnTo>
                <a:lnTo>
                  <a:pt x="1438" y="1152"/>
                </a:lnTo>
                <a:lnTo>
                  <a:pt x="1438" y="1170"/>
                </a:lnTo>
                <a:lnTo>
                  <a:pt x="1438" y="1186"/>
                </a:lnTo>
                <a:lnTo>
                  <a:pt x="1440" y="1202"/>
                </a:lnTo>
                <a:lnTo>
                  <a:pt x="1444" y="1210"/>
                </a:lnTo>
                <a:lnTo>
                  <a:pt x="1448" y="1218"/>
                </a:lnTo>
                <a:lnTo>
                  <a:pt x="1456" y="1226"/>
                </a:lnTo>
                <a:lnTo>
                  <a:pt x="1466" y="1232"/>
                </a:lnTo>
                <a:lnTo>
                  <a:pt x="1476" y="1236"/>
                </a:lnTo>
                <a:lnTo>
                  <a:pt x="1486" y="1240"/>
                </a:lnTo>
                <a:lnTo>
                  <a:pt x="1496" y="1240"/>
                </a:lnTo>
                <a:lnTo>
                  <a:pt x="1506" y="1238"/>
                </a:lnTo>
                <a:lnTo>
                  <a:pt x="1518" y="1234"/>
                </a:lnTo>
                <a:lnTo>
                  <a:pt x="1528" y="1230"/>
                </a:lnTo>
                <a:lnTo>
                  <a:pt x="1550" y="1218"/>
                </a:lnTo>
                <a:lnTo>
                  <a:pt x="1568" y="1202"/>
                </a:lnTo>
                <a:lnTo>
                  <a:pt x="1586" y="1184"/>
                </a:lnTo>
                <a:lnTo>
                  <a:pt x="1600" y="1166"/>
                </a:lnTo>
                <a:lnTo>
                  <a:pt x="1610" y="1150"/>
                </a:lnTo>
                <a:lnTo>
                  <a:pt x="1618" y="1132"/>
                </a:lnTo>
                <a:lnTo>
                  <a:pt x="1628" y="1112"/>
                </a:lnTo>
                <a:lnTo>
                  <a:pt x="1632" y="1094"/>
                </a:lnTo>
                <a:lnTo>
                  <a:pt x="1636" y="1076"/>
                </a:lnTo>
                <a:lnTo>
                  <a:pt x="1636" y="1060"/>
                </a:lnTo>
                <a:lnTo>
                  <a:pt x="1636" y="1042"/>
                </a:lnTo>
                <a:lnTo>
                  <a:pt x="1634" y="1026"/>
                </a:lnTo>
                <a:lnTo>
                  <a:pt x="1628" y="1012"/>
                </a:lnTo>
                <a:lnTo>
                  <a:pt x="1618" y="1000"/>
                </a:lnTo>
                <a:lnTo>
                  <a:pt x="1606" y="990"/>
                </a:lnTo>
                <a:lnTo>
                  <a:pt x="1596" y="986"/>
                </a:lnTo>
                <a:lnTo>
                  <a:pt x="1586" y="984"/>
                </a:lnTo>
                <a:lnTo>
                  <a:pt x="1578" y="982"/>
                </a:lnTo>
                <a:lnTo>
                  <a:pt x="1570" y="984"/>
                </a:lnTo>
                <a:lnTo>
                  <a:pt x="1554" y="990"/>
                </a:lnTo>
                <a:lnTo>
                  <a:pt x="1540" y="998"/>
                </a:lnTo>
                <a:lnTo>
                  <a:pt x="1524" y="1006"/>
                </a:lnTo>
                <a:lnTo>
                  <a:pt x="1510" y="1012"/>
                </a:lnTo>
                <a:lnTo>
                  <a:pt x="1500" y="1014"/>
                </a:lnTo>
                <a:lnTo>
                  <a:pt x="1492" y="1012"/>
                </a:lnTo>
                <a:lnTo>
                  <a:pt x="1482" y="1010"/>
                </a:lnTo>
                <a:lnTo>
                  <a:pt x="1472" y="1004"/>
                </a:lnTo>
                <a:lnTo>
                  <a:pt x="1464" y="1000"/>
                </a:lnTo>
                <a:lnTo>
                  <a:pt x="1460" y="992"/>
                </a:lnTo>
                <a:lnTo>
                  <a:pt x="1458" y="982"/>
                </a:lnTo>
                <a:lnTo>
                  <a:pt x="1458" y="972"/>
                </a:lnTo>
                <a:lnTo>
                  <a:pt x="1458" y="950"/>
                </a:lnTo>
                <a:lnTo>
                  <a:pt x="1462" y="928"/>
                </a:lnTo>
                <a:lnTo>
                  <a:pt x="1464" y="926"/>
                </a:lnTo>
                <a:lnTo>
                  <a:pt x="1466" y="920"/>
                </a:lnTo>
                <a:lnTo>
                  <a:pt x="1598" y="692"/>
                </a:lnTo>
                <a:lnTo>
                  <a:pt x="1582" y="668"/>
                </a:lnTo>
                <a:lnTo>
                  <a:pt x="1584" y="668"/>
                </a:lnTo>
                <a:lnTo>
                  <a:pt x="1198" y="0"/>
                </a:lnTo>
                <a:lnTo>
                  <a:pt x="398" y="0"/>
                </a:lnTo>
                <a:lnTo>
                  <a:pt x="322" y="132"/>
                </a:lnTo>
                <a:lnTo>
                  <a:pt x="0" y="690"/>
                </a:lnTo>
                <a:lnTo>
                  <a:pt x="116" y="888"/>
                </a:lnTo>
                <a:lnTo>
                  <a:pt x="132" y="902"/>
                </a:lnTo>
                <a:lnTo>
                  <a:pt x="150" y="914"/>
                </a:lnTo>
                <a:lnTo>
                  <a:pt x="160" y="918"/>
                </a:lnTo>
                <a:lnTo>
                  <a:pt x="168" y="920"/>
                </a:lnTo>
                <a:lnTo>
                  <a:pt x="176" y="920"/>
                </a:lnTo>
                <a:lnTo>
                  <a:pt x="184" y="918"/>
                </a:lnTo>
                <a:close/>
              </a:path>
            </a:pathLst>
          </a:custGeom>
          <a:solidFill>
            <a:srgbClr val="179A9D"/>
          </a:solidFill>
          <a:ln w="38100" cap="flat" cmpd="sng">
            <a:solidFill>
              <a:srgbClr val="179A9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080" name="Freeform 8"/>
          <p:cNvSpPr>
            <a:spLocks/>
          </p:cNvSpPr>
          <p:nvPr/>
        </p:nvSpPr>
        <p:spPr bwMode="auto">
          <a:xfrm>
            <a:off x="5254903" y="1734865"/>
            <a:ext cx="2462458" cy="2107574"/>
          </a:xfrm>
          <a:custGeom>
            <a:avLst/>
            <a:gdLst>
              <a:gd name="T0" fmla="*/ 324422 w 1600"/>
              <a:gd name="T1" fmla="*/ 322016 h 1624"/>
              <a:gd name="T2" fmla="*/ 354140 w 1600"/>
              <a:gd name="T3" fmla="*/ 391373 h 1624"/>
              <a:gd name="T4" fmla="*/ 463106 w 1600"/>
              <a:gd name="T5" fmla="*/ 359172 h 1624"/>
              <a:gd name="T6" fmla="*/ 525018 w 1600"/>
              <a:gd name="T7" fmla="*/ 378988 h 1624"/>
              <a:gd name="T8" fmla="*/ 532448 w 1600"/>
              <a:gd name="T9" fmla="*/ 527611 h 1624"/>
              <a:gd name="T10" fmla="*/ 455676 w 1600"/>
              <a:gd name="T11" fmla="*/ 648986 h 1624"/>
              <a:gd name="T12" fmla="*/ 339281 w 1600"/>
              <a:gd name="T13" fmla="*/ 691096 h 1624"/>
              <a:gd name="T14" fmla="*/ 294704 w 1600"/>
              <a:gd name="T15" fmla="*/ 629170 h 1624"/>
              <a:gd name="T16" fmla="*/ 260033 w 1600"/>
              <a:gd name="T17" fmla="*/ 532565 h 1624"/>
              <a:gd name="T18" fmla="*/ 173355 w 1600"/>
              <a:gd name="T19" fmla="*/ 569721 h 1624"/>
              <a:gd name="T20" fmla="*/ 173355 w 1600"/>
              <a:gd name="T21" fmla="*/ 1156781 h 1624"/>
              <a:gd name="T22" fmla="*/ 264986 w 1600"/>
              <a:gd name="T23" fmla="*/ 1198891 h 1624"/>
              <a:gd name="T24" fmla="*/ 299657 w 1600"/>
              <a:gd name="T25" fmla="*/ 1122102 h 1624"/>
              <a:gd name="T26" fmla="*/ 331851 w 1600"/>
              <a:gd name="T27" fmla="*/ 1045314 h 1624"/>
              <a:gd name="T28" fmla="*/ 435864 w 1600"/>
              <a:gd name="T29" fmla="*/ 1062653 h 1624"/>
              <a:gd name="T30" fmla="*/ 534924 w 1600"/>
              <a:gd name="T31" fmla="*/ 1193937 h 1624"/>
              <a:gd name="T32" fmla="*/ 532448 w 1600"/>
              <a:gd name="T33" fmla="*/ 1335128 h 1624"/>
              <a:gd name="T34" fmla="*/ 465582 w 1600"/>
              <a:gd name="T35" fmla="*/ 1362376 h 1624"/>
              <a:gd name="T36" fmla="*/ 356616 w 1600"/>
              <a:gd name="T37" fmla="*/ 1330174 h 1624"/>
              <a:gd name="T38" fmla="*/ 329375 w 1600"/>
              <a:gd name="T39" fmla="*/ 1406963 h 1624"/>
              <a:gd name="T40" fmla="*/ 827151 w 1600"/>
              <a:gd name="T41" fmla="*/ 1716593 h 1624"/>
              <a:gd name="T42" fmla="*/ 849440 w 1600"/>
              <a:gd name="T43" fmla="*/ 1724025 h 1624"/>
              <a:gd name="T44" fmla="*/ 861822 w 1600"/>
              <a:gd name="T45" fmla="*/ 1731456 h 1624"/>
              <a:gd name="T46" fmla="*/ 871728 w 1600"/>
              <a:gd name="T47" fmla="*/ 1736410 h 1624"/>
              <a:gd name="T48" fmla="*/ 884111 w 1600"/>
              <a:gd name="T49" fmla="*/ 1746318 h 1624"/>
              <a:gd name="T50" fmla="*/ 891540 w 1600"/>
              <a:gd name="T51" fmla="*/ 1751272 h 1624"/>
              <a:gd name="T52" fmla="*/ 896493 w 1600"/>
              <a:gd name="T53" fmla="*/ 1761180 h 1624"/>
              <a:gd name="T54" fmla="*/ 898970 w 1600"/>
              <a:gd name="T55" fmla="*/ 1771088 h 1624"/>
              <a:gd name="T56" fmla="*/ 898970 w 1600"/>
              <a:gd name="T57" fmla="*/ 1778520 h 1624"/>
              <a:gd name="T58" fmla="*/ 896493 w 1600"/>
              <a:gd name="T59" fmla="*/ 1793382 h 1624"/>
              <a:gd name="T60" fmla="*/ 871728 w 1600"/>
              <a:gd name="T61" fmla="*/ 1828061 h 1624"/>
              <a:gd name="T62" fmla="*/ 832104 w 1600"/>
              <a:gd name="T63" fmla="*/ 1850354 h 1624"/>
              <a:gd name="T64" fmla="*/ 817245 w 1600"/>
              <a:gd name="T65" fmla="*/ 1862739 h 1624"/>
              <a:gd name="T66" fmla="*/ 807339 w 1600"/>
              <a:gd name="T67" fmla="*/ 1875124 h 1624"/>
              <a:gd name="T68" fmla="*/ 802386 w 1600"/>
              <a:gd name="T69" fmla="*/ 1894941 h 1624"/>
              <a:gd name="T70" fmla="*/ 804863 w 1600"/>
              <a:gd name="T71" fmla="*/ 1934574 h 1624"/>
              <a:gd name="T72" fmla="*/ 926211 w 1600"/>
              <a:gd name="T73" fmla="*/ 2006408 h 1624"/>
              <a:gd name="T74" fmla="*/ 1089660 w 1600"/>
              <a:gd name="T75" fmla="*/ 1989069 h 1624"/>
              <a:gd name="T76" fmla="*/ 1156526 w 1600"/>
              <a:gd name="T77" fmla="*/ 1907326 h 1624"/>
              <a:gd name="T78" fmla="*/ 1154049 w 1600"/>
              <a:gd name="T79" fmla="*/ 1885033 h 1624"/>
              <a:gd name="T80" fmla="*/ 1144143 w 1600"/>
              <a:gd name="T81" fmla="*/ 1867693 h 1624"/>
              <a:gd name="T82" fmla="*/ 1136714 w 1600"/>
              <a:gd name="T83" fmla="*/ 1860262 h 1624"/>
              <a:gd name="T84" fmla="*/ 1121855 w 1600"/>
              <a:gd name="T85" fmla="*/ 1850354 h 1624"/>
              <a:gd name="T86" fmla="*/ 1067372 w 1600"/>
              <a:gd name="T87" fmla="*/ 1808244 h 1624"/>
              <a:gd name="T88" fmla="*/ 1059942 w 1600"/>
              <a:gd name="T89" fmla="*/ 1793382 h 1624"/>
              <a:gd name="T90" fmla="*/ 1057466 w 1600"/>
              <a:gd name="T91" fmla="*/ 1780997 h 1624"/>
              <a:gd name="T92" fmla="*/ 1057466 w 1600"/>
              <a:gd name="T93" fmla="*/ 1771088 h 1624"/>
              <a:gd name="T94" fmla="*/ 1059942 w 1600"/>
              <a:gd name="T95" fmla="*/ 1761180 h 1624"/>
              <a:gd name="T96" fmla="*/ 1064895 w 1600"/>
              <a:gd name="T97" fmla="*/ 1753749 h 1624"/>
              <a:gd name="T98" fmla="*/ 1072325 w 1600"/>
              <a:gd name="T99" fmla="*/ 1746318 h 1624"/>
              <a:gd name="T100" fmla="*/ 1082231 w 1600"/>
              <a:gd name="T101" fmla="*/ 1736410 h 1624"/>
              <a:gd name="T102" fmla="*/ 1094613 w 1600"/>
              <a:gd name="T103" fmla="*/ 1731456 h 1624"/>
              <a:gd name="T104" fmla="*/ 1104519 w 1600"/>
              <a:gd name="T105" fmla="*/ 1726502 h 1624"/>
              <a:gd name="T106" fmla="*/ 1129284 w 1600"/>
              <a:gd name="T107" fmla="*/ 1716593 h 1624"/>
              <a:gd name="T108" fmla="*/ 1485900 w 1600"/>
              <a:gd name="T109" fmla="*/ 0 h 162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00" h="1624">
                <a:moveTo>
                  <a:pt x="1200" y="0"/>
                </a:moveTo>
                <a:lnTo>
                  <a:pt x="402" y="0"/>
                </a:lnTo>
                <a:lnTo>
                  <a:pt x="400" y="6"/>
                </a:lnTo>
                <a:lnTo>
                  <a:pt x="400" y="8"/>
                </a:lnTo>
                <a:lnTo>
                  <a:pt x="266" y="240"/>
                </a:lnTo>
                <a:lnTo>
                  <a:pt x="262" y="260"/>
                </a:lnTo>
                <a:lnTo>
                  <a:pt x="262" y="282"/>
                </a:lnTo>
                <a:lnTo>
                  <a:pt x="264" y="290"/>
                </a:lnTo>
                <a:lnTo>
                  <a:pt x="266" y="298"/>
                </a:lnTo>
                <a:lnTo>
                  <a:pt x="270" y="306"/>
                </a:lnTo>
                <a:lnTo>
                  <a:pt x="276" y="310"/>
                </a:lnTo>
                <a:lnTo>
                  <a:pt x="286" y="316"/>
                </a:lnTo>
                <a:lnTo>
                  <a:pt x="296" y="318"/>
                </a:lnTo>
                <a:lnTo>
                  <a:pt x="306" y="320"/>
                </a:lnTo>
                <a:lnTo>
                  <a:pt x="314" y="318"/>
                </a:lnTo>
                <a:lnTo>
                  <a:pt x="330" y="312"/>
                </a:lnTo>
                <a:lnTo>
                  <a:pt x="344" y="304"/>
                </a:lnTo>
                <a:lnTo>
                  <a:pt x="358" y="296"/>
                </a:lnTo>
                <a:lnTo>
                  <a:pt x="374" y="290"/>
                </a:lnTo>
                <a:lnTo>
                  <a:pt x="382" y="288"/>
                </a:lnTo>
                <a:lnTo>
                  <a:pt x="392" y="290"/>
                </a:lnTo>
                <a:lnTo>
                  <a:pt x="400" y="292"/>
                </a:lnTo>
                <a:lnTo>
                  <a:pt x="412" y="296"/>
                </a:lnTo>
                <a:lnTo>
                  <a:pt x="418" y="302"/>
                </a:lnTo>
                <a:lnTo>
                  <a:pt x="424" y="306"/>
                </a:lnTo>
                <a:lnTo>
                  <a:pt x="434" y="320"/>
                </a:lnTo>
                <a:lnTo>
                  <a:pt x="438" y="336"/>
                </a:lnTo>
                <a:lnTo>
                  <a:pt x="442" y="352"/>
                </a:lnTo>
                <a:lnTo>
                  <a:pt x="442" y="370"/>
                </a:lnTo>
                <a:lnTo>
                  <a:pt x="438" y="390"/>
                </a:lnTo>
                <a:lnTo>
                  <a:pt x="434" y="408"/>
                </a:lnTo>
                <a:lnTo>
                  <a:pt x="430" y="426"/>
                </a:lnTo>
                <a:lnTo>
                  <a:pt x="420" y="450"/>
                </a:lnTo>
                <a:lnTo>
                  <a:pt x="410" y="472"/>
                </a:lnTo>
                <a:lnTo>
                  <a:pt x="398" y="488"/>
                </a:lnTo>
                <a:lnTo>
                  <a:pt x="384" y="506"/>
                </a:lnTo>
                <a:lnTo>
                  <a:pt x="368" y="524"/>
                </a:lnTo>
                <a:lnTo>
                  <a:pt x="348" y="540"/>
                </a:lnTo>
                <a:lnTo>
                  <a:pt x="328" y="552"/>
                </a:lnTo>
                <a:lnTo>
                  <a:pt x="318" y="556"/>
                </a:lnTo>
                <a:lnTo>
                  <a:pt x="306" y="560"/>
                </a:lnTo>
                <a:lnTo>
                  <a:pt x="296" y="562"/>
                </a:lnTo>
                <a:lnTo>
                  <a:pt x="284" y="562"/>
                </a:lnTo>
                <a:lnTo>
                  <a:pt x="274" y="558"/>
                </a:lnTo>
                <a:lnTo>
                  <a:pt x="264" y="554"/>
                </a:lnTo>
                <a:lnTo>
                  <a:pt x="256" y="548"/>
                </a:lnTo>
                <a:lnTo>
                  <a:pt x="248" y="540"/>
                </a:lnTo>
                <a:lnTo>
                  <a:pt x="244" y="532"/>
                </a:lnTo>
                <a:lnTo>
                  <a:pt x="240" y="524"/>
                </a:lnTo>
                <a:lnTo>
                  <a:pt x="238" y="508"/>
                </a:lnTo>
                <a:lnTo>
                  <a:pt x="238" y="492"/>
                </a:lnTo>
                <a:lnTo>
                  <a:pt x="238" y="474"/>
                </a:lnTo>
                <a:lnTo>
                  <a:pt x="234" y="458"/>
                </a:lnTo>
                <a:lnTo>
                  <a:pt x="232" y="450"/>
                </a:lnTo>
                <a:lnTo>
                  <a:pt x="226" y="444"/>
                </a:lnTo>
                <a:lnTo>
                  <a:pt x="218" y="436"/>
                </a:lnTo>
                <a:lnTo>
                  <a:pt x="210" y="430"/>
                </a:lnTo>
                <a:lnTo>
                  <a:pt x="202" y="426"/>
                </a:lnTo>
                <a:lnTo>
                  <a:pt x="192" y="426"/>
                </a:lnTo>
                <a:lnTo>
                  <a:pt x="184" y="430"/>
                </a:lnTo>
                <a:lnTo>
                  <a:pt x="174" y="434"/>
                </a:lnTo>
                <a:lnTo>
                  <a:pt x="156" y="446"/>
                </a:lnTo>
                <a:lnTo>
                  <a:pt x="140" y="460"/>
                </a:lnTo>
                <a:lnTo>
                  <a:pt x="40" y="632"/>
                </a:lnTo>
                <a:lnTo>
                  <a:pt x="4" y="694"/>
                </a:lnTo>
                <a:lnTo>
                  <a:pt x="0" y="694"/>
                </a:lnTo>
                <a:lnTo>
                  <a:pt x="2" y="696"/>
                </a:lnTo>
                <a:lnTo>
                  <a:pt x="4" y="696"/>
                </a:lnTo>
                <a:lnTo>
                  <a:pt x="140" y="934"/>
                </a:lnTo>
                <a:lnTo>
                  <a:pt x="158" y="948"/>
                </a:lnTo>
                <a:lnTo>
                  <a:pt x="176" y="962"/>
                </a:lnTo>
                <a:lnTo>
                  <a:pt x="186" y="968"/>
                </a:lnTo>
                <a:lnTo>
                  <a:pt x="196" y="970"/>
                </a:lnTo>
                <a:lnTo>
                  <a:pt x="206" y="970"/>
                </a:lnTo>
                <a:lnTo>
                  <a:pt x="214" y="968"/>
                </a:lnTo>
                <a:lnTo>
                  <a:pt x="224" y="960"/>
                </a:lnTo>
                <a:lnTo>
                  <a:pt x="230" y="954"/>
                </a:lnTo>
                <a:lnTo>
                  <a:pt x="236" y="946"/>
                </a:lnTo>
                <a:lnTo>
                  <a:pt x="240" y="938"/>
                </a:lnTo>
                <a:lnTo>
                  <a:pt x="242" y="922"/>
                </a:lnTo>
                <a:lnTo>
                  <a:pt x="242" y="906"/>
                </a:lnTo>
                <a:lnTo>
                  <a:pt x="242" y="888"/>
                </a:lnTo>
                <a:lnTo>
                  <a:pt x="244" y="872"/>
                </a:lnTo>
                <a:lnTo>
                  <a:pt x="248" y="864"/>
                </a:lnTo>
                <a:lnTo>
                  <a:pt x="252" y="858"/>
                </a:lnTo>
                <a:lnTo>
                  <a:pt x="260" y="850"/>
                </a:lnTo>
                <a:lnTo>
                  <a:pt x="268" y="844"/>
                </a:lnTo>
                <a:lnTo>
                  <a:pt x="278" y="838"/>
                </a:lnTo>
                <a:lnTo>
                  <a:pt x="290" y="836"/>
                </a:lnTo>
                <a:lnTo>
                  <a:pt x="300" y="836"/>
                </a:lnTo>
                <a:lnTo>
                  <a:pt x="310" y="836"/>
                </a:lnTo>
                <a:lnTo>
                  <a:pt x="322" y="840"/>
                </a:lnTo>
                <a:lnTo>
                  <a:pt x="332" y="844"/>
                </a:lnTo>
                <a:lnTo>
                  <a:pt x="352" y="858"/>
                </a:lnTo>
                <a:lnTo>
                  <a:pt x="372" y="874"/>
                </a:lnTo>
                <a:lnTo>
                  <a:pt x="390" y="892"/>
                </a:lnTo>
                <a:lnTo>
                  <a:pt x="404" y="910"/>
                </a:lnTo>
                <a:lnTo>
                  <a:pt x="414" y="926"/>
                </a:lnTo>
                <a:lnTo>
                  <a:pt x="422" y="944"/>
                </a:lnTo>
                <a:lnTo>
                  <a:pt x="432" y="964"/>
                </a:lnTo>
                <a:lnTo>
                  <a:pt x="438" y="988"/>
                </a:lnTo>
                <a:lnTo>
                  <a:pt x="442" y="1012"/>
                </a:lnTo>
                <a:lnTo>
                  <a:pt x="444" y="1038"/>
                </a:lnTo>
                <a:lnTo>
                  <a:pt x="442" y="1048"/>
                </a:lnTo>
                <a:lnTo>
                  <a:pt x="440" y="1060"/>
                </a:lnTo>
                <a:lnTo>
                  <a:pt x="436" y="1070"/>
                </a:lnTo>
                <a:lnTo>
                  <a:pt x="430" y="1078"/>
                </a:lnTo>
                <a:lnTo>
                  <a:pt x="422" y="1086"/>
                </a:lnTo>
                <a:lnTo>
                  <a:pt x="412" y="1092"/>
                </a:lnTo>
                <a:lnTo>
                  <a:pt x="402" y="1098"/>
                </a:lnTo>
                <a:lnTo>
                  <a:pt x="392" y="1100"/>
                </a:lnTo>
                <a:lnTo>
                  <a:pt x="384" y="1100"/>
                </a:lnTo>
                <a:lnTo>
                  <a:pt x="376" y="1100"/>
                </a:lnTo>
                <a:lnTo>
                  <a:pt x="360" y="1094"/>
                </a:lnTo>
                <a:lnTo>
                  <a:pt x="346" y="1084"/>
                </a:lnTo>
                <a:lnTo>
                  <a:pt x="330" y="1076"/>
                </a:lnTo>
                <a:lnTo>
                  <a:pt x="316" y="1070"/>
                </a:lnTo>
                <a:lnTo>
                  <a:pt x="306" y="1070"/>
                </a:lnTo>
                <a:lnTo>
                  <a:pt x="298" y="1070"/>
                </a:lnTo>
                <a:lnTo>
                  <a:pt x="288" y="1074"/>
                </a:lnTo>
                <a:lnTo>
                  <a:pt x="278" y="1078"/>
                </a:lnTo>
                <a:lnTo>
                  <a:pt x="272" y="1084"/>
                </a:lnTo>
                <a:lnTo>
                  <a:pt x="266" y="1092"/>
                </a:lnTo>
                <a:lnTo>
                  <a:pt x="264" y="1102"/>
                </a:lnTo>
                <a:lnTo>
                  <a:pt x="264" y="1114"/>
                </a:lnTo>
                <a:lnTo>
                  <a:pt x="266" y="1136"/>
                </a:lnTo>
                <a:lnTo>
                  <a:pt x="270" y="1158"/>
                </a:lnTo>
                <a:lnTo>
                  <a:pt x="402" y="1386"/>
                </a:lnTo>
                <a:lnTo>
                  <a:pt x="668" y="1386"/>
                </a:lnTo>
                <a:lnTo>
                  <a:pt x="674" y="1388"/>
                </a:lnTo>
                <a:lnTo>
                  <a:pt x="686" y="1392"/>
                </a:lnTo>
                <a:lnTo>
                  <a:pt x="688" y="1394"/>
                </a:lnTo>
                <a:lnTo>
                  <a:pt x="692" y="1394"/>
                </a:lnTo>
                <a:lnTo>
                  <a:pt x="694" y="1396"/>
                </a:lnTo>
                <a:lnTo>
                  <a:pt x="696" y="1398"/>
                </a:lnTo>
                <a:lnTo>
                  <a:pt x="700" y="1398"/>
                </a:lnTo>
                <a:lnTo>
                  <a:pt x="702" y="1400"/>
                </a:lnTo>
                <a:lnTo>
                  <a:pt x="704" y="1402"/>
                </a:lnTo>
                <a:lnTo>
                  <a:pt x="706" y="1402"/>
                </a:lnTo>
                <a:lnTo>
                  <a:pt x="710" y="1406"/>
                </a:lnTo>
                <a:lnTo>
                  <a:pt x="714" y="1410"/>
                </a:lnTo>
                <a:lnTo>
                  <a:pt x="716" y="1410"/>
                </a:lnTo>
                <a:lnTo>
                  <a:pt x="718" y="1412"/>
                </a:lnTo>
                <a:lnTo>
                  <a:pt x="720" y="1414"/>
                </a:lnTo>
                <a:lnTo>
                  <a:pt x="722" y="1416"/>
                </a:lnTo>
                <a:lnTo>
                  <a:pt x="722" y="1418"/>
                </a:lnTo>
                <a:lnTo>
                  <a:pt x="724" y="1420"/>
                </a:lnTo>
                <a:lnTo>
                  <a:pt x="724" y="1422"/>
                </a:lnTo>
                <a:lnTo>
                  <a:pt x="726" y="1424"/>
                </a:lnTo>
                <a:lnTo>
                  <a:pt x="726" y="1426"/>
                </a:lnTo>
                <a:lnTo>
                  <a:pt x="726" y="1430"/>
                </a:lnTo>
                <a:lnTo>
                  <a:pt x="726" y="1436"/>
                </a:lnTo>
                <a:lnTo>
                  <a:pt x="726" y="1438"/>
                </a:lnTo>
                <a:lnTo>
                  <a:pt x="726" y="1442"/>
                </a:lnTo>
                <a:lnTo>
                  <a:pt x="724" y="1444"/>
                </a:lnTo>
                <a:lnTo>
                  <a:pt x="724" y="1448"/>
                </a:lnTo>
                <a:lnTo>
                  <a:pt x="720" y="1458"/>
                </a:lnTo>
                <a:lnTo>
                  <a:pt x="716" y="1464"/>
                </a:lnTo>
                <a:lnTo>
                  <a:pt x="710" y="1470"/>
                </a:lnTo>
                <a:lnTo>
                  <a:pt x="704" y="1476"/>
                </a:lnTo>
                <a:lnTo>
                  <a:pt x="690" y="1484"/>
                </a:lnTo>
                <a:lnTo>
                  <a:pt x="676" y="1492"/>
                </a:lnTo>
                <a:lnTo>
                  <a:pt x="674" y="1494"/>
                </a:lnTo>
                <a:lnTo>
                  <a:pt x="672" y="1494"/>
                </a:lnTo>
                <a:lnTo>
                  <a:pt x="668" y="1498"/>
                </a:lnTo>
                <a:lnTo>
                  <a:pt x="666" y="1498"/>
                </a:lnTo>
                <a:lnTo>
                  <a:pt x="662" y="1502"/>
                </a:lnTo>
                <a:lnTo>
                  <a:pt x="660" y="1504"/>
                </a:lnTo>
                <a:lnTo>
                  <a:pt x="656" y="1508"/>
                </a:lnTo>
                <a:lnTo>
                  <a:pt x="652" y="1514"/>
                </a:lnTo>
                <a:lnTo>
                  <a:pt x="650" y="1522"/>
                </a:lnTo>
                <a:lnTo>
                  <a:pt x="648" y="1530"/>
                </a:lnTo>
                <a:lnTo>
                  <a:pt x="648" y="1532"/>
                </a:lnTo>
                <a:lnTo>
                  <a:pt x="646" y="1540"/>
                </a:lnTo>
                <a:lnTo>
                  <a:pt x="648" y="1552"/>
                </a:lnTo>
                <a:lnTo>
                  <a:pt x="650" y="1562"/>
                </a:lnTo>
                <a:lnTo>
                  <a:pt x="656" y="1572"/>
                </a:lnTo>
                <a:lnTo>
                  <a:pt x="662" y="1580"/>
                </a:lnTo>
                <a:lnTo>
                  <a:pt x="670" y="1588"/>
                </a:lnTo>
                <a:lnTo>
                  <a:pt x="680" y="1594"/>
                </a:lnTo>
                <a:lnTo>
                  <a:pt x="700" y="1606"/>
                </a:lnTo>
                <a:lnTo>
                  <a:pt x="724" y="1614"/>
                </a:lnTo>
                <a:lnTo>
                  <a:pt x="748" y="1620"/>
                </a:lnTo>
                <a:lnTo>
                  <a:pt x="770" y="1624"/>
                </a:lnTo>
                <a:lnTo>
                  <a:pt x="790" y="1624"/>
                </a:lnTo>
                <a:lnTo>
                  <a:pt x="810" y="1624"/>
                </a:lnTo>
                <a:lnTo>
                  <a:pt x="832" y="1620"/>
                </a:lnTo>
                <a:lnTo>
                  <a:pt x="856" y="1614"/>
                </a:lnTo>
                <a:lnTo>
                  <a:pt x="880" y="1606"/>
                </a:lnTo>
                <a:lnTo>
                  <a:pt x="902" y="1594"/>
                </a:lnTo>
                <a:lnTo>
                  <a:pt x="910" y="1588"/>
                </a:lnTo>
                <a:lnTo>
                  <a:pt x="918" y="1580"/>
                </a:lnTo>
                <a:lnTo>
                  <a:pt x="926" y="1572"/>
                </a:lnTo>
                <a:lnTo>
                  <a:pt x="930" y="1562"/>
                </a:lnTo>
                <a:lnTo>
                  <a:pt x="934" y="1552"/>
                </a:lnTo>
                <a:lnTo>
                  <a:pt x="934" y="1540"/>
                </a:lnTo>
                <a:lnTo>
                  <a:pt x="934" y="1532"/>
                </a:lnTo>
                <a:lnTo>
                  <a:pt x="934" y="1530"/>
                </a:lnTo>
                <a:lnTo>
                  <a:pt x="932" y="1522"/>
                </a:lnTo>
                <a:lnTo>
                  <a:pt x="930" y="1522"/>
                </a:lnTo>
                <a:lnTo>
                  <a:pt x="928" y="1514"/>
                </a:lnTo>
                <a:lnTo>
                  <a:pt x="924" y="1508"/>
                </a:lnTo>
                <a:lnTo>
                  <a:pt x="920" y="1504"/>
                </a:lnTo>
                <a:lnTo>
                  <a:pt x="918" y="1502"/>
                </a:lnTo>
                <a:lnTo>
                  <a:pt x="914" y="1498"/>
                </a:lnTo>
                <a:lnTo>
                  <a:pt x="912" y="1498"/>
                </a:lnTo>
                <a:lnTo>
                  <a:pt x="908" y="1494"/>
                </a:lnTo>
                <a:lnTo>
                  <a:pt x="906" y="1494"/>
                </a:lnTo>
                <a:lnTo>
                  <a:pt x="904" y="1492"/>
                </a:lnTo>
                <a:lnTo>
                  <a:pt x="890" y="1484"/>
                </a:lnTo>
                <a:lnTo>
                  <a:pt x="878" y="1476"/>
                </a:lnTo>
                <a:lnTo>
                  <a:pt x="866" y="1466"/>
                </a:lnTo>
                <a:lnTo>
                  <a:pt x="862" y="1460"/>
                </a:lnTo>
                <a:lnTo>
                  <a:pt x="858" y="1454"/>
                </a:lnTo>
                <a:lnTo>
                  <a:pt x="856" y="1448"/>
                </a:lnTo>
                <a:lnTo>
                  <a:pt x="856" y="1444"/>
                </a:lnTo>
                <a:lnTo>
                  <a:pt x="856" y="1442"/>
                </a:lnTo>
                <a:lnTo>
                  <a:pt x="854" y="1438"/>
                </a:lnTo>
                <a:lnTo>
                  <a:pt x="854" y="1436"/>
                </a:lnTo>
                <a:lnTo>
                  <a:pt x="854" y="1430"/>
                </a:lnTo>
                <a:lnTo>
                  <a:pt x="854" y="1426"/>
                </a:lnTo>
                <a:lnTo>
                  <a:pt x="856" y="1424"/>
                </a:lnTo>
                <a:lnTo>
                  <a:pt x="856" y="1422"/>
                </a:lnTo>
                <a:lnTo>
                  <a:pt x="856" y="1420"/>
                </a:lnTo>
                <a:lnTo>
                  <a:pt x="858" y="1418"/>
                </a:lnTo>
                <a:lnTo>
                  <a:pt x="860" y="1416"/>
                </a:lnTo>
                <a:lnTo>
                  <a:pt x="862" y="1414"/>
                </a:lnTo>
                <a:lnTo>
                  <a:pt x="862" y="1412"/>
                </a:lnTo>
                <a:lnTo>
                  <a:pt x="864" y="1410"/>
                </a:lnTo>
                <a:lnTo>
                  <a:pt x="866" y="1410"/>
                </a:lnTo>
                <a:lnTo>
                  <a:pt x="870" y="1406"/>
                </a:lnTo>
                <a:lnTo>
                  <a:pt x="874" y="1402"/>
                </a:lnTo>
                <a:lnTo>
                  <a:pt x="876" y="1402"/>
                </a:lnTo>
                <a:lnTo>
                  <a:pt x="880" y="1400"/>
                </a:lnTo>
                <a:lnTo>
                  <a:pt x="882" y="1398"/>
                </a:lnTo>
                <a:lnTo>
                  <a:pt x="884" y="1398"/>
                </a:lnTo>
                <a:lnTo>
                  <a:pt x="886" y="1396"/>
                </a:lnTo>
                <a:lnTo>
                  <a:pt x="890" y="1394"/>
                </a:lnTo>
                <a:lnTo>
                  <a:pt x="892" y="1394"/>
                </a:lnTo>
                <a:lnTo>
                  <a:pt x="894" y="1392"/>
                </a:lnTo>
                <a:lnTo>
                  <a:pt x="906" y="1388"/>
                </a:lnTo>
                <a:lnTo>
                  <a:pt x="908" y="1388"/>
                </a:lnTo>
                <a:lnTo>
                  <a:pt x="912" y="1386"/>
                </a:lnTo>
                <a:lnTo>
                  <a:pt x="1200" y="1386"/>
                </a:lnTo>
                <a:lnTo>
                  <a:pt x="1200" y="1384"/>
                </a:lnTo>
                <a:lnTo>
                  <a:pt x="1600" y="694"/>
                </a:lnTo>
                <a:lnTo>
                  <a:pt x="1200" y="0"/>
                </a:lnTo>
                <a:close/>
              </a:path>
            </a:pathLst>
          </a:custGeom>
          <a:solidFill>
            <a:srgbClr val="D0E6A7"/>
          </a:solidFill>
          <a:ln w="38100" cap="flat" cmpd="sng">
            <a:solidFill>
              <a:srgbClr val="D0E6A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xmlns="" id="{903A581B-8F83-4637-A9AA-D8906877254D}"/>
              </a:ext>
            </a:extLst>
          </p:cNvPr>
          <p:cNvSpPr/>
          <p:nvPr/>
        </p:nvSpPr>
        <p:spPr>
          <a:xfrm>
            <a:off x="3483004" y="954329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32D5276B-26A6-431A-975C-9080B564115C}"/>
              </a:ext>
            </a:extLst>
          </p:cNvPr>
          <p:cNvSpPr/>
          <p:nvPr/>
        </p:nvSpPr>
        <p:spPr>
          <a:xfrm>
            <a:off x="7452790" y="2384342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154A7504-2DC3-4B21-81D7-4C1C0A1D23EF}"/>
              </a:ext>
            </a:extLst>
          </p:cNvPr>
          <p:cNvSpPr/>
          <p:nvPr/>
        </p:nvSpPr>
        <p:spPr>
          <a:xfrm>
            <a:off x="7452790" y="4286349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827583E-0A9D-4FD4-8889-DDBCF82D3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4" name="CaixaDeTexto 44">
            <a:extLst>
              <a:ext uri="{FF2B5EF4-FFF2-40B4-BE49-F238E27FC236}">
                <a16:creationId xmlns:a16="http://schemas.microsoft.com/office/drawing/2014/main" xmlns="" id="{4B827705-D6F1-47F8-88C5-08491757DA0F}"/>
              </a:ext>
            </a:extLst>
          </p:cNvPr>
          <p:cNvSpPr txBox="1"/>
          <p:nvPr/>
        </p:nvSpPr>
        <p:spPr>
          <a:xfrm>
            <a:off x="3947784" y="914624"/>
            <a:ext cx="171099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b="1" dirty="0">
                <a:solidFill>
                  <a:srgbClr val="FFFFFF"/>
                </a:solidFill>
                <a:latin typeface="Candara"/>
              </a:rPr>
              <a:t>O caso de Pernambuco: 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resultados positivos em </a:t>
            </a:r>
            <a:r>
              <a:rPr lang="pt-BR" b="1" dirty="0">
                <a:solidFill>
                  <a:srgbClr val="FFFFFF"/>
                </a:solidFill>
                <a:latin typeface="Candara"/>
              </a:rPr>
              <a:t>aprendizagem e fluxo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.</a:t>
            </a:r>
          </a:p>
        </p:txBody>
      </p:sp>
      <p:sp>
        <p:nvSpPr>
          <p:cNvPr id="15" name="CaixaDeTexto 45">
            <a:extLst>
              <a:ext uri="{FF2B5EF4-FFF2-40B4-BE49-F238E27FC236}">
                <a16:creationId xmlns:a16="http://schemas.microsoft.com/office/drawing/2014/main" xmlns="" id="{DED0E8C3-B2D4-4786-B054-CF910D9B31F4}"/>
              </a:ext>
            </a:extLst>
          </p:cNvPr>
          <p:cNvSpPr txBox="1"/>
          <p:nvPr/>
        </p:nvSpPr>
        <p:spPr>
          <a:xfrm>
            <a:off x="5884668" y="1766446"/>
            <a:ext cx="176256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O caso de Pernambuco: resultados positivos na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diminuição das desigualdades sociais.</a:t>
            </a:r>
          </a:p>
        </p:txBody>
      </p:sp>
      <p:sp>
        <p:nvSpPr>
          <p:cNvPr id="16" name="CaixaDeTexto 51">
            <a:extLst>
              <a:ext uri="{FF2B5EF4-FFF2-40B4-BE49-F238E27FC236}">
                <a16:creationId xmlns:a16="http://schemas.microsoft.com/office/drawing/2014/main" xmlns="" id="{52D6B9D9-E2C9-4C43-9415-4B7BA1B2F411}"/>
              </a:ext>
            </a:extLst>
          </p:cNvPr>
          <p:cNvSpPr txBox="1"/>
          <p:nvPr/>
        </p:nvSpPr>
        <p:spPr>
          <a:xfrm>
            <a:off x="5951798" y="3842439"/>
            <a:ext cx="162830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Política de fomento às escolas integrais e os seus resultados iniciais.  </a:t>
            </a:r>
          </a:p>
        </p:txBody>
      </p:sp>
    </p:spTree>
    <p:extLst>
      <p:ext uri="{BB962C8B-B14F-4D97-AF65-F5344CB8AC3E}">
        <p14:creationId xmlns:p14="http://schemas.microsoft.com/office/powerpoint/2010/main" val="12152732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8" name="Rectangle 17"/>
          <p:cNvSpPr>
            <a:spLocks noGrp="1" noChangeArrowheads="1"/>
          </p:cNvSpPr>
          <p:nvPr>
            <p:ph type="ctrTitle"/>
          </p:nvPr>
        </p:nvSpPr>
        <p:spPr>
          <a:xfrm>
            <a:off x="363706" y="275358"/>
            <a:ext cx="8597731" cy="528182"/>
          </a:xfrm>
        </p:spPr>
        <p:txBody>
          <a:bodyPr>
            <a:norm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Principais CARACTERÍSTICAS da política DE FOMENT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827583E-0A9D-4FD4-8889-DDBCF82D3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xmlns="" id="{14585AE8-2FE6-45D9-8D42-6B590F04F638}"/>
              </a:ext>
            </a:extLst>
          </p:cNvPr>
          <p:cNvSpPr/>
          <p:nvPr/>
        </p:nvSpPr>
        <p:spPr>
          <a:xfrm>
            <a:off x="69469" y="1901379"/>
            <a:ext cx="2183544" cy="3477905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xmlns="" id="{575EC735-3CE9-4AD2-A7BC-D6E1B6D7B36C}"/>
              </a:ext>
            </a:extLst>
          </p:cNvPr>
          <p:cNvSpPr/>
          <p:nvPr/>
        </p:nvSpPr>
        <p:spPr>
          <a:xfrm>
            <a:off x="2298904" y="1901379"/>
            <a:ext cx="2190500" cy="347790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xmlns="" id="{6F57B0D1-9E32-43FE-98CD-BF7F0BDDC6B8}"/>
              </a:ext>
            </a:extLst>
          </p:cNvPr>
          <p:cNvSpPr/>
          <p:nvPr/>
        </p:nvSpPr>
        <p:spPr>
          <a:xfrm>
            <a:off x="4548980" y="1897758"/>
            <a:ext cx="2091002" cy="3477905"/>
          </a:xfrm>
          <a:prstGeom prst="roundRect">
            <a:avLst/>
          </a:prstGeom>
          <a:gradFill>
            <a:gsLst>
              <a:gs pos="100000">
                <a:schemeClr val="tx2">
                  <a:lumMod val="20000"/>
                  <a:lumOff val="8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</a:schemeClr>
              </a:gs>
            </a:gsLst>
          </a:gradFill>
          <a:effectLst>
            <a:outerShdw blurRad="40000" dist="23000" dir="5400000" rotWithShape="0">
              <a:schemeClr val="tx2">
                <a:lumMod val="20000"/>
                <a:lumOff val="80000"/>
                <a:alpha val="35000"/>
              </a:schemeClr>
            </a:out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xmlns="" id="{5A665A2E-6E98-4278-BD1B-D18FAA3D6C3B}"/>
              </a:ext>
            </a:extLst>
          </p:cNvPr>
          <p:cNvSpPr/>
          <p:nvPr/>
        </p:nvSpPr>
        <p:spPr>
          <a:xfrm>
            <a:off x="6741994" y="1901379"/>
            <a:ext cx="2135875" cy="3477905"/>
          </a:xfrm>
          <a:prstGeom prst="roundRect">
            <a:avLst/>
          </a:prstGeom>
          <a:solidFill>
            <a:srgbClr val="92D05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xmlns="" id="{5B57E96F-F208-4093-9069-1E4046FCB42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grayscl/>
          </a:blip>
          <a:srcRect l="4534" r="4835" b="14234"/>
          <a:stretch/>
        </p:blipFill>
        <p:spPr>
          <a:xfrm>
            <a:off x="951527" y="2138803"/>
            <a:ext cx="419428" cy="396914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8CC77A80-7392-433F-8D7F-FCA18D3C6082}"/>
              </a:ext>
            </a:extLst>
          </p:cNvPr>
          <p:cNvSpPr/>
          <p:nvPr/>
        </p:nvSpPr>
        <p:spPr>
          <a:xfrm>
            <a:off x="55207" y="2638266"/>
            <a:ext cx="218354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Configuração</a:t>
            </a:r>
          </a:p>
          <a:p>
            <a:pPr algn="ctr"/>
            <a:endParaRPr lang="pt-BR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algn="ctr"/>
            <a:endParaRPr lang="pt-BR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algn="ctr"/>
            <a:endParaRPr lang="pt-BR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algn="ctr"/>
            <a:endParaRPr lang="pt-BR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xmlns="" id="{AC28CDFA-FA4A-44D4-9FBE-5074D97C9EA3}"/>
              </a:ext>
            </a:extLst>
          </p:cNvPr>
          <p:cNvSpPr/>
          <p:nvPr/>
        </p:nvSpPr>
        <p:spPr>
          <a:xfrm>
            <a:off x="97830" y="3163279"/>
            <a:ext cx="212723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10 anos de repasses da União para os estados no valor de 2.000 reais por aluno por ano.</a:t>
            </a:r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xmlns="" id="{66B3BC97-9379-46E5-AC3B-EEFF61C1730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prstClr val="black"/>
              <a:srgbClr val="D9C3A5">
                <a:tint val="50000"/>
                <a:satMod val="180000"/>
              </a:srgbClr>
            </a:duotone>
          </a:blip>
          <a:srcRect l="8859" t="7027" r="10311" b="21261"/>
          <a:stretch/>
        </p:blipFill>
        <p:spPr>
          <a:xfrm>
            <a:off x="3135071" y="2109717"/>
            <a:ext cx="447383" cy="396914"/>
          </a:xfrm>
          <a:prstGeom prst="rect">
            <a:avLst/>
          </a:prstGeom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xmlns="" id="{28B7DF52-44E5-4661-9A3F-EE943AC72B4E}"/>
              </a:ext>
            </a:extLst>
          </p:cNvPr>
          <p:cNvSpPr/>
          <p:nvPr/>
        </p:nvSpPr>
        <p:spPr>
          <a:xfrm>
            <a:off x="2284642" y="2636786"/>
            <a:ext cx="2183544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Base Pedagógica </a:t>
            </a:r>
          </a:p>
          <a:p>
            <a:pPr algn="ctr"/>
            <a:endParaRPr lang="pt-BR" sz="1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algn="ctr"/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Baseada na ampliação da jornada escolar e na formação integral e integrada do estudante, tendo como pilar o currículo do estado, bem como as dimensões social, emocional, cognitiva e cultural dos estudantes.</a:t>
            </a:r>
          </a:p>
          <a:p>
            <a:pPr algn="ctr"/>
            <a:endParaRPr lang="pt-BR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algn="ctr"/>
            <a:endParaRPr lang="pt-BR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algn="ctr"/>
            <a:endParaRPr lang="pt-BR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algn="ctr"/>
            <a:endParaRPr lang="pt-BR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algn="ctr"/>
            <a:endParaRPr lang="pt-BR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algn="ctr"/>
            <a:endParaRPr lang="pt-BR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xmlns="" id="{ABEA78E5-17E7-4947-B9A2-EC6C9EF645E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prstClr val="black"/>
              <a:srgbClr val="D9C3A5">
                <a:tint val="50000"/>
                <a:satMod val="180000"/>
              </a:srgbClr>
            </a:duotone>
          </a:blip>
          <a:srcRect l="8498" r="5556" b="12612"/>
          <a:stretch/>
        </p:blipFill>
        <p:spPr>
          <a:xfrm>
            <a:off x="5393737" y="2003750"/>
            <a:ext cx="523192" cy="531967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xmlns="" id="{7E2D6C0F-13CD-43D6-9B9B-64E5FF2C62DF}"/>
              </a:ext>
            </a:extLst>
          </p:cNvPr>
          <p:cNvSpPr/>
          <p:nvPr/>
        </p:nvSpPr>
        <p:spPr>
          <a:xfrm>
            <a:off x="4591415" y="2636786"/>
            <a:ext cx="2034203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Adesão</a:t>
            </a:r>
          </a:p>
          <a:p>
            <a:pPr algn="ctr"/>
            <a:endParaRPr lang="pt-BR" sz="1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algn="ctr"/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A adesão dos estados é </a:t>
            </a: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voluntária</a:t>
            </a:r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e o estado pode escolher entre migração gradual ou simultânea. Os estados devem escolher as escolas, de acordo com a vulnerabilidade da região e infraestrutura mínima. </a:t>
            </a:r>
          </a:p>
        </p:txBody>
      </p:sp>
      <p:pic>
        <p:nvPicPr>
          <p:cNvPr id="22" name="Imagem 21">
            <a:extLst>
              <a:ext uri="{FF2B5EF4-FFF2-40B4-BE49-F238E27FC236}">
                <a16:creationId xmlns:a16="http://schemas.microsoft.com/office/drawing/2014/main" xmlns="" id="{084BCEA3-1F90-4398-8DC1-5F2D1A8CDD4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prstClr val="black"/>
              <a:srgbClr val="D9C3A5">
                <a:tint val="50000"/>
                <a:satMod val="180000"/>
              </a:srgbClr>
            </a:duotone>
          </a:blip>
          <a:srcRect l="4353" r="5736" b="23603"/>
          <a:stretch/>
        </p:blipFill>
        <p:spPr>
          <a:xfrm>
            <a:off x="7603665" y="2138803"/>
            <a:ext cx="467123" cy="396914"/>
          </a:xfrm>
          <a:prstGeom prst="rect">
            <a:avLst/>
          </a:prstGeom>
        </p:spPr>
      </p:pic>
      <p:sp>
        <p:nvSpPr>
          <p:cNvPr id="23" name="Retângulo 22">
            <a:extLst>
              <a:ext uri="{FF2B5EF4-FFF2-40B4-BE49-F238E27FC236}">
                <a16:creationId xmlns:a16="http://schemas.microsoft.com/office/drawing/2014/main" xmlns="" id="{F982123A-2C97-4795-BA9C-09B334D946CE}"/>
              </a:ext>
            </a:extLst>
          </p:cNvPr>
          <p:cNvSpPr/>
          <p:nvPr/>
        </p:nvSpPr>
        <p:spPr>
          <a:xfrm>
            <a:off x="6720776" y="2698007"/>
            <a:ext cx="2142831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Permanência </a:t>
            </a:r>
          </a:p>
          <a:p>
            <a:pPr algn="ctr"/>
            <a:endParaRPr lang="pt-BR" sz="1400" dirty="0">
              <a:solidFill>
                <a:schemeClr val="accent1">
                  <a:lumMod val="50000"/>
                </a:schemeClr>
              </a:solidFill>
              <a:latin typeface="Candara"/>
            </a:endParaRPr>
          </a:p>
          <a:p>
            <a:pPr lvl="0" algn="ctr"/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Candara"/>
              </a:rPr>
              <a:t>A permanência na política está sujeita ao cumprimento de critérios como: mínimo de matrículas, adequação da infra, marcos legais, prestação de contas e melhoria no IDEB e taxas de abandono e reprovação. </a:t>
            </a:r>
          </a:p>
          <a:p>
            <a:pPr algn="ctr"/>
            <a:endParaRPr lang="pt-BR" sz="1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1" name="Retângulo: Cantos Arredondados 20">
            <a:extLst>
              <a:ext uri="{FF2B5EF4-FFF2-40B4-BE49-F238E27FC236}">
                <a16:creationId xmlns:a16="http://schemas.microsoft.com/office/drawing/2014/main" xmlns="" id="{31F16FAA-BB63-461B-9CB0-2FC1C964E284}"/>
              </a:ext>
            </a:extLst>
          </p:cNvPr>
          <p:cNvSpPr/>
          <p:nvPr/>
        </p:nvSpPr>
        <p:spPr>
          <a:xfrm>
            <a:off x="340692" y="944029"/>
            <a:ext cx="8093624" cy="52818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FFFF"/>
                </a:solidFill>
              </a:rPr>
              <a:t>Política criada com base no cumprimento da meta 6 do Plano Nacional de Educação - PNE</a:t>
            </a:r>
          </a:p>
        </p:txBody>
      </p:sp>
    </p:spTree>
    <p:extLst>
      <p:ext uri="{BB962C8B-B14F-4D97-AF65-F5344CB8AC3E}">
        <p14:creationId xmlns:p14="http://schemas.microsoft.com/office/powerpoint/2010/main" val="2350136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8" name="Rectangle 17"/>
          <p:cNvSpPr>
            <a:spLocks noGrp="1" noChangeArrowheads="1"/>
          </p:cNvSpPr>
          <p:nvPr>
            <p:ph type="ctrTitle"/>
          </p:nvPr>
        </p:nvSpPr>
        <p:spPr>
          <a:xfrm>
            <a:off x="363706" y="275358"/>
            <a:ext cx="8597731" cy="528182"/>
          </a:xfrm>
        </p:spPr>
        <p:txBody>
          <a:bodyPr>
            <a:norm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+mj-lt"/>
              </a:rPr>
              <a:t>A política DE FOMENTO AO emti em números até 2018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827583E-0A9D-4FD4-8889-DDBCF82D3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25" name="Seta: Pentágono 24">
            <a:extLst>
              <a:ext uri="{FF2B5EF4-FFF2-40B4-BE49-F238E27FC236}">
                <a16:creationId xmlns:a16="http://schemas.microsoft.com/office/drawing/2014/main" xmlns="" id="{1057D342-07F2-4918-9AC0-ED968456DD9A}"/>
              </a:ext>
            </a:extLst>
          </p:cNvPr>
          <p:cNvSpPr/>
          <p:nvPr/>
        </p:nvSpPr>
        <p:spPr>
          <a:xfrm>
            <a:off x="156249" y="2380102"/>
            <a:ext cx="1491070" cy="871736"/>
          </a:xfrm>
          <a:prstGeom prst="homePlat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accent1">
                    <a:lumMod val="50000"/>
                  </a:schemeClr>
                </a:solidFill>
              </a:rPr>
              <a:t>2017</a:t>
            </a:r>
          </a:p>
        </p:txBody>
      </p:sp>
      <p:sp>
        <p:nvSpPr>
          <p:cNvPr id="26" name="Seta: Pentágono 25">
            <a:extLst>
              <a:ext uri="{FF2B5EF4-FFF2-40B4-BE49-F238E27FC236}">
                <a16:creationId xmlns:a16="http://schemas.microsoft.com/office/drawing/2014/main" xmlns="" id="{1A9478C0-3D86-4884-885F-B6CA434F844D}"/>
              </a:ext>
            </a:extLst>
          </p:cNvPr>
          <p:cNvSpPr/>
          <p:nvPr/>
        </p:nvSpPr>
        <p:spPr>
          <a:xfrm>
            <a:off x="155460" y="3752254"/>
            <a:ext cx="1448739" cy="935678"/>
          </a:xfrm>
          <a:prstGeom prst="homePlat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accent1">
                    <a:lumMod val="50000"/>
                  </a:schemeClr>
                </a:solidFill>
              </a:rPr>
              <a:t>2018</a:t>
            </a:r>
          </a:p>
          <a:p>
            <a:pPr algn="ctr"/>
            <a:r>
              <a:rPr lang="pt-BR" b="1" dirty="0">
                <a:solidFill>
                  <a:schemeClr val="accent1">
                    <a:lumMod val="50000"/>
                  </a:schemeClr>
                </a:solidFill>
              </a:rPr>
              <a:t>(P1+P2)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04C0380C-CCDB-4E06-A36E-2189EE4DA1F9}"/>
              </a:ext>
            </a:extLst>
          </p:cNvPr>
          <p:cNvSpPr txBox="1"/>
          <p:nvPr/>
        </p:nvSpPr>
        <p:spPr>
          <a:xfrm>
            <a:off x="2398839" y="2707073"/>
            <a:ext cx="643611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70" b="1" dirty="0">
                <a:solidFill>
                  <a:schemeClr val="accent1">
                    <a:lumMod val="50000"/>
                  </a:schemeClr>
                </a:solidFill>
              </a:rPr>
              <a:t>509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xmlns="" id="{45A3FDFC-446D-496F-B5FF-9FD3194F774D}"/>
              </a:ext>
            </a:extLst>
          </p:cNvPr>
          <p:cNvSpPr txBox="1"/>
          <p:nvPr/>
        </p:nvSpPr>
        <p:spPr>
          <a:xfrm>
            <a:off x="1967237" y="2145206"/>
            <a:ext cx="935217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70" b="1" dirty="0">
                <a:solidFill>
                  <a:schemeClr val="accent1">
                    <a:lumMod val="50000"/>
                  </a:schemeClr>
                </a:solidFill>
              </a:rPr>
              <a:t>Escolas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xmlns="" id="{710210E8-C3B6-4739-AC1A-18C4345AB08F}"/>
              </a:ext>
            </a:extLst>
          </p:cNvPr>
          <p:cNvSpPr txBox="1"/>
          <p:nvPr/>
        </p:nvSpPr>
        <p:spPr>
          <a:xfrm>
            <a:off x="3984223" y="2145206"/>
            <a:ext cx="1314914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70" b="1" dirty="0">
                <a:solidFill>
                  <a:schemeClr val="accent1">
                    <a:lumMod val="50000"/>
                  </a:schemeClr>
                </a:solidFill>
              </a:rPr>
              <a:t>Matrículas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xmlns="" id="{194ACC1C-9F7E-4250-8935-21C33FE44534}"/>
              </a:ext>
            </a:extLst>
          </p:cNvPr>
          <p:cNvSpPr txBox="1"/>
          <p:nvPr/>
        </p:nvSpPr>
        <p:spPr>
          <a:xfrm>
            <a:off x="5978210" y="2145206"/>
            <a:ext cx="939699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70" b="1" dirty="0">
                <a:solidFill>
                  <a:schemeClr val="accent1">
                    <a:lumMod val="50000"/>
                  </a:schemeClr>
                </a:solidFill>
              </a:rPr>
              <a:t>Estados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xmlns="" id="{1CD3D31C-FB11-44B0-BDB3-C3D966424A3E}"/>
              </a:ext>
            </a:extLst>
          </p:cNvPr>
          <p:cNvSpPr txBox="1"/>
          <p:nvPr/>
        </p:nvSpPr>
        <p:spPr>
          <a:xfrm>
            <a:off x="7365792" y="2145206"/>
            <a:ext cx="1210618" cy="54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70" b="1" dirty="0">
                <a:solidFill>
                  <a:schemeClr val="accent1">
                    <a:lumMod val="50000"/>
                  </a:schemeClr>
                </a:solidFill>
              </a:rPr>
              <a:t>Recursos Federais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xmlns="" id="{5BB6B9EF-D77F-46F1-B3DE-3B27F30FFADC}"/>
              </a:ext>
            </a:extLst>
          </p:cNvPr>
          <p:cNvSpPr txBox="1"/>
          <p:nvPr/>
        </p:nvSpPr>
        <p:spPr>
          <a:xfrm>
            <a:off x="2398840" y="3999875"/>
            <a:ext cx="668836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70" b="1" dirty="0">
                <a:solidFill>
                  <a:schemeClr val="accent1">
                    <a:lumMod val="50000"/>
                  </a:schemeClr>
                </a:solidFill>
              </a:rPr>
              <a:t>900</a:t>
            </a:r>
            <a:r>
              <a:rPr lang="pt-BR" sz="1470" b="1" baseline="30000" dirty="0">
                <a:solidFill>
                  <a:schemeClr val="accent1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xmlns="" id="{3872A087-F0D9-45BF-8A2E-3A8FD17AE2A0}"/>
              </a:ext>
            </a:extLst>
          </p:cNvPr>
          <p:cNvSpPr txBox="1"/>
          <p:nvPr/>
        </p:nvSpPr>
        <p:spPr>
          <a:xfrm>
            <a:off x="4662132" y="2707073"/>
            <a:ext cx="949185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70" b="1" dirty="0">
                <a:solidFill>
                  <a:schemeClr val="accent1">
                    <a:lumMod val="50000"/>
                  </a:schemeClr>
                </a:solidFill>
              </a:rPr>
              <a:t>89 mil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xmlns="" id="{22517DD0-5824-46C0-BF90-016576660A8E}"/>
              </a:ext>
            </a:extLst>
          </p:cNvPr>
          <p:cNvSpPr txBox="1"/>
          <p:nvPr/>
        </p:nvSpPr>
        <p:spPr>
          <a:xfrm>
            <a:off x="4662132" y="3988491"/>
            <a:ext cx="861615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70" b="1" dirty="0">
                <a:solidFill>
                  <a:schemeClr val="accent1">
                    <a:lumMod val="50000"/>
                  </a:schemeClr>
                </a:solidFill>
              </a:rPr>
              <a:t>197 mil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xmlns="" id="{2F288A30-25E5-45D3-A936-40BD7D59A9BC}"/>
              </a:ext>
            </a:extLst>
          </p:cNvPr>
          <p:cNvSpPr txBox="1"/>
          <p:nvPr/>
        </p:nvSpPr>
        <p:spPr>
          <a:xfrm>
            <a:off x="6087234" y="3999875"/>
            <a:ext cx="939700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70" b="1" dirty="0">
                <a:solidFill>
                  <a:schemeClr val="accent1">
                    <a:lumMod val="50000"/>
                  </a:schemeClr>
                </a:solidFill>
              </a:rPr>
              <a:t>24</a:t>
            </a:r>
            <a:r>
              <a:rPr lang="pt-BR" sz="1470" b="1" baseline="30000" dirty="0">
                <a:solidFill>
                  <a:schemeClr val="accent1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xmlns="" id="{8CC6F064-E5FF-4828-8327-0E67AEE28E16}"/>
              </a:ext>
            </a:extLst>
          </p:cNvPr>
          <p:cNvSpPr txBox="1"/>
          <p:nvPr/>
        </p:nvSpPr>
        <p:spPr>
          <a:xfrm>
            <a:off x="7286431" y="2707073"/>
            <a:ext cx="1210619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70" b="1" dirty="0">
                <a:solidFill>
                  <a:schemeClr val="accent1">
                    <a:lumMod val="50000"/>
                  </a:schemeClr>
                </a:solidFill>
              </a:rPr>
              <a:t>R$ 299 MM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xmlns="" id="{39C45455-CAF4-4670-B39D-C8E4F9D2CF18}"/>
              </a:ext>
            </a:extLst>
          </p:cNvPr>
          <p:cNvSpPr txBox="1"/>
          <p:nvPr/>
        </p:nvSpPr>
        <p:spPr>
          <a:xfrm>
            <a:off x="6008225" y="2735852"/>
            <a:ext cx="1006129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70" b="1" dirty="0">
                <a:solidFill>
                  <a:schemeClr val="accent1">
                    <a:lumMod val="50000"/>
                  </a:schemeClr>
                </a:solidFill>
              </a:rPr>
              <a:t>26 + DF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xmlns="" id="{826FDBFE-C0BF-4ED4-9704-313081278DD5}"/>
              </a:ext>
            </a:extLst>
          </p:cNvPr>
          <p:cNvSpPr txBox="1"/>
          <p:nvPr/>
        </p:nvSpPr>
        <p:spPr>
          <a:xfrm>
            <a:off x="7286431" y="3999875"/>
            <a:ext cx="1385659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70" b="1" dirty="0">
                <a:solidFill>
                  <a:schemeClr val="accent1">
                    <a:lumMod val="50000"/>
                  </a:schemeClr>
                </a:solidFill>
              </a:rPr>
              <a:t>R$ 406 MM</a:t>
            </a:r>
            <a:r>
              <a:rPr lang="pt-BR" sz="1470" b="1" baseline="30000" dirty="0">
                <a:solidFill>
                  <a:schemeClr val="accent1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xmlns="" id="{E629433A-670D-476D-9F9F-356EB7ED9DF4}"/>
              </a:ext>
            </a:extLst>
          </p:cNvPr>
          <p:cNvSpPr/>
          <p:nvPr/>
        </p:nvSpPr>
        <p:spPr>
          <a:xfrm>
            <a:off x="1383450" y="3359353"/>
            <a:ext cx="7590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+ 391 </a:t>
            </a:r>
          </a:p>
          <a:p>
            <a:pPr algn="ctr"/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novas</a:t>
            </a:r>
          </a:p>
          <a:p>
            <a:pPr algn="ctr"/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escolas 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xmlns="" id="{3D150D0B-1EB1-4AF0-99F9-F388847BA92B}"/>
              </a:ext>
            </a:extLst>
          </p:cNvPr>
          <p:cNvSpPr/>
          <p:nvPr/>
        </p:nvSpPr>
        <p:spPr>
          <a:xfrm>
            <a:off x="3612480" y="3323603"/>
            <a:ext cx="8911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+ 108 mil </a:t>
            </a:r>
          </a:p>
          <a:p>
            <a:pPr algn="ctr"/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novas</a:t>
            </a:r>
          </a:p>
          <a:p>
            <a:pPr algn="ctr"/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matrículas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xmlns="" id="{4B6DF320-7133-4D66-AE21-BE1108B3B67C}"/>
              </a:ext>
            </a:extLst>
          </p:cNvPr>
          <p:cNvSpPr txBox="1"/>
          <p:nvPr/>
        </p:nvSpPr>
        <p:spPr>
          <a:xfrm>
            <a:off x="7251387" y="2979237"/>
            <a:ext cx="11252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57% custeio</a:t>
            </a:r>
          </a:p>
          <a:p>
            <a:pPr algn="ctr"/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43% capital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xmlns="" id="{5FCA4C81-D2E6-4DC5-97BE-E770CE916A21}"/>
              </a:ext>
            </a:extLst>
          </p:cNvPr>
          <p:cNvSpPr txBox="1"/>
          <p:nvPr/>
        </p:nvSpPr>
        <p:spPr>
          <a:xfrm>
            <a:off x="2315946" y="4277932"/>
            <a:ext cx="10201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5% da rede estadual</a:t>
            </a: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xmlns="" id="{5D42C99F-CC2A-4C6C-B680-A100C655E453}"/>
              </a:ext>
            </a:extLst>
          </p:cNvPr>
          <p:cNvSpPr txBox="1"/>
          <p:nvPr/>
        </p:nvSpPr>
        <p:spPr>
          <a:xfrm>
            <a:off x="2358276" y="2979237"/>
            <a:ext cx="1065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3% da rede estadual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xmlns="" id="{A2F32F70-4FEF-4911-A7D3-830624E7161D}"/>
              </a:ext>
            </a:extLst>
          </p:cNvPr>
          <p:cNvSpPr txBox="1"/>
          <p:nvPr/>
        </p:nvSpPr>
        <p:spPr>
          <a:xfrm>
            <a:off x="4677929" y="2979237"/>
            <a:ext cx="12137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1,3% da rede estadual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xmlns="" id="{AAF7B5F0-992B-403B-94A1-270B684BFFC3}"/>
              </a:ext>
            </a:extLst>
          </p:cNvPr>
          <p:cNvSpPr txBox="1"/>
          <p:nvPr/>
        </p:nvSpPr>
        <p:spPr>
          <a:xfrm>
            <a:off x="4677928" y="4293830"/>
            <a:ext cx="11819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3,0% da rede estadual</a:t>
            </a: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xmlns="" id="{A6531BB9-B44E-45EB-AB4D-6200E592F69B}"/>
              </a:ext>
            </a:extLst>
          </p:cNvPr>
          <p:cNvSpPr txBox="1"/>
          <p:nvPr/>
        </p:nvSpPr>
        <p:spPr>
          <a:xfrm>
            <a:off x="117657" y="5908720"/>
            <a:ext cx="88106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1-Nº de escolas sujeito a alterações ao longo do ano; 2-Não aderiram à Portaria 2: AP, PR (desejam estabelecer o modelo antes de expandir) e DF ; 3-Repasse realizado/empenhado até o momento. Estima-se que deverão ser empenhados até o final de 2018 R$ 101 MM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xmlns="" id="{42A1AA48-E5C5-4F32-A365-7D3C10193102}"/>
              </a:ext>
            </a:extLst>
          </p:cNvPr>
          <p:cNvSpPr txBox="1"/>
          <p:nvPr/>
        </p:nvSpPr>
        <p:spPr>
          <a:xfrm>
            <a:off x="7317980" y="4278846"/>
            <a:ext cx="11252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57% custeio</a:t>
            </a:r>
          </a:p>
          <a:p>
            <a:pPr algn="ctr"/>
            <a:r>
              <a:rPr lang="pt-BR" sz="1200" dirty="0">
                <a:solidFill>
                  <a:schemeClr val="accent1">
                    <a:lumMod val="50000"/>
                  </a:schemeClr>
                </a:solidFill>
              </a:rPr>
              <a:t>43% capital</a:t>
            </a:r>
          </a:p>
        </p:txBody>
      </p:sp>
      <p:cxnSp>
        <p:nvCxnSpPr>
          <p:cNvPr id="50" name="Conector reto 49">
            <a:extLst>
              <a:ext uri="{FF2B5EF4-FFF2-40B4-BE49-F238E27FC236}">
                <a16:creationId xmlns:a16="http://schemas.microsoft.com/office/drawing/2014/main" xmlns="" id="{E3EE30F9-C0E2-4DCD-B5E1-5F90BFACDAFF}"/>
              </a:ext>
            </a:extLst>
          </p:cNvPr>
          <p:cNvCxnSpPr>
            <a:cxnSpLocks/>
          </p:cNvCxnSpPr>
          <p:nvPr/>
        </p:nvCxnSpPr>
        <p:spPr>
          <a:xfrm>
            <a:off x="3351360" y="1479860"/>
            <a:ext cx="0" cy="3217168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: Angulado 50">
            <a:extLst>
              <a:ext uri="{FF2B5EF4-FFF2-40B4-BE49-F238E27FC236}">
                <a16:creationId xmlns:a16="http://schemas.microsoft.com/office/drawing/2014/main" xmlns="" id="{D7E04A78-BFA5-4FEB-8601-0DCAC46CE99E}"/>
              </a:ext>
            </a:extLst>
          </p:cNvPr>
          <p:cNvCxnSpPr>
            <a:cxnSpLocks/>
            <a:stCxn id="43" idx="1"/>
            <a:endCxn id="42" idx="1"/>
          </p:cNvCxnSpPr>
          <p:nvPr/>
        </p:nvCxnSpPr>
        <p:spPr>
          <a:xfrm rot="10800000" flipV="1">
            <a:off x="2315946" y="3210069"/>
            <a:ext cx="42330" cy="1298695"/>
          </a:xfrm>
          <a:prstGeom prst="bentConnector3">
            <a:avLst>
              <a:gd name="adj1" fmla="val 640043"/>
            </a:avLst>
          </a:prstGeom>
          <a:ln w="57150">
            <a:solidFill>
              <a:srgbClr val="0099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: Angulado 51">
            <a:extLst>
              <a:ext uri="{FF2B5EF4-FFF2-40B4-BE49-F238E27FC236}">
                <a16:creationId xmlns:a16="http://schemas.microsoft.com/office/drawing/2014/main" xmlns="" id="{6F8C43D8-F09E-4040-8899-75CD9DC0DF47}"/>
              </a:ext>
            </a:extLst>
          </p:cNvPr>
          <p:cNvCxnSpPr>
            <a:cxnSpLocks/>
          </p:cNvCxnSpPr>
          <p:nvPr/>
        </p:nvCxnSpPr>
        <p:spPr>
          <a:xfrm rot="10800000" flipV="1">
            <a:off x="4689649" y="3171527"/>
            <a:ext cx="9335" cy="1281109"/>
          </a:xfrm>
          <a:prstGeom prst="bentConnector3">
            <a:avLst>
              <a:gd name="adj1" fmla="val 2812496"/>
            </a:avLst>
          </a:prstGeom>
          <a:ln w="57150">
            <a:solidFill>
              <a:srgbClr val="0099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xmlns="" id="{B2881027-5792-400C-902F-9BAD5E1C27A7}"/>
              </a:ext>
            </a:extLst>
          </p:cNvPr>
          <p:cNvCxnSpPr>
            <a:cxnSpLocks/>
          </p:cNvCxnSpPr>
          <p:nvPr/>
        </p:nvCxnSpPr>
        <p:spPr>
          <a:xfrm>
            <a:off x="5767315" y="1479860"/>
            <a:ext cx="0" cy="3217168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to 53">
            <a:extLst>
              <a:ext uri="{FF2B5EF4-FFF2-40B4-BE49-F238E27FC236}">
                <a16:creationId xmlns:a16="http://schemas.microsoft.com/office/drawing/2014/main" xmlns="" id="{7463767C-F228-4F80-840A-AEF4462300A5}"/>
              </a:ext>
            </a:extLst>
          </p:cNvPr>
          <p:cNvCxnSpPr>
            <a:cxnSpLocks/>
          </p:cNvCxnSpPr>
          <p:nvPr/>
        </p:nvCxnSpPr>
        <p:spPr>
          <a:xfrm>
            <a:off x="7093365" y="1479860"/>
            <a:ext cx="0" cy="3217168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to 54">
            <a:extLst>
              <a:ext uri="{FF2B5EF4-FFF2-40B4-BE49-F238E27FC236}">
                <a16:creationId xmlns:a16="http://schemas.microsoft.com/office/drawing/2014/main" xmlns="" id="{D2832918-CD49-4E51-82E2-8E5E6D0A3738}"/>
              </a:ext>
            </a:extLst>
          </p:cNvPr>
          <p:cNvCxnSpPr>
            <a:cxnSpLocks/>
          </p:cNvCxnSpPr>
          <p:nvPr/>
        </p:nvCxnSpPr>
        <p:spPr>
          <a:xfrm flipH="1">
            <a:off x="130744" y="3568502"/>
            <a:ext cx="1382571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 reto 55">
            <a:extLst>
              <a:ext uri="{FF2B5EF4-FFF2-40B4-BE49-F238E27FC236}">
                <a16:creationId xmlns:a16="http://schemas.microsoft.com/office/drawing/2014/main" xmlns="" id="{C83B4034-4366-456D-850B-DFC337BD47CE}"/>
              </a:ext>
            </a:extLst>
          </p:cNvPr>
          <p:cNvCxnSpPr>
            <a:cxnSpLocks/>
          </p:cNvCxnSpPr>
          <p:nvPr/>
        </p:nvCxnSpPr>
        <p:spPr>
          <a:xfrm flipH="1">
            <a:off x="2247251" y="3568502"/>
            <a:ext cx="945646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to 56">
            <a:extLst>
              <a:ext uri="{FF2B5EF4-FFF2-40B4-BE49-F238E27FC236}">
                <a16:creationId xmlns:a16="http://schemas.microsoft.com/office/drawing/2014/main" xmlns="" id="{545EE5E4-C603-4BFB-A627-593E5AF04432}"/>
              </a:ext>
            </a:extLst>
          </p:cNvPr>
          <p:cNvCxnSpPr>
            <a:cxnSpLocks/>
          </p:cNvCxnSpPr>
          <p:nvPr/>
        </p:nvCxnSpPr>
        <p:spPr>
          <a:xfrm flipH="1">
            <a:off x="3476505" y="3568502"/>
            <a:ext cx="261791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 reto 57">
            <a:extLst>
              <a:ext uri="{FF2B5EF4-FFF2-40B4-BE49-F238E27FC236}">
                <a16:creationId xmlns:a16="http://schemas.microsoft.com/office/drawing/2014/main" xmlns="" id="{EE0A3911-0F55-4BE5-983B-4B733C8F52D8}"/>
              </a:ext>
            </a:extLst>
          </p:cNvPr>
          <p:cNvCxnSpPr>
            <a:cxnSpLocks/>
          </p:cNvCxnSpPr>
          <p:nvPr/>
        </p:nvCxnSpPr>
        <p:spPr>
          <a:xfrm flipH="1">
            <a:off x="4543621" y="3568502"/>
            <a:ext cx="113018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to 58">
            <a:extLst>
              <a:ext uri="{FF2B5EF4-FFF2-40B4-BE49-F238E27FC236}">
                <a16:creationId xmlns:a16="http://schemas.microsoft.com/office/drawing/2014/main" xmlns="" id="{EA6DA79D-5CF5-44B3-AED1-730D264DC527}"/>
              </a:ext>
            </a:extLst>
          </p:cNvPr>
          <p:cNvCxnSpPr>
            <a:cxnSpLocks/>
          </p:cNvCxnSpPr>
          <p:nvPr/>
        </p:nvCxnSpPr>
        <p:spPr>
          <a:xfrm flipH="1">
            <a:off x="5859832" y="3568502"/>
            <a:ext cx="1130189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to 59">
            <a:extLst>
              <a:ext uri="{FF2B5EF4-FFF2-40B4-BE49-F238E27FC236}">
                <a16:creationId xmlns:a16="http://schemas.microsoft.com/office/drawing/2014/main" xmlns="" id="{3ED3213F-9071-4871-B0A0-A2CE990F8C51}"/>
              </a:ext>
            </a:extLst>
          </p:cNvPr>
          <p:cNvCxnSpPr>
            <a:cxnSpLocks/>
          </p:cNvCxnSpPr>
          <p:nvPr/>
        </p:nvCxnSpPr>
        <p:spPr>
          <a:xfrm flipH="1">
            <a:off x="7166709" y="3568502"/>
            <a:ext cx="1330341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Imagem 61">
            <a:extLst>
              <a:ext uri="{FF2B5EF4-FFF2-40B4-BE49-F238E27FC236}">
                <a16:creationId xmlns:a16="http://schemas.microsoft.com/office/drawing/2014/main" xmlns="" id="{5E67B8ED-B711-416A-986E-B624013962E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040589" y="1433096"/>
            <a:ext cx="773419" cy="589722"/>
          </a:xfrm>
          <a:prstGeom prst="rect">
            <a:avLst/>
          </a:prstGeom>
        </p:spPr>
      </p:pic>
      <p:pic>
        <p:nvPicPr>
          <p:cNvPr id="63" name="Imagem 62">
            <a:extLst>
              <a:ext uri="{FF2B5EF4-FFF2-40B4-BE49-F238E27FC236}">
                <a16:creationId xmlns:a16="http://schemas.microsoft.com/office/drawing/2014/main" xmlns="" id="{7366A035-27BD-4C07-BA4A-E8C771E29E8E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84548" y="1408479"/>
            <a:ext cx="718146" cy="718146"/>
          </a:xfrm>
          <a:prstGeom prst="rect">
            <a:avLst/>
          </a:prstGeom>
        </p:spPr>
      </p:pic>
      <p:pic>
        <p:nvPicPr>
          <p:cNvPr id="64" name="Imagem 63">
            <a:extLst>
              <a:ext uri="{FF2B5EF4-FFF2-40B4-BE49-F238E27FC236}">
                <a16:creationId xmlns:a16="http://schemas.microsoft.com/office/drawing/2014/main" xmlns="" id="{6516E28F-00CB-4E76-9EDC-0229454D07AE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497896" y="1412824"/>
            <a:ext cx="656029" cy="656029"/>
          </a:xfrm>
          <a:prstGeom prst="rect">
            <a:avLst/>
          </a:prstGeom>
        </p:spPr>
      </p:pic>
      <p:pic>
        <p:nvPicPr>
          <p:cNvPr id="65" name="Gráfico 64" descr="Marcador">
            <a:extLst>
              <a:ext uri="{FF2B5EF4-FFF2-40B4-BE49-F238E27FC236}">
                <a16:creationId xmlns:a16="http://schemas.microsoft.com/office/drawing/2014/main" xmlns="" id="{25FC2759-A0DC-45A0-B06A-30D6295F8A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6060473" y="1320348"/>
            <a:ext cx="775174" cy="868276"/>
          </a:xfrm>
          <a:prstGeom prst="rect">
            <a:avLst/>
          </a:prstGeom>
        </p:spPr>
      </p:pic>
      <p:sp>
        <p:nvSpPr>
          <p:cNvPr id="46" name="Balão de Fala: Retângulo 45">
            <a:extLst>
              <a:ext uri="{FF2B5EF4-FFF2-40B4-BE49-F238E27FC236}">
                <a16:creationId xmlns:a16="http://schemas.microsoft.com/office/drawing/2014/main" xmlns="" id="{53A27142-046C-4939-8A8B-7BE7701131E3}"/>
              </a:ext>
            </a:extLst>
          </p:cNvPr>
          <p:cNvSpPr/>
          <p:nvPr/>
        </p:nvSpPr>
        <p:spPr>
          <a:xfrm>
            <a:off x="3851286" y="5004941"/>
            <a:ext cx="2409814" cy="523220"/>
          </a:xfrm>
          <a:prstGeom prst="wedgeRectCallout">
            <a:avLst>
              <a:gd name="adj1" fmla="val -10740"/>
              <a:gd name="adj2" fmla="val -102555"/>
            </a:avLst>
          </a:prstGeom>
          <a:solidFill>
            <a:srgbClr val="002060"/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rgbClr val="FFFFFF"/>
                </a:solidFill>
                <a:latin typeface="+mn-lt"/>
              </a:rPr>
              <a:t>Projeção 2020 (P1+P2+p3): </a:t>
            </a:r>
            <a:r>
              <a:rPr lang="pt-BR" sz="1400" b="1" dirty="0">
                <a:solidFill>
                  <a:srgbClr val="FFFFFF"/>
                </a:solidFill>
              </a:rPr>
              <a:t>4</a:t>
            </a:r>
            <a:r>
              <a:rPr lang="pt-BR" sz="1400" b="1" dirty="0">
                <a:solidFill>
                  <a:srgbClr val="FFFFFF"/>
                </a:solidFill>
                <a:latin typeface="+mn-lt"/>
              </a:rPr>
              <a:t>26 mil (</a:t>
            </a:r>
            <a:r>
              <a:rPr lang="pt-BR" sz="1400" b="1" dirty="0">
                <a:solidFill>
                  <a:srgbClr val="FFFFFF"/>
                </a:solidFill>
              </a:rPr>
              <a:t>6</a:t>
            </a:r>
            <a:r>
              <a:rPr lang="pt-BR" sz="1400" b="1" dirty="0">
                <a:solidFill>
                  <a:srgbClr val="FFFFFF"/>
                </a:solidFill>
                <a:latin typeface="+mn-lt"/>
              </a:rPr>
              <a:t>% da rede)</a:t>
            </a:r>
          </a:p>
        </p:txBody>
      </p:sp>
      <p:sp>
        <p:nvSpPr>
          <p:cNvPr id="5" name="Balão de Fala: Oval 4">
            <a:extLst>
              <a:ext uri="{FF2B5EF4-FFF2-40B4-BE49-F238E27FC236}">
                <a16:creationId xmlns:a16="http://schemas.microsoft.com/office/drawing/2014/main" xmlns="" id="{A8E0D27D-199A-48A8-BA46-A6C61425CE4F}"/>
              </a:ext>
            </a:extLst>
          </p:cNvPr>
          <p:cNvSpPr/>
          <p:nvPr/>
        </p:nvSpPr>
        <p:spPr>
          <a:xfrm>
            <a:off x="363706" y="4860191"/>
            <a:ext cx="3248774" cy="1011295"/>
          </a:xfrm>
          <a:prstGeom prst="wedgeEllipseCallout">
            <a:avLst>
              <a:gd name="adj1" fmla="val -34641"/>
              <a:gd name="adj2" fmla="val -79455"/>
            </a:avLst>
          </a:prstGeom>
          <a:solidFill>
            <a:srgbClr val="002060"/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rgbClr val="FFFFFF"/>
                </a:solidFill>
              </a:rPr>
              <a:t>Em 2018,o MEC publicou a P3 com 312 escolas, sendo 152 garantidas (início de implantação em 2019) </a:t>
            </a:r>
          </a:p>
        </p:txBody>
      </p:sp>
    </p:spTree>
    <p:extLst>
      <p:ext uri="{BB962C8B-B14F-4D97-AF65-F5344CB8AC3E}">
        <p14:creationId xmlns:p14="http://schemas.microsoft.com/office/powerpoint/2010/main" val="27980044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xmlns="" id="{485993ED-BDC2-46F4-B34B-47443039A2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Slide do think-cell" r:id="rId23" imgW="421" imgH="423" progId="TCLayout.ActiveDocument.1">
                  <p:embed/>
                </p:oleObj>
              </mc:Choice>
              <mc:Fallback>
                <p:oleObj name="Slide do think-cell" r:id="rId23" imgW="421" imgH="423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xmlns="" id="{485993ED-BDC2-46F4-B34B-47443039A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9E87B52A-930C-4819-A31C-B741C9F0B64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dirty="0">
              <a:latin typeface="Candara" panose="020E0502030303020204" pitchFamily="34" charset="0"/>
              <a:ea typeface="+mj-ea"/>
              <a:cs typeface="+mj-cs"/>
              <a:sym typeface="Candara" panose="020E0502030303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0EDF407F-6AEA-4863-86E3-2BF840C6A6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174" y="821987"/>
            <a:ext cx="8227378" cy="528182"/>
          </a:xfrm>
        </p:spPr>
        <p:txBody>
          <a:bodyPr>
            <a:noAutofit/>
          </a:bodyPr>
          <a:lstStyle/>
          <a:p>
            <a:r>
              <a:rPr lang="pt-BR" sz="1800" cap="none" dirty="0">
                <a:solidFill>
                  <a:schemeClr val="bg2"/>
                </a:solidFill>
              </a:rPr>
              <a:t>O EMTI tem impacto equivalente a aumentar cerca de três anos letivos em comparação às escolas parciais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xmlns="" id="{40047A66-DEC8-4055-8723-4E9E0F9A0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1" name="Espaço Reservado para Texto 3">
            <a:extLst>
              <a:ext uri="{FF2B5EF4-FFF2-40B4-BE49-F238E27FC236}">
                <a16:creationId xmlns:a16="http://schemas.microsoft.com/office/drawing/2014/main" xmlns="" id="{20CEB5AA-0CA8-44FF-A202-AB819B76EC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8344" y="4597792"/>
            <a:ext cx="7180508" cy="1028328"/>
          </a:xfrm>
          <a:prstGeom prst="roundRect">
            <a:avLst/>
          </a:prstGeom>
          <a:solidFill>
            <a:srgbClr val="FFFFFF"/>
          </a:solidFill>
          <a:ln w="3175">
            <a:solidFill>
              <a:schemeClr val="tx2"/>
            </a:solidFill>
            <a:prstDash val="sysDot"/>
          </a:ln>
        </p:spPr>
        <p:txBody>
          <a:bodyPr lIns="36000" rIns="36000" anchor="ctr">
            <a:noAutofit/>
          </a:bodyPr>
          <a:lstStyle/>
          <a:p>
            <a:pPr marL="0" indent="0" algn="ctr">
              <a:buNone/>
            </a:pPr>
            <a:r>
              <a:rPr lang="pt-BR" sz="1600" dirty="0">
                <a:solidFill>
                  <a:schemeClr val="tx2"/>
                </a:solidFill>
              </a:rPr>
              <a:t>Impacto do programa </a:t>
            </a:r>
            <a:r>
              <a:rPr lang="pt-BR" sz="1600" b="1" dirty="0">
                <a:solidFill>
                  <a:schemeClr val="tx2"/>
                </a:solidFill>
              </a:rPr>
              <a:t>equivale a 0,7 ano letivo a mais de aula do que em uma escola de tempo parcial </a:t>
            </a:r>
            <a:r>
              <a:rPr lang="pt-BR" sz="1600" dirty="0">
                <a:solidFill>
                  <a:schemeClr val="tx2"/>
                </a:solidFill>
              </a:rPr>
              <a:t>ou ~</a:t>
            </a:r>
            <a:r>
              <a:rPr lang="pt-BR" sz="1600" b="1" dirty="0">
                <a:solidFill>
                  <a:schemeClr val="tx2"/>
                </a:solidFill>
              </a:rPr>
              <a:t>3 anos a mais de aula em uma escola estadual média brasileira de tempo parcial </a:t>
            </a:r>
            <a:r>
              <a:rPr lang="pt-BR" sz="1600" dirty="0">
                <a:solidFill>
                  <a:schemeClr val="tx2"/>
                </a:solidFill>
              </a:rPr>
              <a:t>(evolução tem sido ~14 pontos em 3 anos)</a:t>
            </a:r>
            <a:endParaRPr lang="pt-BR" sz="1600" b="1" dirty="0">
              <a:solidFill>
                <a:schemeClr val="tx2"/>
              </a:solidFill>
            </a:endParaRPr>
          </a:p>
        </p:txBody>
      </p:sp>
      <p:graphicFrame>
        <p:nvGraphicFramePr>
          <p:cNvPr id="51" name="Chart 3">
            <a:extLst>
              <a:ext uri="{FF2B5EF4-FFF2-40B4-BE49-F238E27FC236}">
                <a16:creationId xmlns:a16="http://schemas.microsoft.com/office/drawing/2014/main" xmlns="" id="{1FEACF79-30CD-47E8-9AF2-E64AD60009B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99400277"/>
              </p:ext>
            </p:extLst>
          </p:nvPr>
        </p:nvGraphicFramePr>
        <p:xfrm>
          <a:off x="659076" y="2382436"/>
          <a:ext cx="3863975" cy="1836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 useBgFill="1">
        <p:nvSpPr>
          <p:cNvPr id="29" name="Forma Livre: Forma 28">
            <a:extLst>
              <a:ext uri="{FF2B5EF4-FFF2-40B4-BE49-F238E27FC236}">
                <a16:creationId xmlns:a16="http://schemas.microsoft.com/office/drawing/2014/main" xmlns="" id="{C9663859-78EA-491C-8461-751022C57FF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51176" y="3669899"/>
            <a:ext cx="1430339" cy="442913"/>
          </a:xfrm>
          <a:custGeom>
            <a:avLst/>
            <a:gdLst/>
            <a:ahLst/>
            <a:cxnLst/>
            <a:rect l="0" t="0" r="0" b="0"/>
            <a:pathLst>
              <a:path w="1430339" h="442913">
                <a:moveTo>
                  <a:pt x="0" y="385762"/>
                </a:moveTo>
                <a:lnTo>
                  <a:pt x="1430338" y="0"/>
                </a:lnTo>
                <a:lnTo>
                  <a:pt x="1430338" y="57150"/>
                </a:lnTo>
                <a:lnTo>
                  <a:pt x="0" y="442912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 useBgFill="1">
        <p:nvSpPr>
          <p:cNvPr id="33" name="Forma Livre: Forma 32">
            <a:extLst>
              <a:ext uri="{FF2B5EF4-FFF2-40B4-BE49-F238E27FC236}">
                <a16:creationId xmlns:a16="http://schemas.microsoft.com/office/drawing/2014/main" xmlns="" id="{C0C80BE0-7576-4CD5-8ACE-C61774D1657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800614" y="3669899"/>
            <a:ext cx="1430338" cy="442913"/>
          </a:xfrm>
          <a:custGeom>
            <a:avLst/>
            <a:gdLst/>
            <a:ahLst/>
            <a:cxnLst/>
            <a:rect l="0" t="0" r="0" b="0"/>
            <a:pathLst>
              <a:path w="1430338" h="442913">
                <a:moveTo>
                  <a:pt x="0" y="385762"/>
                </a:moveTo>
                <a:lnTo>
                  <a:pt x="1430337" y="0"/>
                </a:lnTo>
                <a:lnTo>
                  <a:pt x="1430337" y="57150"/>
                </a:lnTo>
                <a:lnTo>
                  <a:pt x="0" y="442912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Forma Livre: Forma 29">
            <a:extLst>
              <a:ext uri="{FF2B5EF4-FFF2-40B4-BE49-F238E27FC236}">
                <a16:creationId xmlns:a16="http://schemas.microsoft.com/office/drawing/2014/main" xmlns="" id="{8298AD3C-5639-49CA-B1AB-3749AC6F108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800614" y="3669899"/>
            <a:ext cx="1430338" cy="385763"/>
          </a:xfrm>
          <a:custGeom>
            <a:avLst/>
            <a:gdLst/>
            <a:ahLst/>
            <a:cxnLst/>
            <a:rect l="0" t="0" r="0" b="0"/>
            <a:pathLst>
              <a:path w="1430338" h="385763">
                <a:moveTo>
                  <a:pt x="0" y="385762"/>
                </a:moveTo>
                <a:lnTo>
                  <a:pt x="1430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7" name="Forma Livre: Forma 26">
            <a:extLst>
              <a:ext uri="{FF2B5EF4-FFF2-40B4-BE49-F238E27FC236}">
                <a16:creationId xmlns:a16="http://schemas.microsoft.com/office/drawing/2014/main" xmlns="" id="{DD4EE572-CFE0-4888-AE02-E8DD7A13211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51176" y="3669899"/>
            <a:ext cx="1430339" cy="385763"/>
          </a:xfrm>
          <a:custGeom>
            <a:avLst/>
            <a:gdLst/>
            <a:ahLst/>
            <a:cxnLst/>
            <a:rect l="0" t="0" r="0" b="0"/>
            <a:pathLst>
              <a:path w="1430339" h="385763">
                <a:moveTo>
                  <a:pt x="0" y="385762"/>
                </a:moveTo>
                <a:lnTo>
                  <a:pt x="14303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8" name="Forma Livre: Forma 27">
            <a:extLst>
              <a:ext uri="{FF2B5EF4-FFF2-40B4-BE49-F238E27FC236}">
                <a16:creationId xmlns:a16="http://schemas.microsoft.com/office/drawing/2014/main" xmlns="" id="{A02E830B-1505-428E-A0AC-AD4D5276909F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51176" y="3727049"/>
            <a:ext cx="1430339" cy="385763"/>
          </a:xfrm>
          <a:custGeom>
            <a:avLst/>
            <a:gdLst/>
            <a:ahLst/>
            <a:cxnLst/>
            <a:rect l="0" t="0" r="0" b="0"/>
            <a:pathLst>
              <a:path w="1430339" h="385763">
                <a:moveTo>
                  <a:pt x="0" y="385762"/>
                </a:moveTo>
                <a:lnTo>
                  <a:pt x="14303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1" name="Forma Livre: Forma 30">
            <a:extLst>
              <a:ext uri="{FF2B5EF4-FFF2-40B4-BE49-F238E27FC236}">
                <a16:creationId xmlns:a16="http://schemas.microsoft.com/office/drawing/2014/main" xmlns="" id="{66B9567B-3000-479D-B497-FA6477EC630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800614" y="3727049"/>
            <a:ext cx="1430338" cy="385763"/>
          </a:xfrm>
          <a:custGeom>
            <a:avLst/>
            <a:gdLst/>
            <a:ahLst/>
            <a:cxnLst/>
            <a:rect l="0" t="0" r="0" b="0"/>
            <a:pathLst>
              <a:path w="1430338" h="385763">
                <a:moveTo>
                  <a:pt x="0" y="385762"/>
                </a:moveTo>
                <a:lnTo>
                  <a:pt x="1430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xmlns="" id="{DD34AD1D-F264-405E-81B6-36E7B45A369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000639" y="3373036"/>
            <a:ext cx="3698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F5E4D9E7-288A-4A00-BD27-1B86B4190EDB}" type="datetime'''''''''''''''''''''''''2''''''''''40'''''''''''''''">
              <a:rPr lang="pt-BR" altLang="en-US" sz="1600" cap="none" smtClean="0">
                <a:latin typeface="+mn-lt"/>
                <a:ea typeface="+mj-ea"/>
                <a:cs typeface="+mj-cs"/>
                <a:sym typeface="+mn-lt"/>
              </a:rPr>
              <a:pPr>
                <a:spcBef>
                  <a:spcPct val="0"/>
                </a:spcBef>
              </a:pPr>
              <a:t>240</a:t>
            </a:fld>
            <a:endParaRPr lang="pt-BR" sz="1600" cap="none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xmlns="" id="{D7B32B6D-3CE3-4C08-8BFB-E9AE700EFF2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830652" y="2195111"/>
            <a:ext cx="3349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C91C394F-9357-4170-B80B-28ED27959483}" type="datetime'''''''''''''2''6''''1'''''''''''''''''''''''''''''''''''">
              <a:rPr lang="pt-BR" altLang="en-US" sz="1600" cap="none" smtClean="0">
                <a:latin typeface="+mn-lt"/>
                <a:ea typeface="+mj-ea"/>
                <a:cs typeface="+mj-cs"/>
                <a:sym typeface="+mn-lt"/>
              </a:rPr>
              <a:pPr>
                <a:spcBef>
                  <a:spcPct val="0"/>
                </a:spcBef>
              </a:pPr>
              <a:t>261</a:t>
            </a:fld>
            <a:endParaRPr lang="pt-BR" sz="1600" cap="none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xmlns="" id="{7FAC9127-ABC3-44A7-9203-0AE1B08A758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240351" y="4195361"/>
            <a:ext cx="550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pt-BR" altLang="en-US" sz="1400" b="1" cap="none" dirty="0">
                <a:latin typeface="+mj-lt"/>
                <a:ea typeface="+mj-ea"/>
                <a:cs typeface="+mj-cs"/>
                <a:sym typeface="+mj-lt"/>
              </a:rPr>
              <a:t>L Portuguesa</a:t>
            </a:r>
            <a:endParaRPr lang="pt-BR" sz="1400" b="1" cap="none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xmlns="" id="{54C00021-356E-4614-84A9-D5AD4D411F7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205176" y="4195361"/>
            <a:ext cx="9207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D97FE0AF-8F0C-47A0-A529-A568BA62CDA7}" type="datetime'''''''''''''''Mat''e''m''''''''''''''''''''á''''tic''''a'''">
              <a:rPr lang="pt-BR" altLang="en-US" sz="1400" b="1" cap="none">
                <a:solidFill>
                  <a:schemeClr val="bg2"/>
                </a:solidFill>
                <a:latin typeface="+mj-lt"/>
                <a:ea typeface="+mj-ea"/>
                <a:cs typeface="+mj-cs"/>
                <a:sym typeface="+mj-lt"/>
              </a:rPr>
              <a:pPr>
                <a:spcBef>
                  <a:spcPct val="0"/>
                </a:spcBef>
              </a:pPr>
              <a:t>Matemática</a:t>
            </a:fld>
            <a:endParaRPr lang="pt-BR" sz="1400" b="1" cap="none" dirty="0">
              <a:solidFill>
                <a:schemeClr val="bg2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xmlns="" id="{64B56BB6-6DEA-4A9E-83D3-762FD2558FB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151201" y="2882499"/>
            <a:ext cx="3698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195DAB00-C7F8-4A45-BE35-91BEFD9EBC5E}" type="datetime'''2''''''''4''''''''''''''''''''''9'''''''''''''''''''''''''''">
              <a:rPr lang="pt-BR" altLang="en-US" sz="1600" cap="none" smtClean="0">
                <a:latin typeface="+mn-lt"/>
                <a:ea typeface="+mj-ea"/>
                <a:cs typeface="+mj-cs"/>
                <a:sym typeface="+mn-lt"/>
              </a:rPr>
              <a:pPr>
                <a:spcBef>
                  <a:spcPct val="0"/>
                </a:spcBef>
              </a:pPr>
              <a:t>249</a:t>
            </a:fld>
            <a:endParaRPr lang="pt-BR" sz="1600" cap="none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xmlns="" id="{20F5D192-A9E4-4A50-87A9-741C91C08BF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665801" y="2468161"/>
            <a:ext cx="3635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7C7B793A-3A4B-4FDA-A889-122C26F9C3C2}" type="datetime'''2''''''''''''''5''''''''''''''''6'''''''''''''">
              <a:rPr lang="pt-BR" altLang="en-US" sz="1600" cap="none" smtClean="0">
                <a:latin typeface="+mn-lt"/>
                <a:ea typeface="+mj-ea"/>
                <a:cs typeface="+mj-cs"/>
                <a:sym typeface="+mn-lt"/>
              </a:rPr>
              <a:pPr>
                <a:spcBef>
                  <a:spcPct val="0"/>
                </a:spcBef>
              </a:pPr>
              <a:t>256</a:t>
            </a:fld>
            <a:endParaRPr lang="pt-BR" sz="1600" cap="none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8EC6794-65DE-4905-B8F4-125BE4898C8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511939" y="3593699"/>
            <a:ext cx="250825" cy="187325"/>
          </a:xfrm>
          <a:prstGeom prst="rect">
            <a:avLst/>
          </a:prstGeom>
          <a:solidFill>
            <a:srgbClr val="C0C0C0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5C772B07-440E-46E4-B5F9-BB31A5617A10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4511939" y="3857224"/>
            <a:ext cx="250825" cy="18732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0E8C955-D776-4D1A-B1C5-25380EC9310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13564" y="3588936"/>
            <a:ext cx="5810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</a:pPr>
            <a:r>
              <a:rPr lang="pt-BR" altLang="en-US" sz="1400" cap="none" dirty="0">
                <a:latin typeface="+mj-lt"/>
                <a:ea typeface="+mj-ea"/>
                <a:cs typeface="+mj-cs"/>
                <a:sym typeface="+mj-lt"/>
              </a:rPr>
              <a:t>Regular</a:t>
            </a:r>
            <a:endParaRPr lang="pt-BR" sz="1400" cap="none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xmlns="" id="{47B0CEF4-ED32-482B-B72E-D0BA2B9ED4E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813564" y="3852461"/>
            <a:ext cx="5873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</a:pPr>
            <a:r>
              <a:rPr lang="pt-BR" altLang="en-US" sz="1400" cap="none" dirty="0">
                <a:latin typeface="+mj-lt"/>
                <a:ea typeface="+mj-ea"/>
                <a:cs typeface="+mj-cs"/>
                <a:sym typeface="+mj-lt"/>
              </a:rPr>
              <a:t>Integral</a:t>
            </a:r>
            <a:endParaRPr lang="pt-BR" sz="1400" cap="none" dirty="0">
              <a:latin typeface="+mj-lt"/>
              <a:ea typeface="+mj-ea"/>
              <a:cs typeface="+mj-cs"/>
              <a:sym typeface="+mj-lt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xmlns="" id="{5F616A48-820B-47E8-A98D-4F420721292D}"/>
              </a:ext>
            </a:extLst>
          </p:cNvPr>
          <p:cNvGrpSpPr/>
          <p:nvPr/>
        </p:nvGrpSpPr>
        <p:grpSpPr>
          <a:xfrm>
            <a:off x="1062301" y="1707749"/>
            <a:ext cx="1093206" cy="1054466"/>
            <a:chOff x="530188" y="2299780"/>
            <a:chExt cx="1093206" cy="1196034"/>
          </a:xfrm>
        </p:grpSpPr>
        <p:cxnSp>
          <p:nvCxnSpPr>
            <p:cNvPr id="82" name="Connector: Elbow 81">
              <a:extLst>
                <a:ext uri="{FF2B5EF4-FFF2-40B4-BE49-F238E27FC236}">
                  <a16:creationId xmlns:a16="http://schemas.microsoft.com/office/drawing/2014/main" xmlns="" id="{2846E467-6F72-4301-A74C-B210FBDD559C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830834" y="2869148"/>
              <a:ext cx="590550" cy="662781"/>
            </a:xfrm>
            <a:prstGeom prst="bentConnector3">
              <a:avLst>
                <a:gd name="adj1" fmla="val 138710"/>
              </a:avLst>
            </a:prstGeom>
            <a:ln w="12700">
              <a:solidFill>
                <a:schemeClr val="accent1">
                  <a:lumMod val="40000"/>
                  <a:lumOff val="60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xmlns="" id="{F3D80008-CC89-47A2-BC64-D3D5400402CE}"/>
                </a:ext>
              </a:extLst>
            </p:cNvPr>
            <p:cNvSpPr txBox="1"/>
            <p:nvPr/>
          </p:nvSpPr>
          <p:spPr>
            <a:xfrm>
              <a:off x="530188" y="2299780"/>
              <a:ext cx="1093206" cy="3840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chemeClr val="accent1"/>
                  </a:solidFill>
                  <a:latin typeface="+mj-lt"/>
                </a:rPr>
                <a:t>0,17 std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xmlns="" id="{DDFF20B5-ABEC-478D-A54A-CA34A12DE63A}"/>
              </a:ext>
            </a:extLst>
          </p:cNvPr>
          <p:cNvGrpSpPr/>
          <p:nvPr/>
        </p:nvGrpSpPr>
        <p:grpSpPr>
          <a:xfrm>
            <a:off x="2948251" y="1967504"/>
            <a:ext cx="979488" cy="1308289"/>
            <a:chOff x="2482766" y="2542658"/>
            <a:chExt cx="979488" cy="1308289"/>
          </a:xfrm>
        </p:grpSpPr>
        <p:cxnSp>
          <p:nvCxnSpPr>
            <p:cNvPr id="88" name="Connector: Elbow 87">
              <a:extLst>
                <a:ext uri="{FF2B5EF4-FFF2-40B4-BE49-F238E27FC236}">
                  <a16:creationId xmlns:a16="http://schemas.microsoft.com/office/drawing/2014/main" xmlns="" id="{75FF0E4C-0C43-473C-9D8D-5364B690D3C7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2593437" y="3138953"/>
              <a:ext cx="762000" cy="661988"/>
            </a:xfrm>
            <a:prstGeom prst="bentConnector3">
              <a:avLst>
                <a:gd name="adj1" fmla="val 130000"/>
              </a:avLst>
            </a:prstGeom>
            <a:ln w="12700">
              <a:solidFill>
                <a:schemeClr val="accent1">
                  <a:lumMod val="40000"/>
                  <a:lumOff val="60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xmlns="" id="{3C9D139F-A345-4394-8871-A283B8AF334B}"/>
                </a:ext>
              </a:extLst>
            </p:cNvPr>
            <p:cNvSpPr txBox="1"/>
            <p:nvPr/>
          </p:nvSpPr>
          <p:spPr>
            <a:xfrm>
              <a:off x="2482766" y="2542658"/>
              <a:ext cx="979488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chemeClr val="accent1"/>
                  </a:solidFill>
                  <a:latin typeface="+mj-lt"/>
                </a:rPr>
                <a:t>0,22 std</a:t>
              </a:r>
            </a:p>
          </p:txBody>
        </p:sp>
      </p:grpSp>
      <p:sp>
        <p:nvSpPr>
          <p:cNvPr id="39" name="Balão de Fala: Retângulo com Cantos Arredondados 38">
            <a:extLst>
              <a:ext uri="{FF2B5EF4-FFF2-40B4-BE49-F238E27FC236}">
                <a16:creationId xmlns:a16="http://schemas.microsoft.com/office/drawing/2014/main" xmlns="" id="{1CC42573-7A19-4A57-8CFB-8E7532FBCCDF}"/>
              </a:ext>
            </a:extLst>
          </p:cNvPr>
          <p:cNvSpPr/>
          <p:nvPr/>
        </p:nvSpPr>
        <p:spPr>
          <a:xfrm>
            <a:off x="4651639" y="2007786"/>
            <a:ext cx="1775264" cy="1066408"/>
          </a:xfrm>
          <a:prstGeom prst="wedgeRoundRectCallout">
            <a:avLst>
              <a:gd name="adj1" fmla="val -66739"/>
              <a:gd name="adj2" fmla="val 41876"/>
              <a:gd name="adj3" fmla="val 16667"/>
            </a:avLst>
          </a:prstGeom>
          <a:solidFill>
            <a:srgbClr val="FFFFFF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>
                  <a:lumMod val="50000"/>
                </a:schemeClr>
              </a:buClr>
            </a:pPr>
            <a:r>
              <a:rPr lang="pt-BR" sz="1400" dirty="0">
                <a:solidFill>
                  <a:schemeClr val="tx2"/>
                </a:solidFill>
              </a:rPr>
              <a:t>As correlações são </a:t>
            </a:r>
            <a:r>
              <a:rPr lang="pt-BR" sz="1400" b="1" dirty="0">
                <a:solidFill>
                  <a:schemeClr val="tx2"/>
                </a:solidFill>
              </a:rPr>
              <a:t>maiores para o 3º EM do que para outros anos.</a:t>
            </a:r>
            <a:endParaRPr lang="pt-BR" sz="1400" dirty="0">
              <a:solidFill>
                <a:schemeClr val="tx2"/>
              </a:solidFill>
            </a:endParaRPr>
          </a:p>
        </p:txBody>
      </p:sp>
      <p:sp>
        <p:nvSpPr>
          <p:cNvPr id="32" name="Rectangle: Rounded Corners 34">
            <a:extLst>
              <a:ext uri="{FF2B5EF4-FFF2-40B4-BE49-F238E27FC236}">
                <a16:creationId xmlns:a16="http://schemas.microsoft.com/office/drawing/2014/main" xmlns="" id="{5AAF0311-DDB6-4375-B307-D6BE624D9FCC}"/>
              </a:ext>
            </a:extLst>
          </p:cNvPr>
          <p:cNvSpPr/>
          <p:nvPr/>
        </p:nvSpPr>
        <p:spPr>
          <a:xfrm>
            <a:off x="6792714" y="1653160"/>
            <a:ext cx="2052813" cy="1161336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dirty="0">
                <a:solidFill>
                  <a:srgbClr val="FFFFFF"/>
                </a:solidFill>
              </a:rPr>
              <a:t>3.062 estudantes do EM em 5 estados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xmlns="" id="{926EFC9F-4A31-46B7-A1FF-126EA2E09A82}"/>
              </a:ext>
            </a:extLst>
          </p:cNvPr>
          <p:cNvSpPr txBox="1"/>
          <p:nvPr/>
        </p:nvSpPr>
        <p:spPr>
          <a:xfrm>
            <a:off x="6826582" y="1337292"/>
            <a:ext cx="14287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tx2"/>
                </a:solidFill>
                <a:latin typeface="Copperplate Gothic Bold" panose="020E0705020206020404" pitchFamily="34" charset="0"/>
              </a:rPr>
              <a:t>Amostra</a:t>
            </a:r>
          </a:p>
        </p:txBody>
      </p:sp>
      <p:sp>
        <p:nvSpPr>
          <p:cNvPr id="36" name="Rectangle: Rounded Corners 34">
            <a:extLst>
              <a:ext uri="{FF2B5EF4-FFF2-40B4-BE49-F238E27FC236}">
                <a16:creationId xmlns:a16="http://schemas.microsoft.com/office/drawing/2014/main" xmlns="" id="{13423CCB-4A19-4670-92EE-D90C33DDC9E6}"/>
              </a:ext>
            </a:extLst>
          </p:cNvPr>
          <p:cNvSpPr/>
          <p:nvPr/>
        </p:nvSpPr>
        <p:spPr>
          <a:xfrm>
            <a:off x="6792714" y="3211503"/>
            <a:ext cx="2052813" cy="1161336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dirty="0">
                <a:solidFill>
                  <a:srgbClr val="FFFFFF"/>
                </a:solidFill>
              </a:rPr>
              <a:t>Prova de </a:t>
            </a:r>
            <a:r>
              <a:rPr lang="pt-BR" b="1" dirty="0">
                <a:solidFill>
                  <a:srgbClr val="FFFFFF"/>
                </a:solidFill>
              </a:rPr>
              <a:t>matemática</a:t>
            </a:r>
            <a:r>
              <a:rPr lang="pt-BR" dirty="0">
                <a:solidFill>
                  <a:srgbClr val="FFFFFF"/>
                </a:solidFill>
              </a:rPr>
              <a:t> e </a:t>
            </a:r>
            <a:r>
              <a:rPr lang="pt-BR" b="1" dirty="0">
                <a:solidFill>
                  <a:srgbClr val="FFFFFF"/>
                </a:solidFill>
              </a:rPr>
              <a:t>português</a:t>
            </a:r>
            <a:r>
              <a:rPr lang="pt-BR" dirty="0">
                <a:solidFill>
                  <a:srgbClr val="FFFFFF"/>
                </a:solidFill>
              </a:rPr>
              <a:t> calibrada com escala SAEB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xmlns="" id="{4AF313DB-43D7-4C31-8F77-192AF5C98934}"/>
              </a:ext>
            </a:extLst>
          </p:cNvPr>
          <p:cNvSpPr txBox="1"/>
          <p:nvPr/>
        </p:nvSpPr>
        <p:spPr>
          <a:xfrm>
            <a:off x="6826582" y="2895635"/>
            <a:ext cx="1854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tx2"/>
                </a:solidFill>
                <a:latin typeface="Copperplate Gothic Bold" panose="020E0705020206020404" pitchFamily="34" charset="0"/>
              </a:rPr>
              <a:t>Metodologia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xmlns="" id="{1D2D9D1E-7A4D-4E16-AF34-D470B2E21D00}"/>
              </a:ext>
            </a:extLst>
          </p:cNvPr>
          <p:cNvSpPr/>
          <p:nvPr/>
        </p:nvSpPr>
        <p:spPr>
          <a:xfrm>
            <a:off x="890465" y="5830413"/>
            <a:ext cx="7180508" cy="50578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dirty="0">
                <a:solidFill>
                  <a:srgbClr val="FFFFFF"/>
                </a:solidFill>
              </a:rPr>
              <a:t>Linha de base para nova avaliação em 2018 indicou que as escolas partem de níveis semelhantes (~2 pontos de diferença)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xmlns="" id="{1BF0852D-1A1E-495B-8042-8BC171E648A1}"/>
              </a:ext>
            </a:extLst>
          </p:cNvPr>
          <p:cNvSpPr txBox="1">
            <a:spLocks/>
          </p:cNvSpPr>
          <p:nvPr/>
        </p:nvSpPr>
        <p:spPr>
          <a:xfrm>
            <a:off x="356356" y="175840"/>
            <a:ext cx="8227378" cy="5281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48056" rtl="0" eaLnBrk="1" latinLnBrk="0" hangingPunct="1">
              <a:spcBef>
                <a:spcPct val="0"/>
              </a:spcBef>
              <a:buNone/>
              <a:defRPr sz="2352" b="0" i="0" kern="1200" cap="all">
                <a:solidFill>
                  <a:srgbClr val="3180BB"/>
                </a:solidFill>
                <a:latin typeface="Gill Sans"/>
                <a:ea typeface="+mj-ea"/>
                <a:cs typeface="Rubri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pt-BR" sz="2100" dirty="0">
                <a:solidFill>
                  <a:srgbClr val="0D64AD"/>
                </a:solidFill>
                <a:latin typeface="Candara"/>
              </a:rPr>
              <a:t>A política de fomento ao EMTI apresenta resultados iniciais positivos</a:t>
            </a:r>
            <a:endParaRPr lang="pt-BR" sz="21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5040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xmlns="" id="{61D2375D-E84E-46F0-B84D-1D14F08DA9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Slide do think-cell" r:id="rId21" imgW="421" imgH="423" progId="TCLayout.ActiveDocument.1">
                  <p:embed/>
                </p:oleObj>
              </mc:Choice>
              <mc:Fallback>
                <p:oleObj name="Slide do think-cell" r:id="rId21" imgW="421" imgH="423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xmlns="" id="{61D2375D-E84E-46F0-B84D-1D14F08DA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>
            <a:extLst>
              <a:ext uri="{FF2B5EF4-FFF2-40B4-BE49-F238E27FC236}">
                <a16:creationId xmlns:a16="http://schemas.microsoft.com/office/drawing/2014/main" xmlns="" id="{E950A828-C80A-436F-AC32-1CBA181BAF5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100" dirty="0">
              <a:latin typeface="Gill Sans"/>
              <a:ea typeface="+mj-ea"/>
              <a:sym typeface="Gill San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6445802A-F76C-4DCD-882E-803B84B5C80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A AMOSTRA PARA ANÁLISE ECONOMÉTRICA do </a:t>
            </a:r>
            <a:r>
              <a:rPr lang="pt-BR" dirty="0" err="1"/>
              <a:t>ideb</a:t>
            </a:r>
            <a:r>
              <a:rPr lang="pt-BR" dirty="0"/>
              <a:t> tem 105 ESCOLAS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xmlns="" id="{C174FCFC-8D4C-4AB0-9910-40FD1789E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26" name="Retângulo: Cantos Arredondados 125">
            <a:extLst>
              <a:ext uri="{FF2B5EF4-FFF2-40B4-BE49-F238E27FC236}">
                <a16:creationId xmlns:a16="http://schemas.microsoft.com/office/drawing/2014/main" xmlns="" id="{7FA6F2E7-CEA6-4FF3-B2BE-24223552D06C}"/>
              </a:ext>
            </a:extLst>
          </p:cNvPr>
          <p:cNvSpPr/>
          <p:nvPr/>
        </p:nvSpPr>
        <p:spPr>
          <a:xfrm>
            <a:off x="559561" y="5433421"/>
            <a:ext cx="7791706" cy="514117"/>
          </a:xfrm>
          <a:prstGeom prst="round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kern="0" dirty="0">
                <a:solidFill>
                  <a:schemeClr val="tx2"/>
                </a:solidFill>
                <a:latin typeface="+mn-lt"/>
              </a:rPr>
              <a:t>Para ser incluída na análise, a escola considerada deve fazer parte da Portaria 1, apresentar informações completas do </a:t>
            </a:r>
            <a:r>
              <a:rPr lang="pt-BR" kern="0" dirty="0" err="1">
                <a:solidFill>
                  <a:schemeClr val="tx2"/>
                </a:solidFill>
                <a:latin typeface="+mn-lt"/>
              </a:rPr>
              <a:t>Ideb</a:t>
            </a:r>
            <a:r>
              <a:rPr lang="pt-BR" kern="0" dirty="0">
                <a:solidFill>
                  <a:schemeClr val="tx2"/>
                </a:solidFill>
                <a:latin typeface="+mn-lt"/>
              </a:rPr>
              <a:t> 2017 e ter tido migração do tipo ‘simultânea’</a:t>
            </a:r>
            <a:endParaRPr kumimoji="0" lang="pt-BR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A0A1A160-B5D8-4DFB-9132-F903D00241EF}"/>
              </a:ext>
            </a:extLst>
          </p:cNvPr>
          <p:cNvCxnSpPr>
            <a:cxnSpLocks/>
          </p:cNvCxnSpPr>
          <p:nvPr/>
        </p:nvCxnSpPr>
        <p:spPr>
          <a:xfrm>
            <a:off x="1004552" y="1558341"/>
            <a:ext cx="0" cy="3268881"/>
          </a:xfrm>
          <a:prstGeom prst="line">
            <a:avLst/>
          </a:prstGeom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xmlns="" id="{9BEB53DE-2EC8-46CD-8696-115CCEF3C584}"/>
              </a:ext>
            </a:extLst>
          </p:cNvPr>
          <p:cNvCxnSpPr>
            <a:cxnSpLocks/>
          </p:cNvCxnSpPr>
          <p:nvPr/>
        </p:nvCxnSpPr>
        <p:spPr>
          <a:xfrm flipH="1" flipV="1">
            <a:off x="1004554" y="4827222"/>
            <a:ext cx="4288663" cy="11825"/>
          </a:xfrm>
          <a:prstGeom prst="line">
            <a:avLst/>
          </a:prstGeom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tângulo 14">
            <a:extLst>
              <a:ext uri="{FF2B5EF4-FFF2-40B4-BE49-F238E27FC236}">
                <a16:creationId xmlns:a16="http://schemas.microsoft.com/office/drawing/2014/main" xmlns="" id="{26D24E8F-BA89-4D05-A010-E3B7B345C70C}"/>
              </a:ext>
            </a:extLst>
          </p:cNvPr>
          <p:cNvSpPr/>
          <p:nvPr/>
        </p:nvSpPr>
        <p:spPr>
          <a:xfrm>
            <a:off x="1429555" y="2003062"/>
            <a:ext cx="347655" cy="282416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xmlns="" id="{1F865FE9-E205-4434-9E13-5DB4413C366C}"/>
              </a:ext>
            </a:extLst>
          </p:cNvPr>
          <p:cNvSpPr/>
          <p:nvPr/>
        </p:nvSpPr>
        <p:spPr>
          <a:xfrm>
            <a:off x="2028384" y="2003062"/>
            <a:ext cx="347655" cy="1062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xmlns="" id="{6C1CF642-91B7-442A-85B7-9406FC6E0658}"/>
              </a:ext>
            </a:extLst>
          </p:cNvPr>
          <p:cNvSpPr/>
          <p:nvPr/>
        </p:nvSpPr>
        <p:spPr>
          <a:xfrm>
            <a:off x="2612665" y="3078321"/>
            <a:ext cx="347655" cy="90928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xmlns="" id="{7126A6A3-6D42-4EFA-9105-5AF144084F1B}"/>
              </a:ext>
            </a:extLst>
          </p:cNvPr>
          <p:cNvSpPr/>
          <p:nvPr/>
        </p:nvSpPr>
        <p:spPr>
          <a:xfrm>
            <a:off x="3227065" y="4025112"/>
            <a:ext cx="347655" cy="27126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xmlns="" id="{15AA6AAB-A697-49A4-9594-FD9A7C9D341F}"/>
              </a:ext>
            </a:extLst>
          </p:cNvPr>
          <p:cNvSpPr/>
          <p:nvPr/>
        </p:nvSpPr>
        <p:spPr>
          <a:xfrm>
            <a:off x="3845892" y="4310862"/>
            <a:ext cx="347655" cy="52818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xmlns="" id="{ED81FD22-EBE6-4142-B780-CB67B23C072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374782" y="3412608"/>
            <a:ext cx="457200" cy="212725"/>
          </a:xfrm>
          <a:prstGeom prst="rect">
            <a:avLst/>
          </a:prstGeom>
          <a:solidFill>
            <a:srgbClr val="DFE5E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pt-BR" altLang="en-US" sz="1400" cap="none" dirty="0">
                <a:solidFill>
                  <a:schemeClr val="accent1"/>
                </a:solidFill>
                <a:sym typeface="Gill Sans"/>
              </a:rPr>
              <a:t>900</a:t>
            </a:r>
            <a:endParaRPr lang="pt-BR" sz="1400" cap="none" dirty="0">
              <a:solidFill>
                <a:schemeClr val="accent1"/>
              </a:solidFill>
              <a:sym typeface="Gill Sans"/>
            </a:endParaRPr>
          </a:p>
        </p:txBody>
      </p:sp>
      <p:sp>
        <p:nvSpPr>
          <p:cNvPr id="31" name="Oval 112">
            <a:extLst>
              <a:ext uri="{FF2B5EF4-FFF2-40B4-BE49-F238E27FC236}">
                <a16:creationId xmlns:a16="http://schemas.microsoft.com/office/drawing/2014/main" xmlns="" id="{AE308926-3AEC-40DE-ADE2-629AB90BA436}"/>
              </a:ext>
            </a:extLst>
          </p:cNvPr>
          <p:cNvSpPr/>
          <p:nvPr/>
        </p:nvSpPr>
        <p:spPr>
          <a:xfrm>
            <a:off x="2028393" y="1686753"/>
            <a:ext cx="347646" cy="296865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140" tIns="31140" rIns="31140" bIns="31140" rtlCol="0" anchor="ctr"/>
          <a:lstStyle/>
          <a:p>
            <a:pPr algn="ctr" defTabSz="790583"/>
            <a:r>
              <a:rPr lang="pt-BR" b="1" dirty="0">
                <a:solidFill>
                  <a:prstClr val="black"/>
                </a:solidFill>
              </a:rPr>
              <a:t>1</a:t>
            </a:r>
          </a:p>
        </p:txBody>
      </p:sp>
      <p:sp>
        <p:nvSpPr>
          <p:cNvPr id="32" name="Oval 112">
            <a:extLst>
              <a:ext uri="{FF2B5EF4-FFF2-40B4-BE49-F238E27FC236}">
                <a16:creationId xmlns:a16="http://schemas.microsoft.com/office/drawing/2014/main" xmlns="" id="{DAA167C0-F452-4A6E-9BA7-F57B000E4ADE}"/>
              </a:ext>
            </a:extLst>
          </p:cNvPr>
          <p:cNvSpPr/>
          <p:nvPr/>
        </p:nvSpPr>
        <p:spPr>
          <a:xfrm>
            <a:off x="2612674" y="2718687"/>
            <a:ext cx="347646" cy="296865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140" tIns="31140" rIns="31140" bIns="31140" rtlCol="0" anchor="ctr"/>
          <a:lstStyle/>
          <a:p>
            <a:pPr algn="ctr" defTabSz="790583"/>
            <a:r>
              <a:rPr lang="pt-BR" b="1" dirty="0">
                <a:solidFill>
                  <a:prstClr val="black"/>
                </a:solidFill>
              </a:rPr>
              <a:t>2</a:t>
            </a:r>
          </a:p>
        </p:txBody>
      </p:sp>
      <p:sp>
        <p:nvSpPr>
          <p:cNvPr id="33" name="Oval 112">
            <a:extLst>
              <a:ext uri="{FF2B5EF4-FFF2-40B4-BE49-F238E27FC236}">
                <a16:creationId xmlns:a16="http://schemas.microsoft.com/office/drawing/2014/main" xmlns="" id="{BB8AC6BE-F78B-4AD0-8434-773782DD0468}"/>
              </a:ext>
            </a:extLst>
          </p:cNvPr>
          <p:cNvSpPr/>
          <p:nvPr/>
        </p:nvSpPr>
        <p:spPr>
          <a:xfrm>
            <a:off x="3227032" y="3668956"/>
            <a:ext cx="347646" cy="296865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140" tIns="31140" rIns="31140" bIns="31140" rtlCol="0" anchor="ctr"/>
          <a:lstStyle/>
          <a:p>
            <a:pPr algn="ctr" defTabSz="790583"/>
            <a:r>
              <a:rPr lang="pt-BR" b="1" dirty="0">
                <a:solidFill>
                  <a:prstClr val="black"/>
                </a:solidFill>
              </a:rPr>
              <a:t>3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xmlns="" id="{71BF32A4-30E6-44A1-A8B6-E4F1A3A8FBB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23976" y="4926628"/>
            <a:ext cx="569913" cy="248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ctr" defTabSz="457152" rtl="0" eaLnBrk="1" latinLnBrk="0" hangingPunct="1">
              <a:spcBef>
                <a:spcPct val="20000"/>
              </a:spcBef>
              <a:buFont typeface="Arial"/>
              <a:buNone/>
              <a:defRPr sz="2400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42871" indent="-285720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79" indent="-228576" algn="ctr" defTabSz="45715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30" indent="-228576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82" indent="-228576" algn="ctr" defTabSz="457152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altLang="en-US" sz="11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P1+P2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sz="1078" cap="none" dirty="0">
                <a:solidFill>
                  <a:srgbClr val="FFFFFF"/>
                </a:solidFill>
                <a:sym typeface="Gill Sans"/>
              </a:rPr>
              <a:t>kkkkkkkkk</a:t>
            </a:r>
            <a:endParaRPr lang="pt-BR" sz="1372" cap="none" dirty="0">
              <a:solidFill>
                <a:srgbClr val="FFFFFF"/>
              </a:solidFill>
              <a:sym typeface="Gill San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xmlns="" id="{DB725C61-86A1-4F7D-8DE2-F0DC2477684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64466" y="4923052"/>
            <a:ext cx="569913" cy="248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ctr" defTabSz="457152" rtl="0" eaLnBrk="1" latinLnBrk="0" hangingPunct="1">
              <a:spcBef>
                <a:spcPct val="20000"/>
              </a:spcBef>
              <a:buFont typeface="Arial"/>
              <a:buNone/>
              <a:defRPr sz="2400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42871" indent="-285720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79" indent="-228576" algn="ctr" defTabSz="45715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30" indent="-228576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82" indent="-228576" algn="ctr" defTabSz="457152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altLang="en-US" sz="11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P2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sz="1078" cap="none" dirty="0">
                <a:solidFill>
                  <a:srgbClr val="FFFFFF"/>
                </a:solidFill>
                <a:sym typeface="Gill Sans"/>
              </a:rPr>
              <a:t>kkkkkkkkk</a:t>
            </a:r>
            <a:endParaRPr lang="pt-BR" sz="1372" cap="none" dirty="0">
              <a:solidFill>
                <a:srgbClr val="FFFFFF"/>
              </a:solidFill>
              <a:sym typeface="Gill San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xmlns="" id="{F07E40AE-08BF-420A-BCBB-245365A7FEC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641624" y="4916902"/>
            <a:ext cx="914511" cy="185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ctr" defTabSz="457152" rtl="0" eaLnBrk="1" latinLnBrk="0" hangingPunct="1">
              <a:spcBef>
                <a:spcPct val="20000"/>
              </a:spcBef>
              <a:buFont typeface="Arial"/>
              <a:buNone/>
              <a:defRPr sz="2400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42871" indent="-285720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79" indent="-228576" algn="ctr" defTabSz="45715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30" indent="-228576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82" indent="-228576" algn="ctr" defTabSz="457152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altLang="en-US" sz="10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P1 Análise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sz="1078" cap="none" dirty="0">
                <a:solidFill>
                  <a:srgbClr val="FFFFFF"/>
                </a:solidFill>
                <a:sym typeface="Gill Sans"/>
              </a:rPr>
              <a:t>kkkkkkkkk</a:t>
            </a:r>
            <a:endParaRPr lang="pt-BR" sz="1372" cap="none" dirty="0">
              <a:solidFill>
                <a:srgbClr val="FFFFFF"/>
              </a:solidFill>
              <a:sym typeface="Gill San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xmlns="" id="{F492F485-DC90-4EF7-91A8-9F98CBA3139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342256" y="4921589"/>
            <a:ext cx="569913" cy="248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ctr" defTabSz="457152" rtl="0" eaLnBrk="1" latinLnBrk="0" hangingPunct="1">
              <a:spcBef>
                <a:spcPct val="20000"/>
              </a:spcBef>
              <a:buFont typeface="Arial"/>
              <a:buNone/>
              <a:defRPr sz="2400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42871" indent="-285720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79" indent="-228576" algn="ctr" defTabSz="45715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30" indent="-228576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82" indent="-228576" algn="ctr" defTabSz="457152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altLang="en-US" sz="10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gradual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sz="1078" cap="none" dirty="0">
                <a:solidFill>
                  <a:srgbClr val="FFFFFF"/>
                </a:solidFill>
                <a:sym typeface="Gill Sans"/>
              </a:rPr>
              <a:t>kkkkkkkkk</a:t>
            </a:r>
            <a:endParaRPr lang="pt-BR" sz="1372" cap="none" dirty="0">
              <a:solidFill>
                <a:srgbClr val="FFFFFF"/>
              </a:solidFill>
              <a:sym typeface="Gill San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xmlns="" id="{6386A255-956B-4A15-8663-453154ADFB9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030759" y="4921589"/>
            <a:ext cx="569913" cy="248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ctr" defTabSz="457152" rtl="0" eaLnBrk="1" latinLnBrk="0" hangingPunct="1">
              <a:spcBef>
                <a:spcPct val="20000"/>
              </a:spcBef>
              <a:buFont typeface="Arial"/>
              <a:buNone/>
              <a:defRPr sz="2400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42871" indent="-285720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79" indent="-228576" algn="ctr" defTabSz="45715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30" indent="-228576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82" indent="-228576" algn="ctr" defTabSz="457152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altLang="en-US" sz="10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Sem </a:t>
            </a:r>
            <a:r>
              <a:rPr lang="pt-BR" altLang="en-US" sz="1000" dirty="0" err="1">
                <a:solidFill>
                  <a:schemeClr val="accent1">
                    <a:lumMod val="50000"/>
                  </a:schemeClr>
                </a:solidFill>
                <a:latin typeface="+mj-lt"/>
              </a:rPr>
              <a:t>ideb</a:t>
            </a:r>
            <a:endParaRPr lang="pt-BR" altLang="en-US" sz="1000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sz="1078" cap="none" dirty="0">
                <a:solidFill>
                  <a:srgbClr val="FFFFFF"/>
                </a:solidFill>
                <a:sym typeface="Gill Sans"/>
              </a:rPr>
              <a:t>kkkkkkkkk</a:t>
            </a:r>
            <a:endParaRPr lang="pt-BR" sz="1372" cap="none" dirty="0">
              <a:solidFill>
                <a:srgbClr val="FFFFFF"/>
              </a:solidFill>
              <a:sym typeface="Gill San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xmlns="" id="{BB2BDB95-6435-43CE-803A-DE74EE305D1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795775" y="4465906"/>
            <a:ext cx="457200" cy="212725"/>
          </a:xfrm>
          <a:prstGeom prst="rect">
            <a:avLst/>
          </a:prstGeom>
          <a:solidFill>
            <a:srgbClr val="DFE5E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pt-BR" altLang="en-US" sz="1400" cap="none" dirty="0">
                <a:solidFill>
                  <a:schemeClr val="accent1"/>
                </a:solidFill>
                <a:sym typeface="Gill Sans"/>
              </a:rPr>
              <a:t>105</a:t>
            </a:r>
            <a:endParaRPr lang="pt-BR" sz="1400" cap="none" dirty="0">
              <a:solidFill>
                <a:schemeClr val="accent1"/>
              </a:solidFill>
              <a:sym typeface="Gill San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xmlns="" id="{FEE11C17-0C4D-4A77-BA16-7BAA4A58C2B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997625" y="2435956"/>
            <a:ext cx="457200" cy="212725"/>
          </a:xfrm>
          <a:prstGeom prst="rect">
            <a:avLst/>
          </a:prstGeom>
          <a:solidFill>
            <a:srgbClr val="DFE5E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pt-BR" altLang="en-US" sz="1400" cap="none" dirty="0">
                <a:solidFill>
                  <a:schemeClr val="accent1"/>
                </a:solidFill>
                <a:sym typeface="Gill Sans"/>
              </a:rPr>
              <a:t>391</a:t>
            </a:r>
            <a:endParaRPr lang="pt-BR" sz="1400" cap="none" dirty="0">
              <a:solidFill>
                <a:schemeClr val="accent1"/>
              </a:solidFill>
              <a:sym typeface="Gill San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FB433396-00A0-4C35-A804-46ABF83F611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557892" y="3431717"/>
            <a:ext cx="457200" cy="212725"/>
          </a:xfrm>
          <a:prstGeom prst="rect">
            <a:avLst/>
          </a:prstGeom>
          <a:solidFill>
            <a:srgbClr val="DFE5E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pt-BR" altLang="en-US" sz="1400" cap="none" dirty="0">
                <a:solidFill>
                  <a:schemeClr val="accent1"/>
                </a:solidFill>
                <a:sym typeface="Gill Sans"/>
              </a:rPr>
              <a:t>316</a:t>
            </a:r>
            <a:endParaRPr lang="pt-BR" sz="1400" cap="none" dirty="0">
              <a:solidFill>
                <a:schemeClr val="accent1"/>
              </a:solidFill>
              <a:sym typeface="Gill San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xmlns="" id="{381FD680-BE92-4909-BCF8-D9AF3D55076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172255" y="4060052"/>
            <a:ext cx="457200" cy="212725"/>
          </a:xfrm>
          <a:prstGeom prst="rect">
            <a:avLst/>
          </a:prstGeom>
          <a:solidFill>
            <a:srgbClr val="DFE5E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48056" rtl="0" eaLnBrk="1" latinLnBrk="0" hangingPunct="1">
              <a:spcBef>
                <a:spcPct val="20000"/>
              </a:spcBef>
              <a:buFont typeface="Arial"/>
              <a:buNone/>
              <a:defRPr sz="2352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28091" indent="-280035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27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0140" indent="-224028" algn="ctr" defTabSz="448056" rtl="0" eaLnBrk="1" latinLnBrk="0" hangingPunct="1">
              <a:spcBef>
                <a:spcPct val="20000"/>
              </a:spcBef>
              <a:buFont typeface="Arial"/>
              <a:buChar char="•"/>
              <a:defRPr sz="23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8196" indent="-224028" algn="ctr" defTabSz="448056" rtl="0" eaLnBrk="1" latinLnBrk="0" hangingPunct="1">
              <a:spcBef>
                <a:spcPct val="20000"/>
              </a:spcBef>
              <a:buFont typeface="Arial"/>
              <a:buChar char="–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252" indent="-224028" algn="ctr" defTabSz="448056" rtl="0" eaLnBrk="1" latinLnBrk="0" hangingPunct="1">
              <a:spcBef>
                <a:spcPct val="20000"/>
              </a:spcBef>
              <a:buFont typeface="Arial"/>
              <a:buChar char="»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4308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364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420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476" indent="-224028" algn="l" defTabSz="448056" rtl="0" eaLnBrk="1" latinLnBrk="0" hangingPunct="1">
              <a:spcBef>
                <a:spcPct val="20000"/>
              </a:spcBef>
              <a:buFont typeface="Arial"/>
              <a:buChar char="•"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pt-BR" altLang="en-US" sz="1400" cap="none" dirty="0">
                <a:solidFill>
                  <a:schemeClr val="accent1"/>
                </a:solidFill>
                <a:sym typeface="Gill Sans"/>
              </a:rPr>
              <a:t>88</a:t>
            </a:r>
            <a:endParaRPr lang="pt-BR" sz="1400" cap="none" dirty="0">
              <a:solidFill>
                <a:schemeClr val="accent1"/>
              </a:solidFill>
              <a:sym typeface="Gill Sans"/>
            </a:endParaRPr>
          </a:p>
        </p:txBody>
      </p:sp>
      <p:sp>
        <p:nvSpPr>
          <p:cNvPr id="45" name="Oval 112">
            <a:extLst>
              <a:ext uri="{FF2B5EF4-FFF2-40B4-BE49-F238E27FC236}">
                <a16:creationId xmlns:a16="http://schemas.microsoft.com/office/drawing/2014/main" xmlns="" id="{05B318F8-0696-4926-A8FA-5B63D44D1902}"/>
              </a:ext>
            </a:extLst>
          </p:cNvPr>
          <p:cNvSpPr/>
          <p:nvPr/>
        </p:nvSpPr>
        <p:spPr>
          <a:xfrm>
            <a:off x="5486772" y="1326964"/>
            <a:ext cx="347646" cy="296865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140" tIns="31140" rIns="31140" bIns="31140" rtlCol="0" anchor="ctr"/>
          <a:lstStyle/>
          <a:p>
            <a:pPr algn="ctr" defTabSz="790583"/>
            <a:r>
              <a:rPr lang="pt-BR" b="1" dirty="0">
                <a:solidFill>
                  <a:prstClr val="black"/>
                </a:solidFill>
              </a:rPr>
              <a:t>1</a:t>
            </a:r>
          </a:p>
        </p:txBody>
      </p:sp>
      <p:sp>
        <p:nvSpPr>
          <p:cNvPr id="46" name="TextBox 5">
            <a:extLst>
              <a:ext uri="{FF2B5EF4-FFF2-40B4-BE49-F238E27FC236}">
                <a16:creationId xmlns:a16="http://schemas.microsoft.com/office/drawing/2014/main" xmlns="" id="{7655A66A-2311-4710-9054-C3EDDDD930FE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6001120" y="1326964"/>
            <a:ext cx="2648494" cy="3325320"/>
          </a:xfrm>
          <a:prstGeom prst="rect">
            <a:avLst/>
          </a:prstGeom>
          <a:noFill/>
        </p:spPr>
        <p:txBody>
          <a:bodyPr vert="horz" wrap="square" lIns="31140" tIns="31140" rIns="31140" bIns="31140" rtlCol="0" anchor="t">
            <a:spAutoFit/>
          </a:bodyPr>
          <a:lstStyle/>
          <a:p>
            <a:pPr defTabSz="790583">
              <a:spcBef>
                <a:spcPts val="613"/>
              </a:spcBef>
              <a:buSzPct val="100000"/>
            </a:pPr>
            <a:r>
              <a:rPr lang="pt-BR" b="1" dirty="0">
                <a:solidFill>
                  <a:schemeClr val="tx2"/>
                </a:solidFill>
                <a:latin typeface="+mn-lt"/>
              </a:rPr>
              <a:t>P2</a:t>
            </a:r>
            <a:r>
              <a:rPr lang="pt-BR" dirty="0">
                <a:solidFill>
                  <a:schemeClr val="tx2"/>
                </a:solidFill>
                <a:latin typeface="+mn-lt"/>
              </a:rPr>
              <a:t>: Escolas que aderiram à política na Portaria 2 do MEC</a:t>
            </a:r>
          </a:p>
          <a:p>
            <a:pPr defTabSz="790583">
              <a:spcBef>
                <a:spcPts val="613"/>
              </a:spcBef>
              <a:buSzPct val="100000"/>
            </a:pPr>
            <a:endParaRPr lang="pt-BR" b="1" dirty="0">
              <a:solidFill>
                <a:schemeClr val="tx2"/>
              </a:solidFill>
              <a:latin typeface="+mn-lt"/>
            </a:endParaRPr>
          </a:p>
          <a:p>
            <a:pPr defTabSz="790583">
              <a:spcBef>
                <a:spcPts val="613"/>
              </a:spcBef>
              <a:buSzPct val="100000"/>
            </a:pPr>
            <a:r>
              <a:rPr lang="pt-BR" b="1" dirty="0">
                <a:solidFill>
                  <a:schemeClr val="tx2"/>
                </a:solidFill>
                <a:latin typeface="+mn-lt"/>
              </a:rPr>
              <a:t>GRADUAL</a:t>
            </a:r>
            <a:r>
              <a:rPr lang="pt-BR" dirty="0">
                <a:solidFill>
                  <a:schemeClr val="tx2"/>
                </a:solidFill>
                <a:latin typeface="+mn-lt"/>
              </a:rPr>
              <a:t>: Escolas da Portaria 1 com implementação gradual da política </a:t>
            </a:r>
          </a:p>
          <a:p>
            <a:pPr defTabSz="790583">
              <a:spcBef>
                <a:spcPts val="613"/>
              </a:spcBef>
              <a:buSzPct val="100000"/>
            </a:pPr>
            <a:endParaRPr lang="pt-BR" b="1" dirty="0">
              <a:solidFill>
                <a:schemeClr val="tx2"/>
              </a:solidFill>
              <a:latin typeface="+mn-lt"/>
            </a:endParaRPr>
          </a:p>
          <a:p>
            <a:pPr defTabSz="790583">
              <a:spcBef>
                <a:spcPts val="613"/>
              </a:spcBef>
              <a:buSzPct val="100000"/>
            </a:pPr>
            <a:r>
              <a:rPr lang="pt-BR" b="1" dirty="0">
                <a:solidFill>
                  <a:schemeClr val="tx2"/>
                </a:solidFill>
                <a:latin typeface="+mn-lt"/>
              </a:rPr>
              <a:t>SEM IDEB</a:t>
            </a:r>
            <a:r>
              <a:rPr lang="pt-BR" dirty="0">
                <a:solidFill>
                  <a:schemeClr val="tx2"/>
                </a:solidFill>
                <a:latin typeface="+mn-lt"/>
              </a:rPr>
              <a:t>: Escolas da Portaria 1, com implementação simultânea da política, mas que não tiveram </a:t>
            </a:r>
            <a:r>
              <a:rPr lang="pt-BR" dirty="0" err="1">
                <a:solidFill>
                  <a:schemeClr val="tx2"/>
                </a:solidFill>
                <a:latin typeface="+mn-lt"/>
              </a:rPr>
              <a:t>Ideb</a:t>
            </a:r>
            <a:r>
              <a:rPr lang="pt-BR" dirty="0">
                <a:solidFill>
                  <a:schemeClr val="tx2"/>
                </a:solidFill>
                <a:latin typeface="+mn-lt"/>
              </a:rPr>
              <a:t> divulgado</a:t>
            </a:r>
          </a:p>
        </p:txBody>
      </p:sp>
      <p:sp>
        <p:nvSpPr>
          <p:cNvPr id="47" name="Oval 112">
            <a:extLst>
              <a:ext uri="{FF2B5EF4-FFF2-40B4-BE49-F238E27FC236}">
                <a16:creationId xmlns:a16="http://schemas.microsoft.com/office/drawing/2014/main" xmlns="" id="{1C7C5E29-4079-4531-BC57-A00F1B21ACFC}"/>
              </a:ext>
            </a:extLst>
          </p:cNvPr>
          <p:cNvSpPr/>
          <p:nvPr/>
        </p:nvSpPr>
        <p:spPr>
          <a:xfrm>
            <a:off x="5480560" y="2286123"/>
            <a:ext cx="347646" cy="296865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140" tIns="31140" rIns="31140" bIns="31140" rtlCol="0" anchor="ctr"/>
          <a:lstStyle/>
          <a:p>
            <a:pPr algn="ctr" defTabSz="790583"/>
            <a:r>
              <a:rPr lang="pt-BR" b="1" dirty="0">
                <a:solidFill>
                  <a:prstClr val="black"/>
                </a:solidFill>
              </a:rPr>
              <a:t>2</a:t>
            </a:r>
          </a:p>
        </p:txBody>
      </p:sp>
      <p:sp>
        <p:nvSpPr>
          <p:cNvPr id="48" name="Oval 112">
            <a:extLst>
              <a:ext uri="{FF2B5EF4-FFF2-40B4-BE49-F238E27FC236}">
                <a16:creationId xmlns:a16="http://schemas.microsoft.com/office/drawing/2014/main" xmlns="" id="{EE55F05A-9044-4F3D-A8FF-1937B2173C16}"/>
              </a:ext>
            </a:extLst>
          </p:cNvPr>
          <p:cNvSpPr/>
          <p:nvPr/>
        </p:nvSpPr>
        <p:spPr>
          <a:xfrm>
            <a:off x="5487679" y="3333521"/>
            <a:ext cx="347646" cy="296865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140" tIns="31140" rIns="31140" bIns="31140" rtlCol="0" anchor="ctr"/>
          <a:lstStyle/>
          <a:p>
            <a:pPr algn="ctr" defTabSz="790583"/>
            <a:r>
              <a:rPr lang="pt-BR" b="1" dirty="0">
                <a:solidFill>
                  <a:prstClr val="black"/>
                </a:solidFill>
              </a:rPr>
              <a:t>3</a:t>
            </a:r>
          </a:p>
        </p:txBody>
      </p:sp>
      <p:cxnSp>
        <p:nvCxnSpPr>
          <p:cNvPr id="49" name="Conector reto 48">
            <a:extLst>
              <a:ext uri="{FF2B5EF4-FFF2-40B4-BE49-F238E27FC236}">
                <a16:creationId xmlns:a16="http://schemas.microsoft.com/office/drawing/2014/main" xmlns="" id="{21B11B34-4872-4A79-856F-2DDB0B463A0D}"/>
              </a:ext>
            </a:extLst>
          </p:cNvPr>
          <p:cNvCxnSpPr>
            <a:cxnSpLocks/>
          </p:cNvCxnSpPr>
          <p:nvPr/>
        </p:nvCxnSpPr>
        <p:spPr>
          <a:xfrm flipH="1">
            <a:off x="876838" y="4340499"/>
            <a:ext cx="255432" cy="0"/>
          </a:xfrm>
          <a:prstGeom prst="line">
            <a:avLst/>
          </a:prstGeom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to 54">
            <a:extLst>
              <a:ext uri="{FF2B5EF4-FFF2-40B4-BE49-F238E27FC236}">
                <a16:creationId xmlns:a16="http://schemas.microsoft.com/office/drawing/2014/main" xmlns="" id="{D69FE07A-B72D-44F5-B8FA-0DC3EA831DC8}"/>
              </a:ext>
            </a:extLst>
          </p:cNvPr>
          <p:cNvCxnSpPr>
            <a:cxnSpLocks/>
          </p:cNvCxnSpPr>
          <p:nvPr/>
        </p:nvCxnSpPr>
        <p:spPr>
          <a:xfrm flipH="1">
            <a:off x="876836" y="3715466"/>
            <a:ext cx="255432" cy="0"/>
          </a:xfrm>
          <a:prstGeom prst="line">
            <a:avLst/>
          </a:prstGeom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ector reto 55">
            <a:extLst>
              <a:ext uri="{FF2B5EF4-FFF2-40B4-BE49-F238E27FC236}">
                <a16:creationId xmlns:a16="http://schemas.microsoft.com/office/drawing/2014/main" xmlns="" id="{444C951F-941A-475F-BD36-D0F029077D39}"/>
              </a:ext>
            </a:extLst>
          </p:cNvPr>
          <p:cNvCxnSpPr>
            <a:cxnSpLocks/>
          </p:cNvCxnSpPr>
          <p:nvPr/>
        </p:nvCxnSpPr>
        <p:spPr>
          <a:xfrm flipH="1">
            <a:off x="876836" y="3157221"/>
            <a:ext cx="255432" cy="0"/>
          </a:xfrm>
          <a:prstGeom prst="line">
            <a:avLst/>
          </a:prstGeom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to 56">
            <a:extLst>
              <a:ext uri="{FF2B5EF4-FFF2-40B4-BE49-F238E27FC236}">
                <a16:creationId xmlns:a16="http://schemas.microsoft.com/office/drawing/2014/main" xmlns="" id="{FADDA86D-01DB-44F3-A4D7-D86E4C8DD2E4}"/>
              </a:ext>
            </a:extLst>
          </p:cNvPr>
          <p:cNvCxnSpPr>
            <a:cxnSpLocks/>
          </p:cNvCxnSpPr>
          <p:nvPr/>
        </p:nvCxnSpPr>
        <p:spPr>
          <a:xfrm flipH="1">
            <a:off x="876836" y="2597720"/>
            <a:ext cx="255432" cy="0"/>
          </a:xfrm>
          <a:prstGeom prst="line">
            <a:avLst/>
          </a:prstGeom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Conector reto 57">
            <a:extLst>
              <a:ext uri="{FF2B5EF4-FFF2-40B4-BE49-F238E27FC236}">
                <a16:creationId xmlns:a16="http://schemas.microsoft.com/office/drawing/2014/main" xmlns="" id="{0EEDE0B6-5961-47FD-B407-13A2E72058AB}"/>
              </a:ext>
            </a:extLst>
          </p:cNvPr>
          <p:cNvCxnSpPr>
            <a:cxnSpLocks/>
          </p:cNvCxnSpPr>
          <p:nvPr/>
        </p:nvCxnSpPr>
        <p:spPr>
          <a:xfrm flipH="1">
            <a:off x="876836" y="2003062"/>
            <a:ext cx="255432" cy="0"/>
          </a:xfrm>
          <a:prstGeom prst="line">
            <a:avLst/>
          </a:prstGeom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xmlns="" id="{C4262259-ACCE-430F-AE98-85B7F96A62B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72605" y="1906346"/>
            <a:ext cx="655830" cy="19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ctr" defTabSz="457152" rtl="0" eaLnBrk="1" latinLnBrk="0" hangingPunct="1">
              <a:spcBef>
                <a:spcPct val="20000"/>
              </a:spcBef>
              <a:buFont typeface="Arial"/>
              <a:buNone/>
              <a:defRPr sz="2400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42871" indent="-285720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79" indent="-228576" algn="ctr" defTabSz="45715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30" indent="-228576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82" indent="-228576" algn="ctr" defTabSz="457152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altLang="en-US" sz="13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900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sz="1078" cap="none" dirty="0">
                <a:solidFill>
                  <a:srgbClr val="FFFFFF"/>
                </a:solidFill>
                <a:sym typeface="Gill Sans"/>
              </a:rPr>
              <a:t>kkkkkkkkk</a:t>
            </a:r>
            <a:endParaRPr lang="pt-BR" sz="1372" cap="none" dirty="0">
              <a:solidFill>
                <a:srgbClr val="FFFFFF"/>
              </a:solidFill>
              <a:sym typeface="Gill Sans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xmlns="" id="{89F5F9EF-F803-4E3D-BE73-9186A49577F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72605" y="2493913"/>
            <a:ext cx="655830" cy="19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ctr" defTabSz="457152" rtl="0" eaLnBrk="1" latinLnBrk="0" hangingPunct="1">
              <a:spcBef>
                <a:spcPct val="20000"/>
              </a:spcBef>
              <a:buFont typeface="Arial"/>
              <a:buNone/>
              <a:defRPr sz="2400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42871" indent="-285720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79" indent="-228576" algn="ctr" defTabSz="45715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30" indent="-228576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82" indent="-228576" algn="ctr" defTabSz="457152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altLang="en-US" sz="13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700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pt-BR" altLang="en-US" sz="1100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sz="1078" cap="none" dirty="0">
                <a:solidFill>
                  <a:srgbClr val="FFFFFF"/>
                </a:solidFill>
                <a:sym typeface="Gill Sans"/>
              </a:rPr>
              <a:t>kkkkkkkkk</a:t>
            </a:r>
            <a:endParaRPr lang="pt-BR" sz="1372" cap="none" dirty="0">
              <a:solidFill>
                <a:srgbClr val="FFFFFF"/>
              </a:solidFill>
              <a:sym typeface="Gill Sans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xmlns="" id="{1EFE5162-6D08-462E-8C3B-51494677DAE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72605" y="3047394"/>
            <a:ext cx="655830" cy="19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ctr" defTabSz="457152" rtl="0" eaLnBrk="1" latinLnBrk="0" hangingPunct="1">
              <a:spcBef>
                <a:spcPct val="20000"/>
              </a:spcBef>
              <a:buFont typeface="Arial"/>
              <a:buNone/>
              <a:defRPr sz="2400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42871" indent="-285720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79" indent="-228576" algn="ctr" defTabSz="45715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30" indent="-228576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82" indent="-228576" algn="ctr" defTabSz="457152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altLang="en-US" sz="13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500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pt-BR" altLang="en-US" sz="1100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sz="1078" cap="none" dirty="0">
                <a:solidFill>
                  <a:srgbClr val="FFFFFF"/>
                </a:solidFill>
                <a:sym typeface="Gill Sans"/>
              </a:rPr>
              <a:t>kkkkkkkkk</a:t>
            </a:r>
            <a:endParaRPr lang="pt-BR" sz="1372" cap="none" dirty="0">
              <a:solidFill>
                <a:srgbClr val="FFFFFF"/>
              </a:solidFill>
              <a:sym typeface="Gill Sans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xmlns="" id="{F7ABB6F9-956E-468F-B42B-2EE67C7D2BD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69086" y="3625333"/>
            <a:ext cx="655830" cy="19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ctr" defTabSz="457152" rtl="0" eaLnBrk="1" latinLnBrk="0" hangingPunct="1">
              <a:spcBef>
                <a:spcPct val="20000"/>
              </a:spcBef>
              <a:buFont typeface="Arial"/>
              <a:buNone/>
              <a:defRPr sz="2400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42871" indent="-285720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79" indent="-228576" algn="ctr" defTabSz="45715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30" indent="-228576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82" indent="-228576" algn="ctr" defTabSz="457152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altLang="en-US" sz="13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300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pt-BR" altLang="en-US" sz="1100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sz="1078" cap="none" dirty="0">
                <a:solidFill>
                  <a:srgbClr val="FFFFFF"/>
                </a:solidFill>
                <a:sym typeface="Gill Sans"/>
              </a:rPr>
              <a:t>kkkkkkkkk</a:t>
            </a:r>
            <a:endParaRPr lang="pt-BR" sz="1372" cap="none" dirty="0">
              <a:solidFill>
                <a:srgbClr val="FFFFFF"/>
              </a:solidFill>
              <a:sym typeface="Gill San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xmlns="" id="{EC12BB6E-A8AA-4C00-A2D3-477C6BA2DF9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69583" y="4268187"/>
            <a:ext cx="655830" cy="19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ctr" defTabSz="457152" rtl="0" eaLnBrk="1" latinLnBrk="0" hangingPunct="1">
              <a:spcBef>
                <a:spcPct val="20000"/>
              </a:spcBef>
              <a:buFont typeface="Arial"/>
              <a:buNone/>
              <a:defRPr sz="2400" b="0" i="0" kern="1200" cap="all">
                <a:solidFill>
                  <a:srgbClr val="95BC4A"/>
                </a:solidFill>
                <a:latin typeface="Gill Sans"/>
                <a:ea typeface="+mn-ea"/>
                <a:cs typeface="Rubrik"/>
              </a:defRPr>
            </a:lvl1pPr>
            <a:lvl2pPr marL="742871" indent="-285720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79" indent="-228576" algn="ctr" defTabSz="45715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30" indent="-228576" algn="ctr" defTabSz="457152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82" indent="-228576" algn="ctr" defTabSz="457152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altLang="en-US" sz="13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100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pt-BR" altLang="en-US" sz="1100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sz="1078" cap="none" dirty="0">
                <a:solidFill>
                  <a:srgbClr val="FFFFFF"/>
                </a:solidFill>
                <a:sym typeface="Gill Sans"/>
              </a:rPr>
              <a:t>kkkkkkkkk</a:t>
            </a:r>
            <a:endParaRPr lang="pt-BR" sz="1372" cap="none" dirty="0">
              <a:solidFill>
                <a:srgbClr val="FFFFFF"/>
              </a:solidFill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5201054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Title 1"/>
          <p:cNvSpPr>
            <a:spLocks noGrp="1"/>
          </p:cNvSpPr>
          <p:nvPr>
            <p:ph type="ctrTitle"/>
          </p:nvPr>
        </p:nvSpPr>
        <p:spPr>
          <a:xfrm>
            <a:off x="363707" y="275358"/>
            <a:ext cx="8524948" cy="52818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pt-BR" dirty="0"/>
              <a:t>Resultados da primeira portaria no </a:t>
            </a:r>
            <a:r>
              <a:rPr lang="pt-BR" dirty="0" err="1"/>
              <a:t>ideb</a:t>
            </a:r>
            <a:r>
              <a:rPr lang="pt-BR" dirty="0"/>
              <a:t> 2017: efeito de 0.6 ponto no </a:t>
            </a:r>
            <a:r>
              <a:rPr lang="pt-BR" dirty="0" err="1"/>
              <a:t>ideb</a:t>
            </a:r>
            <a:r>
              <a:rPr lang="pt-BR" dirty="0"/>
              <a:t> das escolas integrais</a:t>
            </a:r>
          </a:p>
        </p:txBody>
      </p:sp>
      <p:sp>
        <p:nvSpPr>
          <p:cNvPr id="536" name="CaixaDeTexto 535"/>
          <p:cNvSpPr txBox="1"/>
          <p:nvPr/>
        </p:nvSpPr>
        <p:spPr>
          <a:xfrm>
            <a:off x="406131" y="6343775"/>
            <a:ext cx="60892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pt-BR" dirty="0">
                <a:solidFill>
                  <a:schemeClr val="tx2"/>
                </a:solidFill>
              </a:rPr>
              <a:t>Fonte: INEP | IDEB 2017</a:t>
            </a:r>
          </a:p>
        </p:txBody>
      </p:sp>
      <p:sp>
        <p:nvSpPr>
          <p:cNvPr id="537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3404469" y="6391660"/>
            <a:ext cx="2091002" cy="279638"/>
          </a:xfrm>
        </p:spPr>
        <p:txBody>
          <a:bodyPr/>
          <a:lstStyle/>
          <a:p>
            <a:fld id="{54E26E91-FA1B-6245-924D-A20CF7519F8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xmlns="" id="{75C97E14-E519-41EC-B6A3-9B1831855279}"/>
              </a:ext>
            </a:extLst>
          </p:cNvPr>
          <p:cNvSpPr/>
          <p:nvPr/>
        </p:nvSpPr>
        <p:spPr>
          <a:xfrm>
            <a:off x="0" y="1884619"/>
            <a:ext cx="8971633" cy="91317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33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3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xmlns="" id="{AA5E46BC-5E0E-4EBA-8005-D538781422DF}"/>
              </a:ext>
            </a:extLst>
          </p:cNvPr>
          <p:cNvSpPr/>
          <p:nvPr/>
        </p:nvSpPr>
        <p:spPr>
          <a:xfrm>
            <a:off x="0" y="2773877"/>
            <a:ext cx="8971633" cy="11566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33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3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xmlns="" id="{D2570C01-D9D6-4265-954D-045552BAE523}"/>
              </a:ext>
            </a:extLst>
          </p:cNvPr>
          <p:cNvSpPr/>
          <p:nvPr/>
        </p:nvSpPr>
        <p:spPr>
          <a:xfrm>
            <a:off x="158751" y="1632948"/>
            <a:ext cx="4481488" cy="2993541"/>
          </a:xfrm>
          <a:prstGeom prst="ellipse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33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23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xmlns="" id="{1255E9A6-AE83-4789-8E0D-C0B39849FAE4}"/>
              </a:ext>
            </a:extLst>
          </p:cNvPr>
          <p:cNvSpPr txBox="1"/>
          <p:nvPr/>
        </p:nvSpPr>
        <p:spPr>
          <a:xfrm>
            <a:off x="4640239" y="2939884"/>
            <a:ext cx="4237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36042" fontAlgn="auto">
              <a:spcBef>
                <a:spcPts val="0"/>
              </a:spcBef>
              <a:spcAft>
                <a:spcPts val="0"/>
              </a:spcAft>
            </a:pPr>
            <a:r>
              <a:rPr lang="pt-BR" u="sng" dirty="0">
                <a:solidFill>
                  <a:schemeClr val="tx2"/>
                </a:solidFill>
                <a:latin typeface="Candara" panose="020E0502030303020204" pitchFamily="34" charset="0"/>
              </a:rPr>
              <a:t>Escolas parciais</a:t>
            </a:r>
          </a:p>
          <a:p>
            <a:pPr defTabSz="336042" fontAlgn="auto">
              <a:spcBef>
                <a:spcPts val="0"/>
              </a:spcBef>
              <a:spcAft>
                <a:spcPts val="0"/>
              </a:spcAft>
            </a:pPr>
            <a:r>
              <a:rPr lang="pt-BR" dirty="0">
                <a:solidFill>
                  <a:schemeClr val="tx2"/>
                </a:solidFill>
                <a:latin typeface="Candara" panose="020E0502030303020204" pitchFamily="34" charset="0"/>
              </a:rPr>
              <a:t>% mães com ensino médio completo: 47%</a:t>
            </a:r>
          </a:p>
          <a:p>
            <a:pPr defTabSz="336042" fontAlgn="auto">
              <a:spcBef>
                <a:spcPts val="0"/>
              </a:spcBef>
              <a:spcAft>
                <a:spcPts val="0"/>
              </a:spcAft>
            </a:pPr>
            <a:r>
              <a:rPr lang="pt-BR" dirty="0">
                <a:solidFill>
                  <a:schemeClr val="tx2"/>
                </a:solidFill>
                <a:latin typeface="Candara" panose="020E0502030303020204" pitchFamily="34" charset="0"/>
              </a:rPr>
              <a:t> % famílias com renda maior que 2 salários: 16%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852597DA-BACA-4C7D-AA17-D3775ADCC9C1}"/>
              </a:ext>
            </a:extLst>
          </p:cNvPr>
          <p:cNvSpPr txBox="1"/>
          <p:nvPr/>
        </p:nvSpPr>
        <p:spPr>
          <a:xfrm>
            <a:off x="4640239" y="1902654"/>
            <a:ext cx="4237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36042" fontAlgn="auto">
              <a:spcBef>
                <a:spcPts val="0"/>
              </a:spcBef>
              <a:spcAft>
                <a:spcPts val="0"/>
              </a:spcAft>
            </a:pPr>
            <a:r>
              <a:rPr lang="pt-BR" u="sng" dirty="0">
                <a:solidFill>
                  <a:srgbClr val="FFFFFF"/>
                </a:solidFill>
                <a:latin typeface="Candara" panose="020E0502030303020204" pitchFamily="34" charset="0"/>
              </a:rPr>
              <a:t>Escolas integrais</a:t>
            </a:r>
          </a:p>
          <a:p>
            <a:pPr defTabSz="336042" fontAlgn="auto">
              <a:spcBef>
                <a:spcPts val="0"/>
              </a:spcBef>
              <a:spcAft>
                <a:spcPts val="0"/>
              </a:spcAft>
            </a:pPr>
            <a:r>
              <a:rPr lang="pt-BR" dirty="0">
                <a:solidFill>
                  <a:srgbClr val="FFFFFF"/>
                </a:solidFill>
                <a:latin typeface="Candara" panose="020E0502030303020204" pitchFamily="34" charset="0"/>
              </a:rPr>
              <a:t>% mães com ensino médio completo: 48%</a:t>
            </a:r>
          </a:p>
          <a:p>
            <a:pPr defTabSz="336042" fontAlgn="auto">
              <a:spcBef>
                <a:spcPts val="0"/>
              </a:spcBef>
              <a:spcAft>
                <a:spcPts val="0"/>
              </a:spcAft>
            </a:pPr>
            <a:r>
              <a:rPr lang="pt-BR" dirty="0">
                <a:solidFill>
                  <a:srgbClr val="FFFFFF"/>
                </a:solidFill>
                <a:latin typeface="Candara" panose="020E0502030303020204" pitchFamily="34" charset="0"/>
              </a:rPr>
              <a:t> % famílias com renda maior que 2 salários: 16%</a:t>
            </a:r>
          </a:p>
        </p:txBody>
      </p:sp>
      <p:sp>
        <p:nvSpPr>
          <p:cNvPr id="20" name="Balão de Fala: Retângulo com Cantos Arredondados 19">
            <a:extLst>
              <a:ext uri="{FF2B5EF4-FFF2-40B4-BE49-F238E27FC236}">
                <a16:creationId xmlns:a16="http://schemas.microsoft.com/office/drawing/2014/main" xmlns="" id="{589C0890-61E5-4A74-9E79-67C6F930081C}"/>
              </a:ext>
            </a:extLst>
          </p:cNvPr>
          <p:cNvSpPr/>
          <p:nvPr/>
        </p:nvSpPr>
        <p:spPr>
          <a:xfrm>
            <a:off x="5495471" y="4072646"/>
            <a:ext cx="2392935" cy="887052"/>
          </a:xfrm>
          <a:prstGeom prst="wedgeRoundRectCallout">
            <a:avLst>
              <a:gd name="adj1" fmla="val -87813"/>
              <a:gd name="adj2" fmla="val -49287"/>
              <a:gd name="adj3" fmla="val 16667"/>
            </a:avLst>
          </a:prstGeom>
          <a:solidFill>
            <a:srgbClr val="FFFFFF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R="0" lvl="0" algn="ctr" defTabSz="33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sz="1400" dirty="0">
                <a:solidFill>
                  <a:schemeClr val="tx2"/>
                </a:solidFill>
                <a:latin typeface="Candara" panose="020E0502030303020204" pitchFamily="34" charset="0"/>
              </a:rPr>
              <a:t>1 ponto no IDEB corresponde a mais ou menos 1 desvio-padrão nessa distribuição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xmlns="" id="{6BC1A915-D76D-43B5-AC94-00594DA4BDDE}"/>
              </a:ext>
            </a:extLst>
          </p:cNvPr>
          <p:cNvSpPr txBox="1"/>
          <p:nvPr/>
        </p:nvSpPr>
        <p:spPr>
          <a:xfrm>
            <a:off x="850876" y="5472747"/>
            <a:ext cx="6150425" cy="584775"/>
          </a:xfrm>
          <a:prstGeom prst="rect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tx2"/>
                </a:solidFill>
                <a:latin typeface="+mj-lt"/>
              </a:rPr>
              <a:t>Efeito na nota SAEB padronizada: 0.47 (0.6 desvio-padrão)</a:t>
            </a:r>
          </a:p>
          <a:p>
            <a:r>
              <a:rPr lang="pt-BR" dirty="0">
                <a:solidFill>
                  <a:schemeClr val="tx2"/>
                </a:solidFill>
                <a:latin typeface="+mj-lt"/>
              </a:rPr>
              <a:t>Efeito na taxa de rendimento: 0.05 (0.4 desvio-padrão)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FD694F62-DEA8-486C-849F-ABBA34AC72E8}"/>
              </a:ext>
            </a:extLst>
          </p:cNvPr>
          <p:cNvSpPr txBox="1"/>
          <p:nvPr/>
        </p:nvSpPr>
        <p:spPr>
          <a:xfrm>
            <a:off x="777908" y="5182441"/>
            <a:ext cx="6181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>
                <a:solidFill>
                  <a:schemeClr val="tx2"/>
                </a:solidFill>
                <a:latin typeface="Berlin Sans FB Demi" panose="020E0802020502020306" pitchFamily="34" charset="0"/>
              </a:rPr>
              <a:t>Obs</a:t>
            </a:r>
            <a:r>
              <a:rPr lang="pt-BR" dirty="0">
                <a:solidFill>
                  <a:schemeClr val="tx2"/>
                </a:solidFill>
                <a:latin typeface="Berlin Sans FB Demi" panose="020E0802020502020306" pitchFamily="34" charset="0"/>
              </a:rPr>
              <a:t>:</a:t>
            </a:r>
          </a:p>
        </p:txBody>
      </p:sp>
      <p:grpSp>
        <p:nvGrpSpPr>
          <p:cNvPr id="23" name="Agrupar 22">
            <a:extLst>
              <a:ext uri="{FF2B5EF4-FFF2-40B4-BE49-F238E27FC236}">
                <a16:creationId xmlns:a16="http://schemas.microsoft.com/office/drawing/2014/main" xmlns="" id="{8570D728-A8B9-4D48-9E3B-A2FAD7FDE0A5}"/>
              </a:ext>
            </a:extLst>
          </p:cNvPr>
          <p:cNvGrpSpPr/>
          <p:nvPr/>
        </p:nvGrpSpPr>
        <p:grpSpPr>
          <a:xfrm>
            <a:off x="363707" y="889951"/>
            <a:ext cx="3785212" cy="3962633"/>
            <a:chOff x="730553" y="1883713"/>
            <a:chExt cx="3418983" cy="3186423"/>
          </a:xfrm>
        </p:grpSpPr>
        <p:graphicFrame>
          <p:nvGraphicFramePr>
            <p:cNvPr id="24" name="Gráfico 23">
              <a:extLst>
                <a:ext uri="{FF2B5EF4-FFF2-40B4-BE49-F238E27FC236}">
                  <a16:creationId xmlns:a16="http://schemas.microsoft.com/office/drawing/2014/main" xmlns="" id="{AEFE5495-7D43-464E-A0EE-18ACA0476D4E}"/>
                </a:ext>
              </a:extLst>
            </p:cNvPr>
            <p:cNvGraphicFramePr/>
            <p:nvPr>
              <p:extLst/>
            </p:nvPr>
          </p:nvGraphicFramePr>
          <p:xfrm>
            <a:off x="730553" y="1883713"/>
            <a:ext cx="3418983" cy="318642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5" name="CaixaDeTexto 24">
              <a:extLst>
                <a:ext uri="{FF2B5EF4-FFF2-40B4-BE49-F238E27FC236}">
                  <a16:creationId xmlns:a16="http://schemas.microsoft.com/office/drawing/2014/main" xmlns="" id="{2EE5422C-E7D2-486B-9E9D-0120E00CC034}"/>
                </a:ext>
              </a:extLst>
            </p:cNvPr>
            <p:cNvSpPr txBox="1"/>
            <p:nvPr/>
          </p:nvSpPr>
          <p:spPr>
            <a:xfrm>
              <a:off x="1593149" y="4662430"/>
              <a:ext cx="1690560" cy="369653"/>
            </a:xfrm>
            <a:prstGeom prst="roundRect">
              <a:avLst/>
            </a:prstGeom>
            <a:solidFill>
              <a:srgbClr val="FFFFFF"/>
            </a:solidFill>
            <a:ln>
              <a:solidFill>
                <a:srgbClr val="00296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3360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ndara" panose="020E0502030303020204" pitchFamily="34" charset="0"/>
                </a:rPr>
                <a:t>Diferença significante a 1% 172 escolas na análise</a:t>
              </a:r>
            </a:p>
          </p:txBody>
        </p:sp>
        <p:sp>
          <p:nvSpPr>
            <p:cNvPr id="26" name="Seta: Curva para Baixo 25">
              <a:extLst>
                <a:ext uri="{FF2B5EF4-FFF2-40B4-BE49-F238E27FC236}">
                  <a16:creationId xmlns:a16="http://schemas.microsoft.com/office/drawing/2014/main" xmlns="" id="{0DB12E55-E2DA-4BC7-B25F-A11F28835526}"/>
                </a:ext>
              </a:extLst>
            </p:cNvPr>
            <p:cNvSpPr/>
            <p:nvPr/>
          </p:nvSpPr>
          <p:spPr>
            <a:xfrm>
              <a:off x="1860342" y="2269561"/>
              <a:ext cx="1009969" cy="485944"/>
            </a:xfrm>
            <a:prstGeom prst="curvedDownArrow">
              <a:avLst>
                <a:gd name="adj1" fmla="val 25000"/>
                <a:gd name="adj2" fmla="val 50000"/>
                <a:gd name="adj3" fmla="val 32193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  <p:sp>
          <p:nvSpPr>
            <p:cNvPr id="27" name="CaixaDeTexto 26">
              <a:extLst>
                <a:ext uri="{FF2B5EF4-FFF2-40B4-BE49-F238E27FC236}">
                  <a16:creationId xmlns:a16="http://schemas.microsoft.com/office/drawing/2014/main" xmlns="" id="{D9D058E8-BB72-4D2A-8F49-AFF375009C0E}"/>
                </a:ext>
              </a:extLst>
            </p:cNvPr>
            <p:cNvSpPr txBox="1"/>
            <p:nvPr/>
          </p:nvSpPr>
          <p:spPr>
            <a:xfrm>
              <a:off x="1993683" y="2563431"/>
              <a:ext cx="61818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dirty="0">
                  <a:solidFill>
                    <a:schemeClr val="tx2"/>
                  </a:solidFill>
                  <a:latin typeface="+mj-lt"/>
                </a:rPr>
                <a:t>+ 0.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42985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8" name="Rectangle 17"/>
          <p:cNvSpPr>
            <a:spLocks noGrp="1" noChangeArrowheads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pt-BR" altLang="en-US" dirty="0"/>
              <a:t>É POSSÍVEL EXPANDIR AS ESCOLAS INTEGRAIS A CUSTOS FACTÍVEIS </a:t>
            </a:r>
            <a:endParaRPr lang="en-GB" altLang="en-US" dirty="0"/>
          </a:p>
        </p:txBody>
      </p:sp>
      <p:sp>
        <p:nvSpPr>
          <p:cNvPr id="3075" name="Freeform 3"/>
          <p:cNvSpPr>
            <a:spLocks/>
          </p:cNvSpPr>
          <p:nvPr/>
        </p:nvSpPr>
        <p:spPr bwMode="auto">
          <a:xfrm>
            <a:off x="3381422" y="4452967"/>
            <a:ext cx="2511786" cy="1799839"/>
          </a:xfrm>
          <a:custGeom>
            <a:avLst/>
            <a:gdLst>
              <a:gd name="T0" fmla="*/ 1983738 w 1632"/>
              <a:gd name="T1" fmla="*/ 473414 h 1386"/>
              <a:gd name="T2" fmla="*/ 2010981 w 1632"/>
              <a:gd name="T3" fmla="*/ 446149 h 1386"/>
              <a:gd name="T4" fmla="*/ 2020887 w 1632"/>
              <a:gd name="T5" fmla="*/ 374270 h 1386"/>
              <a:gd name="T6" fmla="*/ 1983738 w 1632"/>
              <a:gd name="T7" fmla="*/ 267690 h 1386"/>
              <a:gd name="T8" fmla="*/ 1944113 w 1632"/>
              <a:gd name="T9" fmla="*/ 213160 h 1386"/>
              <a:gd name="T10" fmla="*/ 1862386 w 1632"/>
              <a:gd name="T11" fmla="*/ 158631 h 1386"/>
              <a:gd name="T12" fmla="*/ 1825237 w 1632"/>
              <a:gd name="T13" fmla="*/ 158631 h 1386"/>
              <a:gd name="T14" fmla="*/ 1788089 w 1632"/>
              <a:gd name="T15" fmla="*/ 183417 h 1386"/>
              <a:gd name="T16" fmla="*/ 1775706 w 1632"/>
              <a:gd name="T17" fmla="*/ 242904 h 1386"/>
              <a:gd name="T18" fmla="*/ 1760846 w 1632"/>
              <a:gd name="T19" fmla="*/ 302390 h 1386"/>
              <a:gd name="T20" fmla="*/ 1733604 w 1632"/>
              <a:gd name="T21" fmla="*/ 322219 h 1386"/>
              <a:gd name="T22" fmla="*/ 1703885 w 1632"/>
              <a:gd name="T23" fmla="*/ 319740 h 1386"/>
              <a:gd name="T24" fmla="*/ 1485946 w 1632"/>
              <a:gd name="T25" fmla="*/ 0 h 1386"/>
              <a:gd name="T26" fmla="*/ 1102077 w 1632"/>
              <a:gd name="T27" fmla="*/ 22307 h 1386"/>
              <a:gd name="T28" fmla="*/ 1069881 w 1632"/>
              <a:gd name="T29" fmla="*/ 59487 h 1386"/>
              <a:gd name="T30" fmla="*/ 1079788 w 1632"/>
              <a:gd name="T31" fmla="*/ 96666 h 1386"/>
              <a:gd name="T32" fmla="*/ 1136749 w 1632"/>
              <a:gd name="T33" fmla="*/ 138802 h 1386"/>
              <a:gd name="T34" fmla="*/ 1168944 w 1632"/>
              <a:gd name="T35" fmla="*/ 180938 h 1386"/>
              <a:gd name="T36" fmla="*/ 1163991 w 1632"/>
              <a:gd name="T37" fmla="*/ 223075 h 1386"/>
              <a:gd name="T38" fmla="*/ 1129319 w 1632"/>
              <a:gd name="T39" fmla="*/ 262732 h 1386"/>
              <a:gd name="T40" fmla="*/ 1015397 w 1632"/>
              <a:gd name="T41" fmla="*/ 299912 h 1386"/>
              <a:gd name="T42" fmla="*/ 938623 w 1632"/>
              <a:gd name="T43" fmla="*/ 294954 h 1386"/>
              <a:gd name="T44" fmla="*/ 842036 w 1632"/>
              <a:gd name="T45" fmla="*/ 255297 h 1386"/>
              <a:gd name="T46" fmla="*/ 814794 w 1632"/>
              <a:gd name="T47" fmla="*/ 210682 h 1386"/>
              <a:gd name="T48" fmla="*/ 817270 w 1632"/>
              <a:gd name="T49" fmla="*/ 171024 h 1386"/>
              <a:gd name="T50" fmla="*/ 861849 w 1632"/>
              <a:gd name="T51" fmla="*/ 128888 h 1386"/>
              <a:gd name="T52" fmla="*/ 906427 w 1632"/>
              <a:gd name="T53" fmla="*/ 86751 h 1386"/>
              <a:gd name="T54" fmla="*/ 908904 w 1632"/>
              <a:gd name="T55" fmla="*/ 49572 h 1386"/>
              <a:gd name="T56" fmla="*/ 851943 w 1632"/>
              <a:gd name="T57" fmla="*/ 9914 h 1386"/>
              <a:gd name="T58" fmla="*/ 307096 w 1632"/>
              <a:gd name="T59" fmla="*/ 332133 h 1386"/>
              <a:gd name="T60" fmla="*/ 299666 w 1632"/>
              <a:gd name="T61" fmla="*/ 416406 h 1386"/>
              <a:gd name="T62" fmla="*/ 326908 w 1632"/>
              <a:gd name="T63" fmla="*/ 441192 h 1386"/>
              <a:gd name="T64" fmla="*/ 381393 w 1632"/>
              <a:gd name="T65" fmla="*/ 436235 h 1386"/>
              <a:gd name="T66" fmla="*/ 445784 w 1632"/>
              <a:gd name="T67" fmla="*/ 406492 h 1386"/>
              <a:gd name="T68" fmla="*/ 482933 w 1632"/>
              <a:gd name="T69" fmla="*/ 416406 h 1386"/>
              <a:gd name="T70" fmla="*/ 515128 w 1632"/>
              <a:gd name="T71" fmla="*/ 456064 h 1386"/>
              <a:gd name="T72" fmla="*/ 512651 w 1632"/>
              <a:gd name="T73" fmla="*/ 545294 h 1386"/>
              <a:gd name="T74" fmla="*/ 482933 w 1632"/>
              <a:gd name="T75" fmla="*/ 622130 h 1386"/>
              <a:gd name="T76" fmla="*/ 408635 w 1632"/>
              <a:gd name="T77" fmla="*/ 706403 h 1386"/>
              <a:gd name="T78" fmla="*/ 341768 w 1632"/>
              <a:gd name="T79" fmla="*/ 733668 h 1386"/>
              <a:gd name="T80" fmla="*/ 304619 w 1632"/>
              <a:gd name="T81" fmla="*/ 726232 h 1386"/>
              <a:gd name="T82" fmla="*/ 274900 w 1632"/>
              <a:gd name="T83" fmla="*/ 689053 h 1386"/>
              <a:gd name="T84" fmla="*/ 267470 w 1632"/>
              <a:gd name="T85" fmla="*/ 607259 h 1386"/>
              <a:gd name="T86" fmla="*/ 235275 w 1632"/>
              <a:gd name="T87" fmla="*/ 570080 h 1386"/>
              <a:gd name="T88" fmla="*/ 200603 w 1632"/>
              <a:gd name="T89" fmla="*/ 572558 h 1386"/>
              <a:gd name="T90" fmla="*/ 4953 w 1632"/>
              <a:gd name="T91" fmla="*/ 852641 h 1386"/>
              <a:gd name="T92" fmla="*/ 1485946 w 1632"/>
              <a:gd name="T93" fmla="*/ 1717675 h 1386"/>
              <a:gd name="T94" fmla="*/ 1805425 w 1632"/>
              <a:gd name="T95" fmla="*/ 555208 h 1386"/>
              <a:gd name="T96" fmla="*/ 1802948 w 1632"/>
              <a:gd name="T97" fmla="*/ 473414 h 1386"/>
              <a:gd name="T98" fmla="*/ 1835144 w 1632"/>
              <a:gd name="T99" fmla="*/ 448628 h 1386"/>
              <a:gd name="T100" fmla="*/ 1879722 w 1632"/>
              <a:gd name="T101" fmla="*/ 451107 h 1386"/>
              <a:gd name="T102" fmla="*/ 1951543 w 1632"/>
              <a:gd name="T103" fmla="*/ 483328 h 138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1632" h="1386">
                <a:moveTo>
                  <a:pt x="1576" y="390"/>
                </a:moveTo>
                <a:lnTo>
                  <a:pt x="1576" y="390"/>
                </a:lnTo>
                <a:lnTo>
                  <a:pt x="1588" y="388"/>
                </a:lnTo>
                <a:lnTo>
                  <a:pt x="1602" y="382"/>
                </a:lnTo>
                <a:lnTo>
                  <a:pt x="1610" y="376"/>
                </a:lnTo>
                <a:lnTo>
                  <a:pt x="1618" y="368"/>
                </a:lnTo>
                <a:lnTo>
                  <a:pt x="1624" y="360"/>
                </a:lnTo>
                <a:lnTo>
                  <a:pt x="1628" y="350"/>
                </a:lnTo>
                <a:lnTo>
                  <a:pt x="1630" y="338"/>
                </a:lnTo>
                <a:lnTo>
                  <a:pt x="1632" y="328"/>
                </a:lnTo>
                <a:lnTo>
                  <a:pt x="1632" y="302"/>
                </a:lnTo>
                <a:lnTo>
                  <a:pt x="1626" y="278"/>
                </a:lnTo>
                <a:lnTo>
                  <a:pt x="1620" y="254"/>
                </a:lnTo>
                <a:lnTo>
                  <a:pt x="1612" y="234"/>
                </a:lnTo>
                <a:lnTo>
                  <a:pt x="1602" y="216"/>
                </a:lnTo>
                <a:lnTo>
                  <a:pt x="1594" y="202"/>
                </a:lnTo>
                <a:lnTo>
                  <a:pt x="1584" y="188"/>
                </a:lnTo>
                <a:lnTo>
                  <a:pt x="1570" y="172"/>
                </a:lnTo>
                <a:lnTo>
                  <a:pt x="1556" y="158"/>
                </a:lnTo>
                <a:lnTo>
                  <a:pt x="1540" y="146"/>
                </a:lnTo>
                <a:lnTo>
                  <a:pt x="1522" y="136"/>
                </a:lnTo>
                <a:lnTo>
                  <a:pt x="1504" y="128"/>
                </a:lnTo>
                <a:lnTo>
                  <a:pt x="1496" y="126"/>
                </a:lnTo>
                <a:lnTo>
                  <a:pt x="1486" y="126"/>
                </a:lnTo>
                <a:lnTo>
                  <a:pt x="1474" y="128"/>
                </a:lnTo>
                <a:lnTo>
                  <a:pt x="1460" y="134"/>
                </a:lnTo>
                <a:lnTo>
                  <a:pt x="1452" y="140"/>
                </a:lnTo>
                <a:lnTo>
                  <a:pt x="1444" y="148"/>
                </a:lnTo>
                <a:lnTo>
                  <a:pt x="1440" y="154"/>
                </a:lnTo>
                <a:lnTo>
                  <a:pt x="1436" y="162"/>
                </a:lnTo>
                <a:lnTo>
                  <a:pt x="1434" y="178"/>
                </a:lnTo>
                <a:lnTo>
                  <a:pt x="1434" y="196"/>
                </a:lnTo>
                <a:lnTo>
                  <a:pt x="1434" y="212"/>
                </a:lnTo>
                <a:lnTo>
                  <a:pt x="1432" y="228"/>
                </a:lnTo>
                <a:lnTo>
                  <a:pt x="1428" y="236"/>
                </a:lnTo>
                <a:lnTo>
                  <a:pt x="1422" y="244"/>
                </a:lnTo>
                <a:lnTo>
                  <a:pt x="1416" y="250"/>
                </a:lnTo>
                <a:lnTo>
                  <a:pt x="1406" y="258"/>
                </a:lnTo>
                <a:lnTo>
                  <a:pt x="1400" y="260"/>
                </a:lnTo>
                <a:lnTo>
                  <a:pt x="1392" y="260"/>
                </a:lnTo>
                <a:lnTo>
                  <a:pt x="1384" y="260"/>
                </a:lnTo>
                <a:lnTo>
                  <a:pt x="1376" y="258"/>
                </a:lnTo>
                <a:lnTo>
                  <a:pt x="1360" y="248"/>
                </a:lnTo>
                <a:lnTo>
                  <a:pt x="1344" y="236"/>
                </a:lnTo>
                <a:lnTo>
                  <a:pt x="1330" y="224"/>
                </a:lnTo>
                <a:lnTo>
                  <a:pt x="1200" y="0"/>
                </a:lnTo>
                <a:lnTo>
                  <a:pt x="936" y="0"/>
                </a:lnTo>
                <a:lnTo>
                  <a:pt x="914" y="8"/>
                </a:lnTo>
                <a:lnTo>
                  <a:pt x="890" y="18"/>
                </a:lnTo>
                <a:lnTo>
                  <a:pt x="880" y="24"/>
                </a:lnTo>
                <a:lnTo>
                  <a:pt x="872" y="32"/>
                </a:lnTo>
                <a:lnTo>
                  <a:pt x="866" y="40"/>
                </a:lnTo>
                <a:lnTo>
                  <a:pt x="864" y="48"/>
                </a:lnTo>
                <a:lnTo>
                  <a:pt x="866" y="60"/>
                </a:lnTo>
                <a:lnTo>
                  <a:pt x="868" y="70"/>
                </a:lnTo>
                <a:lnTo>
                  <a:pt x="872" y="78"/>
                </a:lnTo>
                <a:lnTo>
                  <a:pt x="876" y="84"/>
                </a:lnTo>
                <a:lnTo>
                  <a:pt x="890" y="96"/>
                </a:lnTo>
                <a:lnTo>
                  <a:pt x="904" y="104"/>
                </a:lnTo>
                <a:lnTo>
                  <a:pt x="918" y="112"/>
                </a:lnTo>
                <a:lnTo>
                  <a:pt x="932" y="122"/>
                </a:lnTo>
                <a:lnTo>
                  <a:pt x="936" y="130"/>
                </a:lnTo>
                <a:lnTo>
                  <a:pt x="940" y="138"/>
                </a:lnTo>
                <a:lnTo>
                  <a:pt x="944" y="146"/>
                </a:lnTo>
                <a:lnTo>
                  <a:pt x="944" y="158"/>
                </a:lnTo>
                <a:lnTo>
                  <a:pt x="944" y="170"/>
                </a:lnTo>
                <a:lnTo>
                  <a:pt x="940" y="180"/>
                </a:lnTo>
                <a:lnTo>
                  <a:pt x="936" y="190"/>
                </a:lnTo>
                <a:lnTo>
                  <a:pt x="928" y="198"/>
                </a:lnTo>
                <a:lnTo>
                  <a:pt x="920" y="206"/>
                </a:lnTo>
                <a:lnTo>
                  <a:pt x="912" y="212"/>
                </a:lnTo>
                <a:lnTo>
                  <a:pt x="890" y="224"/>
                </a:lnTo>
                <a:lnTo>
                  <a:pt x="866" y="232"/>
                </a:lnTo>
                <a:lnTo>
                  <a:pt x="842" y="238"/>
                </a:lnTo>
                <a:lnTo>
                  <a:pt x="820" y="242"/>
                </a:lnTo>
                <a:lnTo>
                  <a:pt x="800" y="242"/>
                </a:lnTo>
                <a:lnTo>
                  <a:pt x="782" y="242"/>
                </a:lnTo>
                <a:lnTo>
                  <a:pt x="758" y="238"/>
                </a:lnTo>
                <a:lnTo>
                  <a:pt x="734" y="232"/>
                </a:lnTo>
                <a:lnTo>
                  <a:pt x="710" y="224"/>
                </a:lnTo>
                <a:lnTo>
                  <a:pt x="690" y="212"/>
                </a:lnTo>
                <a:lnTo>
                  <a:pt x="680" y="206"/>
                </a:lnTo>
                <a:lnTo>
                  <a:pt x="672" y="198"/>
                </a:lnTo>
                <a:lnTo>
                  <a:pt x="666" y="190"/>
                </a:lnTo>
                <a:lnTo>
                  <a:pt x="660" y="180"/>
                </a:lnTo>
                <a:lnTo>
                  <a:pt x="658" y="170"/>
                </a:lnTo>
                <a:lnTo>
                  <a:pt x="656" y="158"/>
                </a:lnTo>
                <a:lnTo>
                  <a:pt x="658" y="146"/>
                </a:lnTo>
                <a:lnTo>
                  <a:pt x="660" y="138"/>
                </a:lnTo>
                <a:lnTo>
                  <a:pt x="664" y="130"/>
                </a:lnTo>
                <a:lnTo>
                  <a:pt x="670" y="122"/>
                </a:lnTo>
                <a:lnTo>
                  <a:pt x="682" y="112"/>
                </a:lnTo>
                <a:lnTo>
                  <a:pt x="696" y="104"/>
                </a:lnTo>
                <a:lnTo>
                  <a:pt x="712" y="96"/>
                </a:lnTo>
                <a:lnTo>
                  <a:pt x="724" y="84"/>
                </a:lnTo>
                <a:lnTo>
                  <a:pt x="730" y="78"/>
                </a:lnTo>
                <a:lnTo>
                  <a:pt x="732" y="70"/>
                </a:lnTo>
                <a:lnTo>
                  <a:pt x="736" y="60"/>
                </a:lnTo>
                <a:lnTo>
                  <a:pt x="736" y="48"/>
                </a:lnTo>
                <a:lnTo>
                  <a:pt x="734" y="40"/>
                </a:lnTo>
                <a:lnTo>
                  <a:pt x="728" y="32"/>
                </a:lnTo>
                <a:lnTo>
                  <a:pt x="720" y="24"/>
                </a:lnTo>
                <a:lnTo>
                  <a:pt x="710" y="18"/>
                </a:lnTo>
                <a:lnTo>
                  <a:pt x="688" y="8"/>
                </a:lnTo>
                <a:lnTo>
                  <a:pt x="666" y="0"/>
                </a:lnTo>
                <a:lnTo>
                  <a:pt x="402" y="0"/>
                </a:lnTo>
                <a:lnTo>
                  <a:pt x="248" y="268"/>
                </a:lnTo>
                <a:lnTo>
                  <a:pt x="242" y="290"/>
                </a:lnTo>
                <a:lnTo>
                  <a:pt x="240" y="314"/>
                </a:lnTo>
                <a:lnTo>
                  <a:pt x="240" y="326"/>
                </a:lnTo>
                <a:lnTo>
                  <a:pt x="242" y="336"/>
                </a:lnTo>
                <a:lnTo>
                  <a:pt x="248" y="344"/>
                </a:lnTo>
                <a:lnTo>
                  <a:pt x="254" y="350"/>
                </a:lnTo>
                <a:lnTo>
                  <a:pt x="264" y="356"/>
                </a:lnTo>
                <a:lnTo>
                  <a:pt x="274" y="358"/>
                </a:lnTo>
                <a:lnTo>
                  <a:pt x="284" y="358"/>
                </a:lnTo>
                <a:lnTo>
                  <a:pt x="292" y="358"/>
                </a:lnTo>
                <a:lnTo>
                  <a:pt x="308" y="352"/>
                </a:lnTo>
                <a:lnTo>
                  <a:pt x="322" y="344"/>
                </a:lnTo>
                <a:lnTo>
                  <a:pt x="336" y="336"/>
                </a:lnTo>
                <a:lnTo>
                  <a:pt x="352" y="330"/>
                </a:lnTo>
                <a:lnTo>
                  <a:pt x="360" y="328"/>
                </a:lnTo>
                <a:lnTo>
                  <a:pt x="370" y="328"/>
                </a:lnTo>
                <a:lnTo>
                  <a:pt x="378" y="332"/>
                </a:lnTo>
                <a:lnTo>
                  <a:pt x="390" y="336"/>
                </a:lnTo>
                <a:lnTo>
                  <a:pt x="398" y="342"/>
                </a:lnTo>
                <a:lnTo>
                  <a:pt x="406" y="350"/>
                </a:lnTo>
                <a:lnTo>
                  <a:pt x="412" y="358"/>
                </a:lnTo>
                <a:lnTo>
                  <a:pt x="416" y="368"/>
                </a:lnTo>
                <a:lnTo>
                  <a:pt x="418" y="380"/>
                </a:lnTo>
                <a:lnTo>
                  <a:pt x="420" y="392"/>
                </a:lnTo>
                <a:lnTo>
                  <a:pt x="418" y="416"/>
                </a:lnTo>
                <a:lnTo>
                  <a:pt x="414" y="440"/>
                </a:lnTo>
                <a:lnTo>
                  <a:pt x="408" y="464"/>
                </a:lnTo>
                <a:lnTo>
                  <a:pt x="400" y="486"/>
                </a:lnTo>
                <a:lnTo>
                  <a:pt x="390" y="502"/>
                </a:lnTo>
                <a:lnTo>
                  <a:pt x="380" y="518"/>
                </a:lnTo>
                <a:lnTo>
                  <a:pt x="366" y="536"/>
                </a:lnTo>
                <a:lnTo>
                  <a:pt x="348" y="554"/>
                </a:lnTo>
                <a:lnTo>
                  <a:pt x="330" y="570"/>
                </a:lnTo>
                <a:lnTo>
                  <a:pt x="308" y="584"/>
                </a:lnTo>
                <a:lnTo>
                  <a:pt x="298" y="588"/>
                </a:lnTo>
                <a:lnTo>
                  <a:pt x="288" y="592"/>
                </a:lnTo>
                <a:lnTo>
                  <a:pt x="276" y="592"/>
                </a:lnTo>
                <a:lnTo>
                  <a:pt x="266" y="592"/>
                </a:lnTo>
                <a:lnTo>
                  <a:pt x="256" y="590"/>
                </a:lnTo>
                <a:lnTo>
                  <a:pt x="246" y="586"/>
                </a:lnTo>
                <a:lnTo>
                  <a:pt x="236" y="578"/>
                </a:lnTo>
                <a:lnTo>
                  <a:pt x="230" y="572"/>
                </a:lnTo>
                <a:lnTo>
                  <a:pt x="224" y="564"/>
                </a:lnTo>
                <a:lnTo>
                  <a:pt x="222" y="556"/>
                </a:lnTo>
                <a:lnTo>
                  <a:pt x="218" y="540"/>
                </a:lnTo>
                <a:lnTo>
                  <a:pt x="218" y="522"/>
                </a:lnTo>
                <a:lnTo>
                  <a:pt x="218" y="506"/>
                </a:lnTo>
                <a:lnTo>
                  <a:pt x="216" y="490"/>
                </a:lnTo>
                <a:lnTo>
                  <a:pt x="212" y="482"/>
                </a:lnTo>
                <a:lnTo>
                  <a:pt x="206" y="474"/>
                </a:lnTo>
                <a:lnTo>
                  <a:pt x="200" y="468"/>
                </a:lnTo>
                <a:lnTo>
                  <a:pt x="190" y="460"/>
                </a:lnTo>
                <a:lnTo>
                  <a:pt x="182" y="458"/>
                </a:lnTo>
                <a:lnTo>
                  <a:pt x="172" y="458"/>
                </a:lnTo>
                <a:lnTo>
                  <a:pt x="162" y="462"/>
                </a:lnTo>
                <a:lnTo>
                  <a:pt x="152" y="466"/>
                </a:lnTo>
                <a:lnTo>
                  <a:pt x="132" y="480"/>
                </a:lnTo>
                <a:lnTo>
                  <a:pt x="116" y="496"/>
                </a:lnTo>
                <a:lnTo>
                  <a:pt x="4" y="688"/>
                </a:lnTo>
                <a:lnTo>
                  <a:pt x="2" y="688"/>
                </a:lnTo>
                <a:lnTo>
                  <a:pt x="0" y="694"/>
                </a:lnTo>
                <a:lnTo>
                  <a:pt x="400" y="1386"/>
                </a:lnTo>
                <a:lnTo>
                  <a:pt x="1200" y="1386"/>
                </a:lnTo>
                <a:lnTo>
                  <a:pt x="1600" y="694"/>
                </a:lnTo>
                <a:lnTo>
                  <a:pt x="1598" y="688"/>
                </a:lnTo>
                <a:lnTo>
                  <a:pt x="1458" y="448"/>
                </a:lnTo>
                <a:lnTo>
                  <a:pt x="1454" y="426"/>
                </a:lnTo>
                <a:lnTo>
                  <a:pt x="1452" y="402"/>
                </a:lnTo>
                <a:lnTo>
                  <a:pt x="1454" y="392"/>
                </a:lnTo>
                <a:lnTo>
                  <a:pt x="1456" y="382"/>
                </a:lnTo>
                <a:lnTo>
                  <a:pt x="1460" y="374"/>
                </a:lnTo>
                <a:lnTo>
                  <a:pt x="1466" y="368"/>
                </a:lnTo>
                <a:lnTo>
                  <a:pt x="1482" y="362"/>
                </a:lnTo>
                <a:lnTo>
                  <a:pt x="1496" y="360"/>
                </a:lnTo>
                <a:lnTo>
                  <a:pt x="1508" y="360"/>
                </a:lnTo>
                <a:lnTo>
                  <a:pt x="1518" y="364"/>
                </a:lnTo>
                <a:lnTo>
                  <a:pt x="1536" y="374"/>
                </a:lnTo>
                <a:lnTo>
                  <a:pt x="1556" y="384"/>
                </a:lnTo>
                <a:lnTo>
                  <a:pt x="1566" y="388"/>
                </a:lnTo>
                <a:lnTo>
                  <a:pt x="1576" y="390"/>
                </a:lnTo>
                <a:close/>
              </a:path>
            </a:pathLst>
          </a:custGeom>
          <a:solidFill>
            <a:srgbClr val="FDB82B"/>
          </a:solidFill>
          <a:ln w="38100" cap="flat" cmpd="sng">
            <a:solidFill>
              <a:srgbClr val="FDB82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1F2EF7ED-AF95-4E0F-9EA3-8384EBCF9FCE}"/>
              </a:ext>
            </a:extLst>
          </p:cNvPr>
          <p:cNvSpPr/>
          <p:nvPr/>
        </p:nvSpPr>
        <p:spPr>
          <a:xfrm>
            <a:off x="3483004" y="5770786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827583E-0A9D-4FD4-8889-DDBCF82D3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8" name="Freeform 6">
            <a:extLst>
              <a:ext uri="{FF2B5EF4-FFF2-40B4-BE49-F238E27FC236}">
                <a16:creationId xmlns:a16="http://schemas.microsoft.com/office/drawing/2014/main" xmlns="" id="{A5EED904-9C9E-42CA-97C8-869A8922D5AE}"/>
              </a:ext>
            </a:extLst>
          </p:cNvPr>
          <p:cNvSpPr>
            <a:spLocks/>
          </p:cNvSpPr>
          <p:nvPr/>
        </p:nvSpPr>
        <p:spPr bwMode="auto">
          <a:xfrm>
            <a:off x="5251288" y="3555879"/>
            <a:ext cx="2462458" cy="1793186"/>
          </a:xfrm>
          <a:custGeom>
            <a:avLst/>
            <a:gdLst>
              <a:gd name="T0" fmla="*/ 1124331 w 1600"/>
              <a:gd name="T1" fmla="*/ 4953 h 1382"/>
              <a:gd name="T2" fmla="*/ 1104519 w 1600"/>
              <a:gd name="T3" fmla="*/ 12383 h 1382"/>
              <a:gd name="T4" fmla="*/ 1094613 w 1600"/>
              <a:gd name="T5" fmla="*/ 17336 h 1382"/>
              <a:gd name="T6" fmla="*/ 1084707 w 1600"/>
              <a:gd name="T7" fmla="*/ 22289 h 1382"/>
              <a:gd name="T8" fmla="*/ 1077278 w 1600"/>
              <a:gd name="T9" fmla="*/ 27243 h 1382"/>
              <a:gd name="T10" fmla="*/ 1067372 w 1600"/>
              <a:gd name="T11" fmla="*/ 34672 h 1382"/>
              <a:gd name="T12" fmla="*/ 1062419 w 1600"/>
              <a:gd name="T13" fmla="*/ 42102 h 1382"/>
              <a:gd name="T14" fmla="*/ 1059942 w 1600"/>
              <a:gd name="T15" fmla="*/ 49532 h 1382"/>
              <a:gd name="T16" fmla="*/ 1057466 w 1600"/>
              <a:gd name="T17" fmla="*/ 56962 h 1382"/>
              <a:gd name="T18" fmla="*/ 1059942 w 1600"/>
              <a:gd name="T19" fmla="*/ 71821 h 1382"/>
              <a:gd name="T20" fmla="*/ 1059942 w 1600"/>
              <a:gd name="T21" fmla="*/ 79251 h 1382"/>
              <a:gd name="T22" fmla="*/ 1072325 w 1600"/>
              <a:gd name="T23" fmla="*/ 101540 h 1382"/>
              <a:gd name="T24" fmla="*/ 1121855 w 1600"/>
              <a:gd name="T25" fmla="*/ 136213 h 1382"/>
              <a:gd name="T26" fmla="*/ 1131761 w 1600"/>
              <a:gd name="T27" fmla="*/ 141166 h 1382"/>
              <a:gd name="T28" fmla="*/ 1144143 w 1600"/>
              <a:gd name="T29" fmla="*/ 153549 h 1382"/>
              <a:gd name="T30" fmla="*/ 1149096 w 1600"/>
              <a:gd name="T31" fmla="*/ 160978 h 1382"/>
              <a:gd name="T32" fmla="*/ 1156526 w 1600"/>
              <a:gd name="T33" fmla="*/ 180791 h 1382"/>
              <a:gd name="T34" fmla="*/ 1156526 w 1600"/>
              <a:gd name="T35" fmla="*/ 193174 h 1382"/>
              <a:gd name="T36" fmla="*/ 1126808 w 1600"/>
              <a:gd name="T37" fmla="*/ 252612 h 1382"/>
              <a:gd name="T38" fmla="*/ 978218 w 1600"/>
              <a:gd name="T39" fmla="*/ 297191 h 1382"/>
              <a:gd name="T40" fmla="*/ 842010 w 1600"/>
              <a:gd name="T41" fmla="*/ 260042 h 1382"/>
              <a:gd name="T42" fmla="*/ 799910 w 1600"/>
              <a:gd name="T43" fmla="*/ 193174 h 1382"/>
              <a:gd name="T44" fmla="*/ 802386 w 1600"/>
              <a:gd name="T45" fmla="*/ 183268 h 1382"/>
              <a:gd name="T46" fmla="*/ 804863 w 1600"/>
              <a:gd name="T47" fmla="*/ 170885 h 1382"/>
              <a:gd name="T48" fmla="*/ 812292 w 1600"/>
              <a:gd name="T49" fmla="*/ 153549 h 1382"/>
              <a:gd name="T50" fmla="*/ 819722 w 1600"/>
              <a:gd name="T51" fmla="*/ 146119 h 1382"/>
              <a:gd name="T52" fmla="*/ 832104 w 1600"/>
              <a:gd name="T53" fmla="*/ 136213 h 1382"/>
              <a:gd name="T54" fmla="*/ 869252 w 1600"/>
              <a:gd name="T55" fmla="*/ 113923 h 1382"/>
              <a:gd name="T56" fmla="*/ 896493 w 1600"/>
              <a:gd name="T57" fmla="*/ 79251 h 1382"/>
              <a:gd name="T58" fmla="*/ 898970 w 1600"/>
              <a:gd name="T59" fmla="*/ 71821 h 1382"/>
              <a:gd name="T60" fmla="*/ 898970 w 1600"/>
              <a:gd name="T61" fmla="*/ 56962 h 1382"/>
              <a:gd name="T62" fmla="*/ 898970 w 1600"/>
              <a:gd name="T63" fmla="*/ 49532 h 1382"/>
              <a:gd name="T64" fmla="*/ 894017 w 1600"/>
              <a:gd name="T65" fmla="*/ 42102 h 1382"/>
              <a:gd name="T66" fmla="*/ 889064 w 1600"/>
              <a:gd name="T67" fmla="*/ 34672 h 1382"/>
              <a:gd name="T68" fmla="*/ 879158 w 1600"/>
              <a:gd name="T69" fmla="*/ 27243 h 1382"/>
              <a:gd name="T70" fmla="*/ 871728 w 1600"/>
              <a:gd name="T71" fmla="*/ 22289 h 1382"/>
              <a:gd name="T72" fmla="*/ 861822 w 1600"/>
              <a:gd name="T73" fmla="*/ 17336 h 1382"/>
              <a:gd name="T74" fmla="*/ 851916 w 1600"/>
              <a:gd name="T75" fmla="*/ 12383 h 1382"/>
              <a:gd name="T76" fmla="*/ 834581 w 1600"/>
              <a:gd name="T77" fmla="*/ 4953 h 1382"/>
              <a:gd name="T78" fmla="*/ 497777 w 1600"/>
              <a:gd name="T79" fmla="*/ 2477 h 1382"/>
              <a:gd name="T80" fmla="*/ 324422 w 1600"/>
              <a:gd name="T81" fmla="*/ 371489 h 1382"/>
              <a:gd name="T82" fmla="*/ 373952 w 1600"/>
              <a:gd name="T83" fmla="*/ 398731 h 1382"/>
              <a:gd name="T84" fmla="*/ 470535 w 1600"/>
              <a:gd name="T85" fmla="*/ 361582 h 1382"/>
              <a:gd name="T86" fmla="*/ 525018 w 1600"/>
              <a:gd name="T87" fmla="*/ 388825 h 1382"/>
              <a:gd name="T88" fmla="*/ 537401 w 1600"/>
              <a:gd name="T89" fmla="*/ 500272 h 1382"/>
              <a:gd name="T90" fmla="*/ 475488 w 1600"/>
              <a:gd name="T91" fmla="*/ 619148 h 1382"/>
              <a:gd name="T92" fmla="*/ 366522 w 1600"/>
              <a:gd name="T93" fmla="*/ 688493 h 1382"/>
              <a:gd name="T94" fmla="*/ 307086 w 1600"/>
              <a:gd name="T95" fmla="*/ 661250 h 1382"/>
              <a:gd name="T96" fmla="*/ 289751 w 1600"/>
              <a:gd name="T97" fmla="*/ 562186 h 1382"/>
              <a:gd name="T98" fmla="*/ 250127 w 1600"/>
              <a:gd name="T99" fmla="*/ 522561 h 1382"/>
              <a:gd name="T100" fmla="*/ 4953 w 1600"/>
              <a:gd name="T101" fmla="*/ 854424 h 1382"/>
              <a:gd name="T102" fmla="*/ 180785 w 1600"/>
              <a:gd name="T103" fmla="*/ 1151615 h 1382"/>
              <a:gd name="T104" fmla="*/ 245174 w 1600"/>
              <a:gd name="T105" fmla="*/ 1181334 h 1382"/>
              <a:gd name="T106" fmla="*/ 282321 w 1600"/>
              <a:gd name="T107" fmla="*/ 1141709 h 1382"/>
              <a:gd name="T108" fmla="*/ 299657 w 1600"/>
              <a:gd name="T109" fmla="*/ 1042645 h 1382"/>
              <a:gd name="T110" fmla="*/ 354140 w 1600"/>
              <a:gd name="T111" fmla="*/ 1015403 h 1382"/>
              <a:gd name="T112" fmla="*/ 460629 w 1600"/>
              <a:gd name="T113" fmla="*/ 1072364 h 1382"/>
              <a:gd name="T114" fmla="*/ 525018 w 1600"/>
              <a:gd name="T115" fmla="*/ 1173905 h 1382"/>
              <a:gd name="T116" fmla="*/ 529971 w 1600"/>
              <a:gd name="T117" fmla="*/ 1305164 h 1382"/>
              <a:gd name="T118" fmla="*/ 465582 w 1600"/>
              <a:gd name="T119" fmla="*/ 1342313 h 1382"/>
              <a:gd name="T120" fmla="*/ 381381 w 1600"/>
              <a:gd name="T121" fmla="*/ 1307641 h 1382"/>
              <a:gd name="T122" fmla="*/ 326898 w 1600"/>
              <a:gd name="T123" fmla="*/ 1322500 h 1382"/>
              <a:gd name="T124" fmla="*/ 497777 w 1600"/>
              <a:gd name="T125" fmla="*/ 1711325 h 138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00" h="1382">
                <a:moveTo>
                  <a:pt x="1200" y="2"/>
                </a:moveTo>
                <a:lnTo>
                  <a:pt x="912" y="2"/>
                </a:lnTo>
                <a:lnTo>
                  <a:pt x="908" y="4"/>
                </a:lnTo>
                <a:lnTo>
                  <a:pt x="906" y="4"/>
                </a:lnTo>
                <a:lnTo>
                  <a:pt x="894" y="8"/>
                </a:lnTo>
                <a:lnTo>
                  <a:pt x="892" y="10"/>
                </a:lnTo>
                <a:lnTo>
                  <a:pt x="890" y="10"/>
                </a:lnTo>
                <a:lnTo>
                  <a:pt x="886" y="12"/>
                </a:lnTo>
                <a:lnTo>
                  <a:pt x="884" y="14"/>
                </a:lnTo>
                <a:lnTo>
                  <a:pt x="882" y="14"/>
                </a:lnTo>
                <a:lnTo>
                  <a:pt x="880" y="16"/>
                </a:lnTo>
                <a:lnTo>
                  <a:pt x="876" y="18"/>
                </a:lnTo>
                <a:lnTo>
                  <a:pt x="874" y="18"/>
                </a:lnTo>
                <a:lnTo>
                  <a:pt x="870" y="22"/>
                </a:lnTo>
                <a:lnTo>
                  <a:pt x="866" y="26"/>
                </a:lnTo>
                <a:lnTo>
                  <a:pt x="864" y="26"/>
                </a:lnTo>
                <a:lnTo>
                  <a:pt x="862" y="28"/>
                </a:lnTo>
                <a:lnTo>
                  <a:pt x="862" y="30"/>
                </a:lnTo>
                <a:lnTo>
                  <a:pt x="860" y="32"/>
                </a:lnTo>
                <a:lnTo>
                  <a:pt x="858" y="34"/>
                </a:lnTo>
                <a:lnTo>
                  <a:pt x="856" y="36"/>
                </a:lnTo>
                <a:lnTo>
                  <a:pt x="856" y="38"/>
                </a:lnTo>
                <a:lnTo>
                  <a:pt x="856" y="40"/>
                </a:lnTo>
                <a:lnTo>
                  <a:pt x="854" y="42"/>
                </a:lnTo>
                <a:lnTo>
                  <a:pt x="854" y="46"/>
                </a:lnTo>
                <a:lnTo>
                  <a:pt x="854" y="52"/>
                </a:lnTo>
                <a:lnTo>
                  <a:pt x="854" y="54"/>
                </a:lnTo>
                <a:lnTo>
                  <a:pt x="856" y="58"/>
                </a:lnTo>
                <a:lnTo>
                  <a:pt x="856" y="60"/>
                </a:lnTo>
                <a:lnTo>
                  <a:pt x="856" y="64"/>
                </a:lnTo>
                <a:lnTo>
                  <a:pt x="858" y="70"/>
                </a:lnTo>
                <a:lnTo>
                  <a:pt x="862" y="76"/>
                </a:lnTo>
                <a:lnTo>
                  <a:pt x="866" y="82"/>
                </a:lnTo>
                <a:lnTo>
                  <a:pt x="878" y="92"/>
                </a:lnTo>
                <a:lnTo>
                  <a:pt x="890" y="100"/>
                </a:lnTo>
                <a:lnTo>
                  <a:pt x="904" y="108"/>
                </a:lnTo>
                <a:lnTo>
                  <a:pt x="906" y="110"/>
                </a:lnTo>
                <a:lnTo>
                  <a:pt x="908" y="110"/>
                </a:lnTo>
                <a:lnTo>
                  <a:pt x="912" y="114"/>
                </a:lnTo>
                <a:lnTo>
                  <a:pt x="914" y="114"/>
                </a:lnTo>
                <a:lnTo>
                  <a:pt x="918" y="118"/>
                </a:lnTo>
                <a:lnTo>
                  <a:pt x="920" y="120"/>
                </a:lnTo>
                <a:lnTo>
                  <a:pt x="924" y="124"/>
                </a:lnTo>
                <a:lnTo>
                  <a:pt x="928" y="130"/>
                </a:lnTo>
                <a:lnTo>
                  <a:pt x="930" y="138"/>
                </a:lnTo>
                <a:lnTo>
                  <a:pt x="932" y="138"/>
                </a:lnTo>
                <a:lnTo>
                  <a:pt x="934" y="146"/>
                </a:lnTo>
                <a:lnTo>
                  <a:pt x="934" y="148"/>
                </a:lnTo>
                <a:lnTo>
                  <a:pt x="934" y="156"/>
                </a:lnTo>
                <a:lnTo>
                  <a:pt x="934" y="168"/>
                </a:lnTo>
                <a:lnTo>
                  <a:pt x="930" y="178"/>
                </a:lnTo>
                <a:lnTo>
                  <a:pt x="926" y="188"/>
                </a:lnTo>
                <a:lnTo>
                  <a:pt x="918" y="196"/>
                </a:lnTo>
                <a:lnTo>
                  <a:pt x="910" y="204"/>
                </a:lnTo>
                <a:lnTo>
                  <a:pt x="902" y="210"/>
                </a:lnTo>
                <a:lnTo>
                  <a:pt x="880" y="222"/>
                </a:lnTo>
                <a:lnTo>
                  <a:pt x="856" y="230"/>
                </a:lnTo>
                <a:lnTo>
                  <a:pt x="832" y="236"/>
                </a:lnTo>
                <a:lnTo>
                  <a:pt x="810" y="240"/>
                </a:lnTo>
                <a:lnTo>
                  <a:pt x="790" y="240"/>
                </a:lnTo>
                <a:lnTo>
                  <a:pt x="770" y="240"/>
                </a:lnTo>
                <a:lnTo>
                  <a:pt x="748" y="236"/>
                </a:lnTo>
                <a:lnTo>
                  <a:pt x="724" y="230"/>
                </a:lnTo>
                <a:lnTo>
                  <a:pt x="700" y="222"/>
                </a:lnTo>
                <a:lnTo>
                  <a:pt x="680" y="210"/>
                </a:lnTo>
                <a:lnTo>
                  <a:pt x="670" y="204"/>
                </a:lnTo>
                <a:lnTo>
                  <a:pt x="662" y="196"/>
                </a:lnTo>
                <a:lnTo>
                  <a:pt x="656" y="188"/>
                </a:lnTo>
                <a:lnTo>
                  <a:pt x="650" y="178"/>
                </a:lnTo>
                <a:lnTo>
                  <a:pt x="648" y="168"/>
                </a:lnTo>
                <a:lnTo>
                  <a:pt x="646" y="156"/>
                </a:lnTo>
                <a:lnTo>
                  <a:pt x="648" y="148"/>
                </a:lnTo>
                <a:lnTo>
                  <a:pt x="648" y="146"/>
                </a:lnTo>
                <a:lnTo>
                  <a:pt x="650" y="138"/>
                </a:lnTo>
                <a:lnTo>
                  <a:pt x="652" y="130"/>
                </a:lnTo>
                <a:lnTo>
                  <a:pt x="656" y="124"/>
                </a:lnTo>
                <a:lnTo>
                  <a:pt x="660" y="120"/>
                </a:lnTo>
                <a:lnTo>
                  <a:pt x="662" y="118"/>
                </a:lnTo>
                <a:lnTo>
                  <a:pt x="666" y="114"/>
                </a:lnTo>
                <a:lnTo>
                  <a:pt x="668" y="114"/>
                </a:lnTo>
                <a:lnTo>
                  <a:pt x="672" y="110"/>
                </a:lnTo>
                <a:lnTo>
                  <a:pt x="674" y="110"/>
                </a:lnTo>
                <a:lnTo>
                  <a:pt x="676" y="108"/>
                </a:lnTo>
                <a:lnTo>
                  <a:pt x="690" y="100"/>
                </a:lnTo>
                <a:lnTo>
                  <a:pt x="702" y="92"/>
                </a:lnTo>
                <a:lnTo>
                  <a:pt x="714" y="82"/>
                </a:lnTo>
                <a:lnTo>
                  <a:pt x="718" y="76"/>
                </a:lnTo>
                <a:lnTo>
                  <a:pt x="722" y="70"/>
                </a:lnTo>
                <a:lnTo>
                  <a:pt x="724" y="64"/>
                </a:lnTo>
                <a:lnTo>
                  <a:pt x="724" y="60"/>
                </a:lnTo>
                <a:lnTo>
                  <a:pt x="726" y="58"/>
                </a:lnTo>
                <a:lnTo>
                  <a:pt x="726" y="54"/>
                </a:lnTo>
                <a:lnTo>
                  <a:pt x="726" y="52"/>
                </a:lnTo>
                <a:lnTo>
                  <a:pt x="726" y="46"/>
                </a:lnTo>
                <a:lnTo>
                  <a:pt x="726" y="42"/>
                </a:lnTo>
                <a:lnTo>
                  <a:pt x="726" y="40"/>
                </a:lnTo>
                <a:lnTo>
                  <a:pt x="724" y="38"/>
                </a:lnTo>
                <a:lnTo>
                  <a:pt x="724" y="36"/>
                </a:lnTo>
                <a:lnTo>
                  <a:pt x="722" y="34"/>
                </a:lnTo>
                <a:lnTo>
                  <a:pt x="722" y="32"/>
                </a:lnTo>
                <a:lnTo>
                  <a:pt x="720" y="30"/>
                </a:lnTo>
                <a:lnTo>
                  <a:pt x="718" y="28"/>
                </a:lnTo>
                <a:lnTo>
                  <a:pt x="716" y="26"/>
                </a:lnTo>
                <a:lnTo>
                  <a:pt x="714" y="26"/>
                </a:lnTo>
                <a:lnTo>
                  <a:pt x="710" y="22"/>
                </a:lnTo>
                <a:lnTo>
                  <a:pt x="706" y="18"/>
                </a:lnTo>
                <a:lnTo>
                  <a:pt x="704" y="18"/>
                </a:lnTo>
                <a:lnTo>
                  <a:pt x="702" y="16"/>
                </a:lnTo>
                <a:lnTo>
                  <a:pt x="700" y="14"/>
                </a:lnTo>
                <a:lnTo>
                  <a:pt x="696" y="14"/>
                </a:lnTo>
                <a:lnTo>
                  <a:pt x="694" y="12"/>
                </a:lnTo>
                <a:lnTo>
                  <a:pt x="692" y="10"/>
                </a:lnTo>
                <a:lnTo>
                  <a:pt x="688" y="10"/>
                </a:lnTo>
                <a:lnTo>
                  <a:pt x="686" y="8"/>
                </a:lnTo>
                <a:lnTo>
                  <a:pt x="674" y="4"/>
                </a:lnTo>
                <a:lnTo>
                  <a:pt x="668" y="2"/>
                </a:lnTo>
                <a:lnTo>
                  <a:pt x="402" y="2"/>
                </a:lnTo>
                <a:lnTo>
                  <a:pt x="264" y="238"/>
                </a:lnTo>
                <a:lnTo>
                  <a:pt x="260" y="260"/>
                </a:lnTo>
                <a:lnTo>
                  <a:pt x="260" y="282"/>
                </a:lnTo>
                <a:lnTo>
                  <a:pt x="260" y="292"/>
                </a:lnTo>
                <a:lnTo>
                  <a:pt x="262" y="300"/>
                </a:lnTo>
                <a:lnTo>
                  <a:pt x="268" y="308"/>
                </a:lnTo>
                <a:lnTo>
                  <a:pt x="274" y="314"/>
                </a:lnTo>
                <a:lnTo>
                  <a:pt x="284" y="318"/>
                </a:lnTo>
                <a:lnTo>
                  <a:pt x="294" y="322"/>
                </a:lnTo>
                <a:lnTo>
                  <a:pt x="302" y="322"/>
                </a:lnTo>
                <a:lnTo>
                  <a:pt x="312" y="322"/>
                </a:lnTo>
                <a:lnTo>
                  <a:pt x="326" y="316"/>
                </a:lnTo>
                <a:lnTo>
                  <a:pt x="342" y="308"/>
                </a:lnTo>
                <a:lnTo>
                  <a:pt x="356" y="298"/>
                </a:lnTo>
                <a:lnTo>
                  <a:pt x="372" y="292"/>
                </a:lnTo>
                <a:lnTo>
                  <a:pt x="380" y="292"/>
                </a:lnTo>
                <a:lnTo>
                  <a:pt x="388" y="292"/>
                </a:lnTo>
                <a:lnTo>
                  <a:pt x="398" y="294"/>
                </a:lnTo>
                <a:lnTo>
                  <a:pt x="408" y="300"/>
                </a:lnTo>
                <a:lnTo>
                  <a:pt x="418" y="306"/>
                </a:lnTo>
                <a:lnTo>
                  <a:pt x="424" y="314"/>
                </a:lnTo>
                <a:lnTo>
                  <a:pt x="430" y="322"/>
                </a:lnTo>
                <a:lnTo>
                  <a:pt x="434" y="332"/>
                </a:lnTo>
                <a:lnTo>
                  <a:pt x="438" y="344"/>
                </a:lnTo>
                <a:lnTo>
                  <a:pt x="438" y="354"/>
                </a:lnTo>
                <a:lnTo>
                  <a:pt x="438" y="380"/>
                </a:lnTo>
                <a:lnTo>
                  <a:pt x="434" y="404"/>
                </a:lnTo>
                <a:lnTo>
                  <a:pt x="426" y="428"/>
                </a:lnTo>
                <a:lnTo>
                  <a:pt x="418" y="448"/>
                </a:lnTo>
                <a:lnTo>
                  <a:pt x="410" y="466"/>
                </a:lnTo>
                <a:lnTo>
                  <a:pt x="398" y="482"/>
                </a:lnTo>
                <a:lnTo>
                  <a:pt x="384" y="500"/>
                </a:lnTo>
                <a:lnTo>
                  <a:pt x="368" y="518"/>
                </a:lnTo>
                <a:lnTo>
                  <a:pt x="348" y="534"/>
                </a:lnTo>
                <a:lnTo>
                  <a:pt x="328" y="548"/>
                </a:lnTo>
                <a:lnTo>
                  <a:pt x="318" y="552"/>
                </a:lnTo>
                <a:lnTo>
                  <a:pt x="306" y="554"/>
                </a:lnTo>
                <a:lnTo>
                  <a:pt x="296" y="556"/>
                </a:lnTo>
                <a:lnTo>
                  <a:pt x="284" y="556"/>
                </a:lnTo>
                <a:lnTo>
                  <a:pt x="274" y="554"/>
                </a:lnTo>
                <a:lnTo>
                  <a:pt x="264" y="548"/>
                </a:lnTo>
                <a:lnTo>
                  <a:pt x="256" y="542"/>
                </a:lnTo>
                <a:lnTo>
                  <a:pt x="248" y="534"/>
                </a:lnTo>
                <a:lnTo>
                  <a:pt x="244" y="528"/>
                </a:lnTo>
                <a:lnTo>
                  <a:pt x="240" y="520"/>
                </a:lnTo>
                <a:lnTo>
                  <a:pt x="238" y="504"/>
                </a:lnTo>
                <a:lnTo>
                  <a:pt x="238" y="486"/>
                </a:lnTo>
                <a:lnTo>
                  <a:pt x="238" y="470"/>
                </a:lnTo>
                <a:lnTo>
                  <a:pt x="234" y="454"/>
                </a:lnTo>
                <a:lnTo>
                  <a:pt x="232" y="446"/>
                </a:lnTo>
                <a:lnTo>
                  <a:pt x="226" y="438"/>
                </a:lnTo>
                <a:lnTo>
                  <a:pt x="218" y="430"/>
                </a:lnTo>
                <a:lnTo>
                  <a:pt x="210" y="424"/>
                </a:lnTo>
                <a:lnTo>
                  <a:pt x="202" y="422"/>
                </a:lnTo>
                <a:lnTo>
                  <a:pt x="194" y="422"/>
                </a:lnTo>
                <a:lnTo>
                  <a:pt x="184" y="424"/>
                </a:lnTo>
                <a:lnTo>
                  <a:pt x="174" y="428"/>
                </a:lnTo>
                <a:lnTo>
                  <a:pt x="156" y="440"/>
                </a:lnTo>
                <a:lnTo>
                  <a:pt x="140" y="454"/>
                </a:lnTo>
                <a:lnTo>
                  <a:pt x="4" y="690"/>
                </a:lnTo>
                <a:lnTo>
                  <a:pt x="0" y="690"/>
                </a:lnTo>
                <a:lnTo>
                  <a:pt x="2" y="694"/>
                </a:lnTo>
                <a:lnTo>
                  <a:pt x="4" y="694"/>
                </a:lnTo>
                <a:lnTo>
                  <a:pt x="132" y="918"/>
                </a:lnTo>
                <a:lnTo>
                  <a:pt x="146" y="930"/>
                </a:lnTo>
                <a:lnTo>
                  <a:pt x="160" y="942"/>
                </a:lnTo>
                <a:lnTo>
                  <a:pt x="176" y="950"/>
                </a:lnTo>
                <a:lnTo>
                  <a:pt x="184" y="954"/>
                </a:lnTo>
                <a:lnTo>
                  <a:pt x="192" y="954"/>
                </a:lnTo>
                <a:lnTo>
                  <a:pt x="198" y="954"/>
                </a:lnTo>
                <a:lnTo>
                  <a:pt x="202" y="952"/>
                </a:lnTo>
                <a:lnTo>
                  <a:pt x="212" y="944"/>
                </a:lnTo>
                <a:lnTo>
                  <a:pt x="220" y="938"/>
                </a:lnTo>
                <a:lnTo>
                  <a:pt x="224" y="930"/>
                </a:lnTo>
                <a:lnTo>
                  <a:pt x="228" y="922"/>
                </a:lnTo>
                <a:lnTo>
                  <a:pt x="230" y="906"/>
                </a:lnTo>
                <a:lnTo>
                  <a:pt x="230" y="890"/>
                </a:lnTo>
                <a:lnTo>
                  <a:pt x="230" y="872"/>
                </a:lnTo>
                <a:lnTo>
                  <a:pt x="234" y="856"/>
                </a:lnTo>
                <a:lnTo>
                  <a:pt x="236" y="848"/>
                </a:lnTo>
                <a:lnTo>
                  <a:pt x="242" y="842"/>
                </a:lnTo>
                <a:lnTo>
                  <a:pt x="248" y="834"/>
                </a:lnTo>
                <a:lnTo>
                  <a:pt x="258" y="828"/>
                </a:lnTo>
                <a:lnTo>
                  <a:pt x="272" y="822"/>
                </a:lnTo>
                <a:lnTo>
                  <a:pt x="286" y="820"/>
                </a:lnTo>
                <a:lnTo>
                  <a:pt x="296" y="820"/>
                </a:lnTo>
                <a:lnTo>
                  <a:pt x="304" y="822"/>
                </a:lnTo>
                <a:lnTo>
                  <a:pt x="322" y="828"/>
                </a:lnTo>
                <a:lnTo>
                  <a:pt x="340" y="838"/>
                </a:lnTo>
                <a:lnTo>
                  <a:pt x="358" y="852"/>
                </a:lnTo>
                <a:lnTo>
                  <a:pt x="372" y="866"/>
                </a:lnTo>
                <a:lnTo>
                  <a:pt x="386" y="882"/>
                </a:lnTo>
                <a:lnTo>
                  <a:pt x="398" y="896"/>
                </a:lnTo>
                <a:lnTo>
                  <a:pt x="406" y="910"/>
                </a:lnTo>
                <a:lnTo>
                  <a:pt x="414" y="928"/>
                </a:lnTo>
                <a:lnTo>
                  <a:pt x="424" y="948"/>
                </a:lnTo>
                <a:lnTo>
                  <a:pt x="430" y="972"/>
                </a:lnTo>
                <a:lnTo>
                  <a:pt x="434" y="996"/>
                </a:lnTo>
                <a:lnTo>
                  <a:pt x="436" y="1022"/>
                </a:lnTo>
                <a:lnTo>
                  <a:pt x="434" y="1032"/>
                </a:lnTo>
                <a:lnTo>
                  <a:pt x="432" y="1044"/>
                </a:lnTo>
                <a:lnTo>
                  <a:pt x="428" y="1054"/>
                </a:lnTo>
                <a:lnTo>
                  <a:pt x="422" y="1062"/>
                </a:lnTo>
                <a:lnTo>
                  <a:pt x="414" y="1070"/>
                </a:lnTo>
                <a:lnTo>
                  <a:pt x="404" y="1076"/>
                </a:lnTo>
                <a:lnTo>
                  <a:pt x="390" y="1082"/>
                </a:lnTo>
                <a:lnTo>
                  <a:pt x="376" y="1084"/>
                </a:lnTo>
                <a:lnTo>
                  <a:pt x="366" y="1084"/>
                </a:lnTo>
                <a:lnTo>
                  <a:pt x="354" y="1080"/>
                </a:lnTo>
                <a:lnTo>
                  <a:pt x="336" y="1070"/>
                </a:lnTo>
                <a:lnTo>
                  <a:pt x="318" y="1060"/>
                </a:lnTo>
                <a:lnTo>
                  <a:pt x="308" y="1056"/>
                </a:lnTo>
                <a:lnTo>
                  <a:pt x="296" y="1054"/>
                </a:lnTo>
                <a:lnTo>
                  <a:pt x="284" y="1056"/>
                </a:lnTo>
                <a:lnTo>
                  <a:pt x="270" y="1062"/>
                </a:lnTo>
                <a:lnTo>
                  <a:pt x="264" y="1068"/>
                </a:lnTo>
                <a:lnTo>
                  <a:pt x="258" y="1076"/>
                </a:lnTo>
                <a:lnTo>
                  <a:pt x="256" y="1086"/>
                </a:lnTo>
                <a:lnTo>
                  <a:pt x="256" y="1096"/>
                </a:lnTo>
                <a:lnTo>
                  <a:pt x="258" y="1120"/>
                </a:lnTo>
                <a:lnTo>
                  <a:pt x="262" y="1142"/>
                </a:lnTo>
                <a:lnTo>
                  <a:pt x="402" y="1382"/>
                </a:lnTo>
                <a:lnTo>
                  <a:pt x="1200" y="1382"/>
                </a:lnTo>
                <a:lnTo>
                  <a:pt x="1600" y="690"/>
                </a:lnTo>
                <a:lnTo>
                  <a:pt x="1200" y="0"/>
                </a:lnTo>
                <a:lnTo>
                  <a:pt x="1200" y="2"/>
                </a:lnTo>
                <a:close/>
              </a:path>
            </a:pathLst>
          </a:custGeom>
          <a:solidFill>
            <a:srgbClr val="B4B4B7"/>
          </a:solidFill>
          <a:ln w="38100" cap="flat" cmpd="sng">
            <a:solidFill>
              <a:srgbClr val="B4B4B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19" name="Freeform 7">
            <a:extLst>
              <a:ext uri="{FF2B5EF4-FFF2-40B4-BE49-F238E27FC236}">
                <a16:creationId xmlns:a16="http://schemas.microsoft.com/office/drawing/2014/main" xmlns="" id="{8809ECA1-4B8C-4856-B271-CDC6202CC245}"/>
              </a:ext>
            </a:extLst>
          </p:cNvPr>
          <p:cNvSpPr>
            <a:spLocks/>
          </p:cNvSpPr>
          <p:nvPr/>
        </p:nvSpPr>
        <p:spPr bwMode="auto">
          <a:xfrm>
            <a:off x="3375638" y="834399"/>
            <a:ext cx="2519679" cy="1799839"/>
          </a:xfrm>
          <a:custGeom>
            <a:avLst/>
            <a:gdLst>
              <a:gd name="T0" fmla="*/ 245350 w 1636"/>
              <a:gd name="T1" fmla="*/ 1122809 h 1386"/>
              <a:gd name="T2" fmla="*/ 265176 w 1636"/>
              <a:gd name="T3" fmla="*/ 1075716 h 1386"/>
              <a:gd name="T4" fmla="*/ 265176 w 1636"/>
              <a:gd name="T5" fmla="*/ 1033579 h 1386"/>
              <a:gd name="T6" fmla="*/ 287481 w 1636"/>
              <a:gd name="T7" fmla="*/ 991443 h 1386"/>
              <a:gd name="T8" fmla="*/ 322177 w 1636"/>
              <a:gd name="T9" fmla="*/ 974093 h 1386"/>
              <a:gd name="T10" fmla="*/ 374221 w 1636"/>
              <a:gd name="T11" fmla="*/ 984007 h 1386"/>
              <a:gd name="T12" fmla="*/ 463439 w 1636"/>
              <a:gd name="T13" fmla="*/ 1065801 h 1386"/>
              <a:gd name="T14" fmla="*/ 503092 w 1636"/>
              <a:gd name="T15" fmla="*/ 1145117 h 1386"/>
              <a:gd name="T16" fmla="*/ 513005 w 1636"/>
              <a:gd name="T17" fmla="*/ 1216996 h 1386"/>
              <a:gd name="T18" fmla="*/ 500614 w 1636"/>
              <a:gd name="T19" fmla="*/ 1278961 h 1386"/>
              <a:gd name="T20" fmla="*/ 475831 w 1636"/>
              <a:gd name="T21" fmla="*/ 1301269 h 1386"/>
              <a:gd name="T22" fmla="*/ 428743 w 1636"/>
              <a:gd name="T23" fmla="*/ 1311183 h 1386"/>
              <a:gd name="T24" fmla="*/ 354395 w 1636"/>
              <a:gd name="T25" fmla="*/ 1274004 h 1386"/>
              <a:gd name="T26" fmla="*/ 307307 w 1636"/>
              <a:gd name="T27" fmla="*/ 1283919 h 1386"/>
              <a:gd name="T28" fmla="*/ 292438 w 1636"/>
              <a:gd name="T29" fmla="*/ 1311183 h 1386"/>
              <a:gd name="T30" fmla="*/ 297394 w 1636"/>
              <a:gd name="T31" fmla="*/ 1365713 h 1386"/>
              <a:gd name="T32" fmla="*/ 495657 w 1636"/>
              <a:gd name="T33" fmla="*/ 1712718 h 1386"/>
              <a:gd name="T34" fmla="*/ 822791 w 1636"/>
              <a:gd name="T35" fmla="*/ 1717675 h 1386"/>
              <a:gd name="T36" fmla="*/ 899617 w 1636"/>
              <a:gd name="T37" fmla="*/ 1680496 h 1386"/>
              <a:gd name="T38" fmla="*/ 909531 w 1636"/>
              <a:gd name="T39" fmla="*/ 1643317 h 1386"/>
              <a:gd name="T40" fmla="*/ 879791 w 1636"/>
              <a:gd name="T41" fmla="*/ 1598702 h 1386"/>
              <a:gd name="T42" fmla="*/ 820312 w 1636"/>
              <a:gd name="T43" fmla="*/ 1556566 h 1386"/>
              <a:gd name="T44" fmla="*/ 810399 w 1636"/>
              <a:gd name="T45" fmla="*/ 1521865 h 1386"/>
              <a:gd name="T46" fmla="*/ 830225 w 1636"/>
              <a:gd name="T47" fmla="*/ 1472293 h 1386"/>
              <a:gd name="T48" fmla="*/ 907052 w 1636"/>
              <a:gd name="T49" fmla="*/ 1430157 h 1386"/>
              <a:gd name="T50" fmla="*/ 988836 w 1636"/>
              <a:gd name="T51" fmla="*/ 1417763 h 1386"/>
              <a:gd name="T52" fmla="*/ 1100358 w 1636"/>
              <a:gd name="T53" fmla="*/ 1440071 h 1386"/>
              <a:gd name="T54" fmla="*/ 1157359 w 1636"/>
              <a:gd name="T55" fmla="*/ 1484686 h 1386"/>
              <a:gd name="T56" fmla="*/ 1167272 w 1636"/>
              <a:gd name="T57" fmla="*/ 1521865 h 1386"/>
              <a:gd name="T58" fmla="*/ 1152402 w 1636"/>
              <a:gd name="T59" fmla="*/ 1566480 h 1386"/>
              <a:gd name="T60" fmla="*/ 1083010 w 1636"/>
              <a:gd name="T61" fmla="*/ 1613573 h 1386"/>
              <a:gd name="T62" fmla="*/ 1068141 w 1636"/>
              <a:gd name="T63" fmla="*/ 1658188 h 1386"/>
              <a:gd name="T64" fmla="*/ 1087967 w 1636"/>
              <a:gd name="T65" fmla="*/ 1687932 h 1386"/>
              <a:gd name="T66" fmla="*/ 1479536 w 1636"/>
              <a:gd name="T67" fmla="*/ 1717675 h 1386"/>
              <a:gd name="T68" fmla="*/ 1489449 w 1636"/>
              <a:gd name="T69" fmla="*/ 1707761 h 1386"/>
              <a:gd name="T70" fmla="*/ 1660451 w 1636"/>
              <a:gd name="T71" fmla="*/ 1410328 h 1386"/>
              <a:gd name="T72" fmla="*/ 1727365 w 1636"/>
              <a:gd name="T73" fmla="*/ 1368191 h 1386"/>
              <a:gd name="T74" fmla="*/ 1759582 w 1636"/>
              <a:gd name="T75" fmla="*/ 1380584 h 1386"/>
              <a:gd name="T76" fmla="*/ 1781887 w 1636"/>
              <a:gd name="T77" fmla="*/ 1427678 h 1386"/>
              <a:gd name="T78" fmla="*/ 1789322 w 1636"/>
              <a:gd name="T79" fmla="*/ 1499558 h 1386"/>
              <a:gd name="T80" fmla="*/ 1816583 w 1636"/>
              <a:gd name="T81" fmla="*/ 1526822 h 1386"/>
              <a:gd name="T82" fmla="*/ 1866148 w 1636"/>
              <a:gd name="T83" fmla="*/ 1534258 h 1386"/>
              <a:gd name="T84" fmla="*/ 1942975 w 1636"/>
              <a:gd name="T85" fmla="*/ 1489643 h 1386"/>
              <a:gd name="T86" fmla="*/ 1995019 w 1636"/>
              <a:gd name="T87" fmla="*/ 1425199 h 1386"/>
              <a:gd name="T88" fmla="*/ 2022280 w 1636"/>
              <a:gd name="T89" fmla="*/ 1355798 h 1386"/>
              <a:gd name="T90" fmla="*/ 2024759 w 1636"/>
              <a:gd name="T91" fmla="*/ 1271526 h 1386"/>
              <a:gd name="T92" fmla="*/ 1990063 w 1636"/>
              <a:gd name="T93" fmla="*/ 1226911 h 1386"/>
              <a:gd name="T94" fmla="*/ 1945454 w 1636"/>
              <a:gd name="T95" fmla="*/ 1219475 h 1386"/>
              <a:gd name="T96" fmla="*/ 1871105 w 1636"/>
              <a:gd name="T97" fmla="*/ 1254175 h 1386"/>
              <a:gd name="T98" fmla="*/ 1824018 w 1636"/>
              <a:gd name="T99" fmla="*/ 1244261 h 1386"/>
              <a:gd name="T100" fmla="*/ 1806670 w 1636"/>
              <a:gd name="T101" fmla="*/ 1216996 h 1386"/>
              <a:gd name="T102" fmla="*/ 1814105 w 1636"/>
              <a:gd name="T103" fmla="*/ 1147595 h 1386"/>
              <a:gd name="T104" fmla="*/ 1960323 w 1636"/>
              <a:gd name="T105" fmla="*/ 827855 h 1386"/>
              <a:gd name="T106" fmla="*/ 399004 w 1636"/>
              <a:gd name="T107" fmla="*/ 163588 h 1386"/>
              <a:gd name="T108" fmla="*/ 163567 w 1636"/>
              <a:gd name="T109" fmla="*/ 1117852 h 1386"/>
              <a:gd name="T110" fmla="*/ 218089 w 1636"/>
              <a:gd name="T111" fmla="*/ 1140159 h 138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36" h="1386">
                <a:moveTo>
                  <a:pt x="184" y="918"/>
                </a:moveTo>
                <a:lnTo>
                  <a:pt x="184" y="918"/>
                </a:lnTo>
                <a:lnTo>
                  <a:pt x="192" y="912"/>
                </a:lnTo>
                <a:lnTo>
                  <a:pt x="198" y="906"/>
                </a:lnTo>
                <a:lnTo>
                  <a:pt x="204" y="900"/>
                </a:lnTo>
                <a:lnTo>
                  <a:pt x="208" y="894"/>
                </a:lnTo>
                <a:lnTo>
                  <a:pt x="212" y="882"/>
                </a:lnTo>
                <a:lnTo>
                  <a:pt x="214" y="868"/>
                </a:lnTo>
                <a:lnTo>
                  <a:pt x="212" y="850"/>
                </a:lnTo>
                <a:lnTo>
                  <a:pt x="214" y="834"/>
                </a:lnTo>
                <a:lnTo>
                  <a:pt x="216" y="820"/>
                </a:lnTo>
                <a:lnTo>
                  <a:pt x="220" y="812"/>
                </a:lnTo>
                <a:lnTo>
                  <a:pt x="224" y="806"/>
                </a:lnTo>
                <a:lnTo>
                  <a:pt x="232" y="800"/>
                </a:lnTo>
                <a:lnTo>
                  <a:pt x="240" y="794"/>
                </a:lnTo>
                <a:lnTo>
                  <a:pt x="250" y="788"/>
                </a:lnTo>
                <a:lnTo>
                  <a:pt x="260" y="786"/>
                </a:lnTo>
                <a:lnTo>
                  <a:pt x="270" y="786"/>
                </a:lnTo>
                <a:lnTo>
                  <a:pt x="282" y="786"/>
                </a:lnTo>
                <a:lnTo>
                  <a:pt x="292" y="790"/>
                </a:lnTo>
                <a:lnTo>
                  <a:pt x="302" y="794"/>
                </a:lnTo>
                <a:lnTo>
                  <a:pt x="324" y="808"/>
                </a:lnTo>
                <a:lnTo>
                  <a:pt x="344" y="824"/>
                </a:lnTo>
                <a:lnTo>
                  <a:pt x="360" y="842"/>
                </a:lnTo>
                <a:lnTo>
                  <a:pt x="374" y="860"/>
                </a:lnTo>
                <a:lnTo>
                  <a:pt x="384" y="876"/>
                </a:lnTo>
                <a:lnTo>
                  <a:pt x="396" y="898"/>
                </a:lnTo>
                <a:lnTo>
                  <a:pt x="406" y="924"/>
                </a:lnTo>
                <a:lnTo>
                  <a:pt x="412" y="954"/>
                </a:lnTo>
                <a:lnTo>
                  <a:pt x="414" y="968"/>
                </a:lnTo>
                <a:lnTo>
                  <a:pt x="414" y="982"/>
                </a:lnTo>
                <a:lnTo>
                  <a:pt x="414" y="1004"/>
                </a:lnTo>
                <a:lnTo>
                  <a:pt x="412" y="1014"/>
                </a:lnTo>
                <a:lnTo>
                  <a:pt x="408" y="1022"/>
                </a:lnTo>
                <a:lnTo>
                  <a:pt x="404" y="1032"/>
                </a:lnTo>
                <a:lnTo>
                  <a:pt x="398" y="1038"/>
                </a:lnTo>
                <a:lnTo>
                  <a:pt x="392" y="1046"/>
                </a:lnTo>
                <a:lnTo>
                  <a:pt x="384" y="1050"/>
                </a:lnTo>
                <a:lnTo>
                  <a:pt x="374" y="1056"/>
                </a:lnTo>
                <a:lnTo>
                  <a:pt x="364" y="1058"/>
                </a:lnTo>
                <a:lnTo>
                  <a:pt x="354" y="1058"/>
                </a:lnTo>
                <a:lnTo>
                  <a:pt x="346" y="1058"/>
                </a:lnTo>
                <a:lnTo>
                  <a:pt x="330" y="1052"/>
                </a:lnTo>
                <a:lnTo>
                  <a:pt x="316" y="1042"/>
                </a:lnTo>
                <a:lnTo>
                  <a:pt x="302" y="1034"/>
                </a:lnTo>
                <a:lnTo>
                  <a:pt x="286" y="1028"/>
                </a:lnTo>
                <a:lnTo>
                  <a:pt x="278" y="1028"/>
                </a:lnTo>
                <a:lnTo>
                  <a:pt x="268" y="1028"/>
                </a:lnTo>
                <a:lnTo>
                  <a:pt x="258" y="1032"/>
                </a:lnTo>
                <a:lnTo>
                  <a:pt x="248" y="1036"/>
                </a:lnTo>
                <a:lnTo>
                  <a:pt x="242" y="1042"/>
                </a:lnTo>
                <a:lnTo>
                  <a:pt x="238" y="1048"/>
                </a:lnTo>
                <a:lnTo>
                  <a:pt x="236" y="1058"/>
                </a:lnTo>
                <a:lnTo>
                  <a:pt x="234" y="1068"/>
                </a:lnTo>
                <a:lnTo>
                  <a:pt x="236" y="1086"/>
                </a:lnTo>
                <a:lnTo>
                  <a:pt x="240" y="1102"/>
                </a:lnTo>
                <a:lnTo>
                  <a:pt x="398" y="1378"/>
                </a:lnTo>
                <a:lnTo>
                  <a:pt x="402" y="1378"/>
                </a:lnTo>
                <a:lnTo>
                  <a:pt x="402" y="1380"/>
                </a:lnTo>
                <a:lnTo>
                  <a:pt x="400" y="1382"/>
                </a:lnTo>
                <a:lnTo>
                  <a:pt x="402" y="1386"/>
                </a:lnTo>
                <a:lnTo>
                  <a:pt x="664" y="1386"/>
                </a:lnTo>
                <a:lnTo>
                  <a:pt x="686" y="1380"/>
                </a:lnTo>
                <a:lnTo>
                  <a:pt x="708" y="1368"/>
                </a:lnTo>
                <a:lnTo>
                  <a:pt x="718" y="1362"/>
                </a:lnTo>
                <a:lnTo>
                  <a:pt x="726" y="1356"/>
                </a:lnTo>
                <a:lnTo>
                  <a:pt x="732" y="1346"/>
                </a:lnTo>
                <a:lnTo>
                  <a:pt x="734" y="1338"/>
                </a:lnTo>
                <a:lnTo>
                  <a:pt x="734" y="1326"/>
                </a:lnTo>
                <a:lnTo>
                  <a:pt x="730" y="1316"/>
                </a:lnTo>
                <a:lnTo>
                  <a:pt x="728" y="1308"/>
                </a:lnTo>
                <a:lnTo>
                  <a:pt x="722" y="1302"/>
                </a:lnTo>
                <a:lnTo>
                  <a:pt x="710" y="1290"/>
                </a:lnTo>
                <a:lnTo>
                  <a:pt x="694" y="1282"/>
                </a:lnTo>
                <a:lnTo>
                  <a:pt x="680" y="1274"/>
                </a:lnTo>
                <a:lnTo>
                  <a:pt x="668" y="1264"/>
                </a:lnTo>
                <a:lnTo>
                  <a:pt x="662" y="1256"/>
                </a:lnTo>
                <a:lnTo>
                  <a:pt x="658" y="1248"/>
                </a:lnTo>
                <a:lnTo>
                  <a:pt x="656" y="1240"/>
                </a:lnTo>
                <a:lnTo>
                  <a:pt x="654" y="1228"/>
                </a:lnTo>
                <a:lnTo>
                  <a:pt x="656" y="1216"/>
                </a:lnTo>
                <a:lnTo>
                  <a:pt x="658" y="1206"/>
                </a:lnTo>
                <a:lnTo>
                  <a:pt x="664" y="1198"/>
                </a:lnTo>
                <a:lnTo>
                  <a:pt x="670" y="1188"/>
                </a:lnTo>
                <a:lnTo>
                  <a:pt x="678" y="1180"/>
                </a:lnTo>
                <a:lnTo>
                  <a:pt x="688" y="1174"/>
                </a:lnTo>
                <a:lnTo>
                  <a:pt x="708" y="1162"/>
                </a:lnTo>
                <a:lnTo>
                  <a:pt x="732" y="1154"/>
                </a:lnTo>
                <a:lnTo>
                  <a:pt x="756" y="1148"/>
                </a:lnTo>
                <a:lnTo>
                  <a:pt x="780" y="1144"/>
                </a:lnTo>
                <a:lnTo>
                  <a:pt x="798" y="1144"/>
                </a:lnTo>
                <a:lnTo>
                  <a:pt x="818" y="1144"/>
                </a:lnTo>
                <a:lnTo>
                  <a:pt x="840" y="1148"/>
                </a:lnTo>
                <a:lnTo>
                  <a:pt x="864" y="1154"/>
                </a:lnTo>
                <a:lnTo>
                  <a:pt x="888" y="1162"/>
                </a:lnTo>
                <a:lnTo>
                  <a:pt x="910" y="1174"/>
                </a:lnTo>
                <a:lnTo>
                  <a:pt x="918" y="1180"/>
                </a:lnTo>
                <a:lnTo>
                  <a:pt x="926" y="1188"/>
                </a:lnTo>
                <a:lnTo>
                  <a:pt x="934" y="1198"/>
                </a:lnTo>
                <a:lnTo>
                  <a:pt x="938" y="1206"/>
                </a:lnTo>
                <a:lnTo>
                  <a:pt x="942" y="1216"/>
                </a:lnTo>
                <a:lnTo>
                  <a:pt x="942" y="1228"/>
                </a:lnTo>
                <a:lnTo>
                  <a:pt x="942" y="1240"/>
                </a:lnTo>
                <a:lnTo>
                  <a:pt x="938" y="1248"/>
                </a:lnTo>
                <a:lnTo>
                  <a:pt x="934" y="1256"/>
                </a:lnTo>
                <a:lnTo>
                  <a:pt x="930" y="1264"/>
                </a:lnTo>
                <a:lnTo>
                  <a:pt x="916" y="1274"/>
                </a:lnTo>
                <a:lnTo>
                  <a:pt x="902" y="1282"/>
                </a:lnTo>
                <a:lnTo>
                  <a:pt x="888" y="1290"/>
                </a:lnTo>
                <a:lnTo>
                  <a:pt x="874" y="1302"/>
                </a:lnTo>
                <a:lnTo>
                  <a:pt x="870" y="1308"/>
                </a:lnTo>
                <a:lnTo>
                  <a:pt x="866" y="1316"/>
                </a:lnTo>
                <a:lnTo>
                  <a:pt x="864" y="1326"/>
                </a:lnTo>
                <a:lnTo>
                  <a:pt x="862" y="1338"/>
                </a:lnTo>
                <a:lnTo>
                  <a:pt x="864" y="1346"/>
                </a:lnTo>
                <a:lnTo>
                  <a:pt x="870" y="1356"/>
                </a:lnTo>
                <a:lnTo>
                  <a:pt x="878" y="1362"/>
                </a:lnTo>
                <a:lnTo>
                  <a:pt x="888" y="1368"/>
                </a:lnTo>
                <a:lnTo>
                  <a:pt x="912" y="1380"/>
                </a:lnTo>
                <a:lnTo>
                  <a:pt x="934" y="1386"/>
                </a:lnTo>
                <a:lnTo>
                  <a:pt x="1194" y="1386"/>
                </a:lnTo>
                <a:lnTo>
                  <a:pt x="1198" y="1380"/>
                </a:lnTo>
                <a:lnTo>
                  <a:pt x="1198" y="1378"/>
                </a:lnTo>
                <a:lnTo>
                  <a:pt x="1202" y="1378"/>
                </a:lnTo>
                <a:lnTo>
                  <a:pt x="1204" y="1372"/>
                </a:lnTo>
                <a:lnTo>
                  <a:pt x="1240" y="1310"/>
                </a:lnTo>
                <a:lnTo>
                  <a:pt x="1340" y="1138"/>
                </a:lnTo>
                <a:lnTo>
                  <a:pt x="1356" y="1124"/>
                </a:lnTo>
                <a:lnTo>
                  <a:pt x="1376" y="1112"/>
                </a:lnTo>
                <a:lnTo>
                  <a:pt x="1384" y="1108"/>
                </a:lnTo>
                <a:lnTo>
                  <a:pt x="1394" y="1104"/>
                </a:lnTo>
                <a:lnTo>
                  <a:pt x="1402" y="1104"/>
                </a:lnTo>
                <a:lnTo>
                  <a:pt x="1410" y="1108"/>
                </a:lnTo>
                <a:lnTo>
                  <a:pt x="1420" y="1114"/>
                </a:lnTo>
                <a:lnTo>
                  <a:pt x="1426" y="1122"/>
                </a:lnTo>
                <a:lnTo>
                  <a:pt x="1432" y="1128"/>
                </a:lnTo>
                <a:lnTo>
                  <a:pt x="1436" y="1136"/>
                </a:lnTo>
                <a:lnTo>
                  <a:pt x="1438" y="1152"/>
                </a:lnTo>
                <a:lnTo>
                  <a:pt x="1438" y="1170"/>
                </a:lnTo>
                <a:lnTo>
                  <a:pt x="1438" y="1186"/>
                </a:lnTo>
                <a:lnTo>
                  <a:pt x="1440" y="1202"/>
                </a:lnTo>
                <a:lnTo>
                  <a:pt x="1444" y="1210"/>
                </a:lnTo>
                <a:lnTo>
                  <a:pt x="1448" y="1218"/>
                </a:lnTo>
                <a:lnTo>
                  <a:pt x="1456" y="1226"/>
                </a:lnTo>
                <a:lnTo>
                  <a:pt x="1466" y="1232"/>
                </a:lnTo>
                <a:lnTo>
                  <a:pt x="1476" y="1236"/>
                </a:lnTo>
                <a:lnTo>
                  <a:pt x="1486" y="1240"/>
                </a:lnTo>
                <a:lnTo>
                  <a:pt x="1496" y="1240"/>
                </a:lnTo>
                <a:lnTo>
                  <a:pt x="1506" y="1238"/>
                </a:lnTo>
                <a:lnTo>
                  <a:pt x="1518" y="1234"/>
                </a:lnTo>
                <a:lnTo>
                  <a:pt x="1528" y="1230"/>
                </a:lnTo>
                <a:lnTo>
                  <a:pt x="1550" y="1218"/>
                </a:lnTo>
                <a:lnTo>
                  <a:pt x="1568" y="1202"/>
                </a:lnTo>
                <a:lnTo>
                  <a:pt x="1586" y="1184"/>
                </a:lnTo>
                <a:lnTo>
                  <a:pt x="1600" y="1166"/>
                </a:lnTo>
                <a:lnTo>
                  <a:pt x="1610" y="1150"/>
                </a:lnTo>
                <a:lnTo>
                  <a:pt x="1618" y="1132"/>
                </a:lnTo>
                <a:lnTo>
                  <a:pt x="1628" y="1112"/>
                </a:lnTo>
                <a:lnTo>
                  <a:pt x="1632" y="1094"/>
                </a:lnTo>
                <a:lnTo>
                  <a:pt x="1636" y="1076"/>
                </a:lnTo>
                <a:lnTo>
                  <a:pt x="1636" y="1060"/>
                </a:lnTo>
                <a:lnTo>
                  <a:pt x="1636" y="1042"/>
                </a:lnTo>
                <a:lnTo>
                  <a:pt x="1634" y="1026"/>
                </a:lnTo>
                <a:lnTo>
                  <a:pt x="1628" y="1012"/>
                </a:lnTo>
                <a:lnTo>
                  <a:pt x="1618" y="1000"/>
                </a:lnTo>
                <a:lnTo>
                  <a:pt x="1606" y="990"/>
                </a:lnTo>
                <a:lnTo>
                  <a:pt x="1596" y="986"/>
                </a:lnTo>
                <a:lnTo>
                  <a:pt x="1586" y="984"/>
                </a:lnTo>
                <a:lnTo>
                  <a:pt x="1578" y="982"/>
                </a:lnTo>
                <a:lnTo>
                  <a:pt x="1570" y="984"/>
                </a:lnTo>
                <a:lnTo>
                  <a:pt x="1554" y="990"/>
                </a:lnTo>
                <a:lnTo>
                  <a:pt x="1540" y="998"/>
                </a:lnTo>
                <a:lnTo>
                  <a:pt x="1524" y="1006"/>
                </a:lnTo>
                <a:lnTo>
                  <a:pt x="1510" y="1012"/>
                </a:lnTo>
                <a:lnTo>
                  <a:pt x="1500" y="1014"/>
                </a:lnTo>
                <a:lnTo>
                  <a:pt x="1492" y="1012"/>
                </a:lnTo>
                <a:lnTo>
                  <a:pt x="1482" y="1010"/>
                </a:lnTo>
                <a:lnTo>
                  <a:pt x="1472" y="1004"/>
                </a:lnTo>
                <a:lnTo>
                  <a:pt x="1464" y="1000"/>
                </a:lnTo>
                <a:lnTo>
                  <a:pt x="1460" y="992"/>
                </a:lnTo>
                <a:lnTo>
                  <a:pt x="1458" y="982"/>
                </a:lnTo>
                <a:lnTo>
                  <a:pt x="1458" y="972"/>
                </a:lnTo>
                <a:lnTo>
                  <a:pt x="1458" y="950"/>
                </a:lnTo>
                <a:lnTo>
                  <a:pt x="1462" y="928"/>
                </a:lnTo>
                <a:lnTo>
                  <a:pt x="1464" y="926"/>
                </a:lnTo>
                <a:lnTo>
                  <a:pt x="1466" y="920"/>
                </a:lnTo>
                <a:lnTo>
                  <a:pt x="1598" y="692"/>
                </a:lnTo>
                <a:lnTo>
                  <a:pt x="1582" y="668"/>
                </a:lnTo>
                <a:lnTo>
                  <a:pt x="1584" y="668"/>
                </a:lnTo>
                <a:lnTo>
                  <a:pt x="1198" y="0"/>
                </a:lnTo>
                <a:lnTo>
                  <a:pt x="398" y="0"/>
                </a:lnTo>
                <a:lnTo>
                  <a:pt x="322" y="132"/>
                </a:lnTo>
                <a:lnTo>
                  <a:pt x="0" y="690"/>
                </a:lnTo>
                <a:lnTo>
                  <a:pt x="116" y="888"/>
                </a:lnTo>
                <a:lnTo>
                  <a:pt x="132" y="902"/>
                </a:lnTo>
                <a:lnTo>
                  <a:pt x="150" y="914"/>
                </a:lnTo>
                <a:lnTo>
                  <a:pt x="160" y="918"/>
                </a:lnTo>
                <a:lnTo>
                  <a:pt x="168" y="920"/>
                </a:lnTo>
                <a:lnTo>
                  <a:pt x="176" y="920"/>
                </a:lnTo>
                <a:lnTo>
                  <a:pt x="184" y="918"/>
                </a:lnTo>
                <a:close/>
              </a:path>
            </a:pathLst>
          </a:custGeom>
          <a:solidFill>
            <a:srgbClr val="179A9D"/>
          </a:solidFill>
          <a:ln w="38100" cap="flat" cmpd="sng">
            <a:solidFill>
              <a:srgbClr val="179A9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0" name="Freeform 8">
            <a:extLst>
              <a:ext uri="{FF2B5EF4-FFF2-40B4-BE49-F238E27FC236}">
                <a16:creationId xmlns:a16="http://schemas.microsoft.com/office/drawing/2014/main" xmlns="" id="{F502C65C-000D-4D5B-9F40-FD32ADD0A27A}"/>
              </a:ext>
            </a:extLst>
          </p:cNvPr>
          <p:cNvSpPr>
            <a:spLocks/>
          </p:cNvSpPr>
          <p:nvPr/>
        </p:nvSpPr>
        <p:spPr bwMode="auto">
          <a:xfrm>
            <a:off x="5254903" y="1734865"/>
            <a:ext cx="2462458" cy="2107574"/>
          </a:xfrm>
          <a:custGeom>
            <a:avLst/>
            <a:gdLst>
              <a:gd name="T0" fmla="*/ 324422 w 1600"/>
              <a:gd name="T1" fmla="*/ 322016 h 1624"/>
              <a:gd name="T2" fmla="*/ 354140 w 1600"/>
              <a:gd name="T3" fmla="*/ 391373 h 1624"/>
              <a:gd name="T4" fmla="*/ 463106 w 1600"/>
              <a:gd name="T5" fmla="*/ 359172 h 1624"/>
              <a:gd name="T6" fmla="*/ 525018 w 1600"/>
              <a:gd name="T7" fmla="*/ 378988 h 1624"/>
              <a:gd name="T8" fmla="*/ 532448 w 1600"/>
              <a:gd name="T9" fmla="*/ 527611 h 1624"/>
              <a:gd name="T10" fmla="*/ 455676 w 1600"/>
              <a:gd name="T11" fmla="*/ 648986 h 1624"/>
              <a:gd name="T12" fmla="*/ 339281 w 1600"/>
              <a:gd name="T13" fmla="*/ 691096 h 1624"/>
              <a:gd name="T14" fmla="*/ 294704 w 1600"/>
              <a:gd name="T15" fmla="*/ 629170 h 1624"/>
              <a:gd name="T16" fmla="*/ 260033 w 1600"/>
              <a:gd name="T17" fmla="*/ 532565 h 1624"/>
              <a:gd name="T18" fmla="*/ 173355 w 1600"/>
              <a:gd name="T19" fmla="*/ 569721 h 1624"/>
              <a:gd name="T20" fmla="*/ 173355 w 1600"/>
              <a:gd name="T21" fmla="*/ 1156781 h 1624"/>
              <a:gd name="T22" fmla="*/ 264986 w 1600"/>
              <a:gd name="T23" fmla="*/ 1198891 h 1624"/>
              <a:gd name="T24" fmla="*/ 299657 w 1600"/>
              <a:gd name="T25" fmla="*/ 1122102 h 1624"/>
              <a:gd name="T26" fmla="*/ 331851 w 1600"/>
              <a:gd name="T27" fmla="*/ 1045314 h 1624"/>
              <a:gd name="T28" fmla="*/ 435864 w 1600"/>
              <a:gd name="T29" fmla="*/ 1062653 h 1624"/>
              <a:gd name="T30" fmla="*/ 534924 w 1600"/>
              <a:gd name="T31" fmla="*/ 1193937 h 1624"/>
              <a:gd name="T32" fmla="*/ 532448 w 1600"/>
              <a:gd name="T33" fmla="*/ 1335128 h 1624"/>
              <a:gd name="T34" fmla="*/ 465582 w 1600"/>
              <a:gd name="T35" fmla="*/ 1362376 h 1624"/>
              <a:gd name="T36" fmla="*/ 356616 w 1600"/>
              <a:gd name="T37" fmla="*/ 1330174 h 1624"/>
              <a:gd name="T38" fmla="*/ 329375 w 1600"/>
              <a:gd name="T39" fmla="*/ 1406963 h 1624"/>
              <a:gd name="T40" fmla="*/ 827151 w 1600"/>
              <a:gd name="T41" fmla="*/ 1716593 h 1624"/>
              <a:gd name="T42" fmla="*/ 849440 w 1600"/>
              <a:gd name="T43" fmla="*/ 1724025 h 1624"/>
              <a:gd name="T44" fmla="*/ 861822 w 1600"/>
              <a:gd name="T45" fmla="*/ 1731456 h 1624"/>
              <a:gd name="T46" fmla="*/ 871728 w 1600"/>
              <a:gd name="T47" fmla="*/ 1736410 h 1624"/>
              <a:gd name="T48" fmla="*/ 884111 w 1600"/>
              <a:gd name="T49" fmla="*/ 1746318 h 1624"/>
              <a:gd name="T50" fmla="*/ 891540 w 1600"/>
              <a:gd name="T51" fmla="*/ 1751272 h 1624"/>
              <a:gd name="T52" fmla="*/ 896493 w 1600"/>
              <a:gd name="T53" fmla="*/ 1761180 h 1624"/>
              <a:gd name="T54" fmla="*/ 898970 w 1600"/>
              <a:gd name="T55" fmla="*/ 1771088 h 1624"/>
              <a:gd name="T56" fmla="*/ 898970 w 1600"/>
              <a:gd name="T57" fmla="*/ 1778520 h 1624"/>
              <a:gd name="T58" fmla="*/ 896493 w 1600"/>
              <a:gd name="T59" fmla="*/ 1793382 h 1624"/>
              <a:gd name="T60" fmla="*/ 871728 w 1600"/>
              <a:gd name="T61" fmla="*/ 1828061 h 1624"/>
              <a:gd name="T62" fmla="*/ 832104 w 1600"/>
              <a:gd name="T63" fmla="*/ 1850354 h 1624"/>
              <a:gd name="T64" fmla="*/ 817245 w 1600"/>
              <a:gd name="T65" fmla="*/ 1862739 h 1624"/>
              <a:gd name="T66" fmla="*/ 807339 w 1600"/>
              <a:gd name="T67" fmla="*/ 1875124 h 1624"/>
              <a:gd name="T68" fmla="*/ 802386 w 1600"/>
              <a:gd name="T69" fmla="*/ 1894941 h 1624"/>
              <a:gd name="T70" fmla="*/ 804863 w 1600"/>
              <a:gd name="T71" fmla="*/ 1934574 h 1624"/>
              <a:gd name="T72" fmla="*/ 926211 w 1600"/>
              <a:gd name="T73" fmla="*/ 2006408 h 1624"/>
              <a:gd name="T74" fmla="*/ 1089660 w 1600"/>
              <a:gd name="T75" fmla="*/ 1989069 h 1624"/>
              <a:gd name="T76" fmla="*/ 1156526 w 1600"/>
              <a:gd name="T77" fmla="*/ 1907326 h 1624"/>
              <a:gd name="T78" fmla="*/ 1154049 w 1600"/>
              <a:gd name="T79" fmla="*/ 1885033 h 1624"/>
              <a:gd name="T80" fmla="*/ 1144143 w 1600"/>
              <a:gd name="T81" fmla="*/ 1867693 h 1624"/>
              <a:gd name="T82" fmla="*/ 1136714 w 1600"/>
              <a:gd name="T83" fmla="*/ 1860262 h 1624"/>
              <a:gd name="T84" fmla="*/ 1121855 w 1600"/>
              <a:gd name="T85" fmla="*/ 1850354 h 1624"/>
              <a:gd name="T86" fmla="*/ 1067372 w 1600"/>
              <a:gd name="T87" fmla="*/ 1808244 h 1624"/>
              <a:gd name="T88" fmla="*/ 1059942 w 1600"/>
              <a:gd name="T89" fmla="*/ 1793382 h 1624"/>
              <a:gd name="T90" fmla="*/ 1057466 w 1600"/>
              <a:gd name="T91" fmla="*/ 1780997 h 1624"/>
              <a:gd name="T92" fmla="*/ 1057466 w 1600"/>
              <a:gd name="T93" fmla="*/ 1771088 h 1624"/>
              <a:gd name="T94" fmla="*/ 1059942 w 1600"/>
              <a:gd name="T95" fmla="*/ 1761180 h 1624"/>
              <a:gd name="T96" fmla="*/ 1064895 w 1600"/>
              <a:gd name="T97" fmla="*/ 1753749 h 1624"/>
              <a:gd name="T98" fmla="*/ 1072325 w 1600"/>
              <a:gd name="T99" fmla="*/ 1746318 h 1624"/>
              <a:gd name="T100" fmla="*/ 1082231 w 1600"/>
              <a:gd name="T101" fmla="*/ 1736410 h 1624"/>
              <a:gd name="T102" fmla="*/ 1094613 w 1600"/>
              <a:gd name="T103" fmla="*/ 1731456 h 1624"/>
              <a:gd name="T104" fmla="*/ 1104519 w 1600"/>
              <a:gd name="T105" fmla="*/ 1726502 h 1624"/>
              <a:gd name="T106" fmla="*/ 1129284 w 1600"/>
              <a:gd name="T107" fmla="*/ 1716593 h 1624"/>
              <a:gd name="T108" fmla="*/ 1485900 w 1600"/>
              <a:gd name="T109" fmla="*/ 0 h 162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00" h="1624">
                <a:moveTo>
                  <a:pt x="1200" y="0"/>
                </a:moveTo>
                <a:lnTo>
                  <a:pt x="402" y="0"/>
                </a:lnTo>
                <a:lnTo>
                  <a:pt x="400" y="6"/>
                </a:lnTo>
                <a:lnTo>
                  <a:pt x="400" y="8"/>
                </a:lnTo>
                <a:lnTo>
                  <a:pt x="266" y="240"/>
                </a:lnTo>
                <a:lnTo>
                  <a:pt x="262" y="260"/>
                </a:lnTo>
                <a:lnTo>
                  <a:pt x="262" y="282"/>
                </a:lnTo>
                <a:lnTo>
                  <a:pt x="264" y="290"/>
                </a:lnTo>
                <a:lnTo>
                  <a:pt x="266" y="298"/>
                </a:lnTo>
                <a:lnTo>
                  <a:pt x="270" y="306"/>
                </a:lnTo>
                <a:lnTo>
                  <a:pt x="276" y="310"/>
                </a:lnTo>
                <a:lnTo>
                  <a:pt x="286" y="316"/>
                </a:lnTo>
                <a:lnTo>
                  <a:pt x="296" y="318"/>
                </a:lnTo>
                <a:lnTo>
                  <a:pt x="306" y="320"/>
                </a:lnTo>
                <a:lnTo>
                  <a:pt x="314" y="318"/>
                </a:lnTo>
                <a:lnTo>
                  <a:pt x="330" y="312"/>
                </a:lnTo>
                <a:lnTo>
                  <a:pt x="344" y="304"/>
                </a:lnTo>
                <a:lnTo>
                  <a:pt x="358" y="296"/>
                </a:lnTo>
                <a:lnTo>
                  <a:pt x="374" y="290"/>
                </a:lnTo>
                <a:lnTo>
                  <a:pt x="382" y="288"/>
                </a:lnTo>
                <a:lnTo>
                  <a:pt x="392" y="290"/>
                </a:lnTo>
                <a:lnTo>
                  <a:pt x="400" y="292"/>
                </a:lnTo>
                <a:lnTo>
                  <a:pt x="412" y="296"/>
                </a:lnTo>
                <a:lnTo>
                  <a:pt x="418" y="302"/>
                </a:lnTo>
                <a:lnTo>
                  <a:pt x="424" y="306"/>
                </a:lnTo>
                <a:lnTo>
                  <a:pt x="434" y="320"/>
                </a:lnTo>
                <a:lnTo>
                  <a:pt x="438" y="336"/>
                </a:lnTo>
                <a:lnTo>
                  <a:pt x="442" y="352"/>
                </a:lnTo>
                <a:lnTo>
                  <a:pt x="442" y="370"/>
                </a:lnTo>
                <a:lnTo>
                  <a:pt x="438" y="390"/>
                </a:lnTo>
                <a:lnTo>
                  <a:pt x="434" y="408"/>
                </a:lnTo>
                <a:lnTo>
                  <a:pt x="430" y="426"/>
                </a:lnTo>
                <a:lnTo>
                  <a:pt x="420" y="450"/>
                </a:lnTo>
                <a:lnTo>
                  <a:pt x="410" y="472"/>
                </a:lnTo>
                <a:lnTo>
                  <a:pt x="398" y="488"/>
                </a:lnTo>
                <a:lnTo>
                  <a:pt x="384" y="506"/>
                </a:lnTo>
                <a:lnTo>
                  <a:pt x="368" y="524"/>
                </a:lnTo>
                <a:lnTo>
                  <a:pt x="348" y="540"/>
                </a:lnTo>
                <a:lnTo>
                  <a:pt x="328" y="552"/>
                </a:lnTo>
                <a:lnTo>
                  <a:pt x="318" y="556"/>
                </a:lnTo>
                <a:lnTo>
                  <a:pt x="306" y="560"/>
                </a:lnTo>
                <a:lnTo>
                  <a:pt x="296" y="562"/>
                </a:lnTo>
                <a:lnTo>
                  <a:pt x="284" y="562"/>
                </a:lnTo>
                <a:lnTo>
                  <a:pt x="274" y="558"/>
                </a:lnTo>
                <a:lnTo>
                  <a:pt x="264" y="554"/>
                </a:lnTo>
                <a:lnTo>
                  <a:pt x="256" y="548"/>
                </a:lnTo>
                <a:lnTo>
                  <a:pt x="248" y="540"/>
                </a:lnTo>
                <a:lnTo>
                  <a:pt x="244" y="532"/>
                </a:lnTo>
                <a:lnTo>
                  <a:pt x="240" y="524"/>
                </a:lnTo>
                <a:lnTo>
                  <a:pt x="238" y="508"/>
                </a:lnTo>
                <a:lnTo>
                  <a:pt x="238" y="492"/>
                </a:lnTo>
                <a:lnTo>
                  <a:pt x="238" y="474"/>
                </a:lnTo>
                <a:lnTo>
                  <a:pt x="234" y="458"/>
                </a:lnTo>
                <a:lnTo>
                  <a:pt x="232" y="450"/>
                </a:lnTo>
                <a:lnTo>
                  <a:pt x="226" y="444"/>
                </a:lnTo>
                <a:lnTo>
                  <a:pt x="218" y="436"/>
                </a:lnTo>
                <a:lnTo>
                  <a:pt x="210" y="430"/>
                </a:lnTo>
                <a:lnTo>
                  <a:pt x="202" y="426"/>
                </a:lnTo>
                <a:lnTo>
                  <a:pt x="192" y="426"/>
                </a:lnTo>
                <a:lnTo>
                  <a:pt x="184" y="430"/>
                </a:lnTo>
                <a:lnTo>
                  <a:pt x="174" y="434"/>
                </a:lnTo>
                <a:lnTo>
                  <a:pt x="156" y="446"/>
                </a:lnTo>
                <a:lnTo>
                  <a:pt x="140" y="460"/>
                </a:lnTo>
                <a:lnTo>
                  <a:pt x="40" y="632"/>
                </a:lnTo>
                <a:lnTo>
                  <a:pt x="4" y="694"/>
                </a:lnTo>
                <a:lnTo>
                  <a:pt x="0" y="694"/>
                </a:lnTo>
                <a:lnTo>
                  <a:pt x="2" y="696"/>
                </a:lnTo>
                <a:lnTo>
                  <a:pt x="4" y="696"/>
                </a:lnTo>
                <a:lnTo>
                  <a:pt x="140" y="934"/>
                </a:lnTo>
                <a:lnTo>
                  <a:pt x="158" y="948"/>
                </a:lnTo>
                <a:lnTo>
                  <a:pt x="176" y="962"/>
                </a:lnTo>
                <a:lnTo>
                  <a:pt x="186" y="968"/>
                </a:lnTo>
                <a:lnTo>
                  <a:pt x="196" y="970"/>
                </a:lnTo>
                <a:lnTo>
                  <a:pt x="206" y="970"/>
                </a:lnTo>
                <a:lnTo>
                  <a:pt x="214" y="968"/>
                </a:lnTo>
                <a:lnTo>
                  <a:pt x="224" y="960"/>
                </a:lnTo>
                <a:lnTo>
                  <a:pt x="230" y="954"/>
                </a:lnTo>
                <a:lnTo>
                  <a:pt x="236" y="946"/>
                </a:lnTo>
                <a:lnTo>
                  <a:pt x="240" y="938"/>
                </a:lnTo>
                <a:lnTo>
                  <a:pt x="242" y="922"/>
                </a:lnTo>
                <a:lnTo>
                  <a:pt x="242" y="906"/>
                </a:lnTo>
                <a:lnTo>
                  <a:pt x="242" y="888"/>
                </a:lnTo>
                <a:lnTo>
                  <a:pt x="244" y="872"/>
                </a:lnTo>
                <a:lnTo>
                  <a:pt x="248" y="864"/>
                </a:lnTo>
                <a:lnTo>
                  <a:pt x="252" y="858"/>
                </a:lnTo>
                <a:lnTo>
                  <a:pt x="260" y="850"/>
                </a:lnTo>
                <a:lnTo>
                  <a:pt x="268" y="844"/>
                </a:lnTo>
                <a:lnTo>
                  <a:pt x="278" y="838"/>
                </a:lnTo>
                <a:lnTo>
                  <a:pt x="290" y="836"/>
                </a:lnTo>
                <a:lnTo>
                  <a:pt x="300" y="836"/>
                </a:lnTo>
                <a:lnTo>
                  <a:pt x="310" y="836"/>
                </a:lnTo>
                <a:lnTo>
                  <a:pt x="322" y="840"/>
                </a:lnTo>
                <a:lnTo>
                  <a:pt x="332" y="844"/>
                </a:lnTo>
                <a:lnTo>
                  <a:pt x="352" y="858"/>
                </a:lnTo>
                <a:lnTo>
                  <a:pt x="372" y="874"/>
                </a:lnTo>
                <a:lnTo>
                  <a:pt x="390" y="892"/>
                </a:lnTo>
                <a:lnTo>
                  <a:pt x="404" y="910"/>
                </a:lnTo>
                <a:lnTo>
                  <a:pt x="414" y="926"/>
                </a:lnTo>
                <a:lnTo>
                  <a:pt x="422" y="944"/>
                </a:lnTo>
                <a:lnTo>
                  <a:pt x="432" y="964"/>
                </a:lnTo>
                <a:lnTo>
                  <a:pt x="438" y="988"/>
                </a:lnTo>
                <a:lnTo>
                  <a:pt x="442" y="1012"/>
                </a:lnTo>
                <a:lnTo>
                  <a:pt x="444" y="1038"/>
                </a:lnTo>
                <a:lnTo>
                  <a:pt x="442" y="1048"/>
                </a:lnTo>
                <a:lnTo>
                  <a:pt x="440" y="1060"/>
                </a:lnTo>
                <a:lnTo>
                  <a:pt x="436" y="1070"/>
                </a:lnTo>
                <a:lnTo>
                  <a:pt x="430" y="1078"/>
                </a:lnTo>
                <a:lnTo>
                  <a:pt x="422" y="1086"/>
                </a:lnTo>
                <a:lnTo>
                  <a:pt x="412" y="1092"/>
                </a:lnTo>
                <a:lnTo>
                  <a:pt x="402" y="1098"/>
                </a:lnTo>
                <a:lnTo>
                  <a:pt x="392" y="1100"/>
                </a:lnTo>
                <a:lnTo>
                  <a:pt x="384" y="1100"/>
                </a:lnTo>
                <a:lnTo>
                  <a:pt x="376" y="1100"/>
                </a:lnTo>
                <a:lnTo>
                  <a:pt x="360" y="1094"/>
                </a:lnTo>
                <a:lnTo>
                  <a:pt x="346" y="1084"/>
                </a:lnTo>
                <a:lnTo>
                  <a:pt x="330" y="1076"/>
                </a:lnTo>
                <a:lnTo>
                  <a:pt x="316" y="1070"/>
                </a:lnTo>
                <a:lnTo>
                  <a:pt x="306" y="1070"/>
                </a:lnTo>
                <a:lnTo>
                  <a:pt x="298" y="1070"/>
                </a:lnTo>
                <a:lnTo>
                  <a:pt x="288" y="1074"/>
                </a:lnTo>
                <a:lnTo>
                  <a:pt x="278" y="1078"/>
                </a:lnTo>
                <a:lnTo>
                  <a:pt x="272" y="1084"/>
                </a:lnTo>
                <a:lnTo>
                  <a:pt x="266" y="1092"/>
                </a:lnTo>
                <a:lnTo>
                  <a:pt x="264" y="1102"/>
                </a:lnTo>
                <a:lnTo>
                  <a:pt x="264" y="1114"/>
                </a:lnTo>
                <a:lnTo>
                  <a:pt x="266" y="1136"/>
                </a:lnTo>
                <a:lnTo>
                  <a:pt x="270" y="1158"/>
                </a:lnTo>
                <a:lnTo>
                  <a:pt x="402" y="1386"/>
                </a:lnTo>
                <a:lnTo>
                  <a:pt x="668" y="1386"/>
                </a:lnTo>
                <a:lnTo>
                  <a:pt x="674" y="1388"/>
                </a:lnTo>
                <a:lnTo>
                  <a:pt x="686" y="1392"/>
                </a:lnTo>
                <a:lnTo>
                  <a:pt x="688" y="1394"/>
                </a:lnTo>
                <a:lnTo>
                  <a:pt x="692" y="1394"/>
                </a:lnTo>
                <a:lnTo>
                  <a:pt x="694" y="1396"/>
                </a:lnTo>
                <a:lnTo>
                  <a:pt x="696" y="1398"/>
                </a:lnTo>
                <a:lnTo>
                  <a:pt x="700" y="1398"/>
                </a:lnTo>
                <a:lnTo>
                  <a:pt x="702" y="1400"/>
                </a:lnTo>
                <a:lnTo>
                  <a:pt x="704" y="1402"/>
                </a:lnTo>
                <a:lnTo>
                  <a:pt x="706" y="1402"/>
                </a:lnTo>
                <a:lnTo>
                  <a:pt x="710" y="1406"/>
                </a:lnTo>
                <a:lnTo>
                  <a:pt x="714" y="1410"/>
                </a:lnTo>
                <a:lnTo>
                  <a:pt x="716" y="1410"/>
                </a:lnTo>
                <a:lnTo>
                  <a:pt x="718" y="1412"/>
                </a:lnTo>
                <a:lnTo>
                  <a:pt x="720" y="1414"/>
                </a:lnTo>
                <a:lnTo>
                  <a:pt x="722" y="1416"/>
                </a:lnTo>
                <a:lnTo>
                  <a:pt x="722" y="1418"/>
                </a:lnTo>
                <a:lnTo>
                  <a:pt x="724" y="1420"/>
                </a:lnTo>
                <a:lnTo>
                  <a:pt x="724" y="1422"/>
                </a:lnTo>
                <a:lnTo>
                  <a:pt x="726" y="1424"/>
                </a:lnTo>
                <a:lnTo>
                  <a:pt x="726" y="1426"/>
                </a:lnTo>
                <a:lnTo>
                  <a:pt x="726" y="1430"/>
                </a:lnTo>
                <a:lnTo>
                  <a:pt x="726" y="1436"/>
                </a:lnTo>
                <a:lnTo>
                  <a:pt x="726" y="1438"/>
                </a:lnTo>
                <a:lnTo>
                  <a:pt x="726" y="1442"/>
                </a:lnTo>
                <a:lnTo>
                  <a:pt x="724" y="1444"/>
                </a:lnTo>
                <a:lnTo>
                  <a:pt x="724" y="1448"/>
                </a:lnTo>
                <a:lnTo>
                  <a:pt x="720" y="1458"/>
                </a:lnTo>
                <a:lnTo>
                  <a:pt x="716" y="1464"/>
                </a:lnTo>
                <a:lnTo>
                  <a:pt x="710" y="1470"/>
                </a:lnTo>
                <a:lnTo>
                  <a:pt x="704" y="1476"/>
                </a:lnTo>
                <a:lnTo>
                  <a:pt x="690" y="1484"/>
                </a:lnTo>
                <a:lnTo>
                  <a:pt x="676" y="1492"/>
                </a:lnTo>
                <a:lnTo>
                  <a:pt x="674" y="1494"/>
                </a:lnTo>
                <a:lnTo>
                  <a:pt x="672" y="1494"/>
                </a:lnTo>
                <a:lnTo>
                  <a:pt x="668" y="1498"/>
                </a:lnTo>
                <a:lnTo>
                  <a:pt x="666" y="1498"/>
                </a:lnTo>
                <a:lnTo>
                  <a:pt x="662" y="1502"/>
                </a:lnTo>
                <a:lnTo>
                  <a:pt x="660" y="1504"/>
                </a:lnTo>
                <a:lnTo>
                  <a:pt x="656" y="1508"/>
                </a:lnTo>
                <a:lnTo>
                  <a:pt x="652" y="1514"/>
                </a:lnTo>
                <a:lnTo>
                  <a:pt x="650" y="1522"/>
                </a:lnTo>
                <a:lnTo>
                  <a:pt x="648" y="1530"/>
                </a:lnTo>
                <a:lnTo>
                  <a:pt x="648" y="1532"/>
                </a:lnTo>
                <a:lnTo>
                  <a:pt x="646" y="1540"/>
                </a:lnTo>
                <a:lnTo>
                  <a:pt x="648" y="1552"/>
                </a:lnTo>
                <a:lnTo>
                  <a:pt x="650" y="1562"/>
                </a:lnTo>
                <a:lnTo>
                  <a:pt x="656" y="1572"/>
                </a:lnTo>
                <a:lnTo>
                  <a:pt x="662" y="1580"/>
                </a:lnTo>
                <a:lnTo>
                  <a:pt x="670" y="1588"/>
                </a:lnTo>
                <a:lnTo>
                  <a:pt x="680" y="1594"/>
                </a:lnTo>
                <a:lnTo>
                  <a:pt x="700" y="1606"/>
                </a:lnTo>
                <a:lnTo>
                  <a:pt x="724" y="1614"/>
                </a:lnTo>
                <a:lnTo>
                  <a:pt x="748" y="1620"/>
                </a:lnTo>
                <a:lnTo>
                  <a:pt x="770" y="1624"/>
                </a:lnTo>
                <a:lnTo>
                  <a:pt x="790" y="1624"/>
                </a:lnTo>
                <a:lnTo>
                  <a:pt x="810" y="1624"/>
                </a:lnTo>
                <a:lnTo>
                  <a:pt x="832" y="1620"/>
                </a:lnTo>
                <a:lnTo>
                  <a:pt x="856" y="1614"/>
                </a:lnTo>
                <a:lnTo>
                  <a:pt x="880" y="1606"/>
                </a:lnTo>
                <a:lnTo>
                  <a:pt x="902" y="1594"/>
                </a:lnTo>
                <a:lnTo>
                  <a:pt x="910" y="1588"/>
                </a:lnTo>
                <a:lnTo>
                  <a:pt x="918" y="1580"/>
                </a:lnTo>
                <a:lnTo>
                  <a:pt x="926" y="1572"/>
                </a:lnTo>
                <a:lnTo>
                  <a:pt x="930" y="1562"/>
                </a:lnTo>
                <a:lnTo>
                  <a:pt x="934" y="1552"/>
                </a:lnTo>
                <a:lnTo>
                  <a:pt x="934" y="1540"/>
                </a:lnTo>
                <a:lnTo>
                  <a:pt x="934" y="1532"/>
                </a:lnTo>
                <a:lnTo>
                  <a:pt x="934" y="1530"/>
                </a:lnTo>
                <a:lnTo>
                  <a:pt x="932" y="1522"/>
                </a:lnTo>
                <a:lnTo>
                  <a:pt x="930" y="1522"/>
                </a:lnTo>
                <a:lnTo>
                  <a:pt x="928" y="1514"/>
                </a:lnTo>
                <a:lnTo>
                  <a:pt x="924" y="1508"/>
                </a:lnTo>
                <a:lnTo>
                  <a:pt x="920" y="1504"/>
                </a:lnTo>
                <a:lnTo>
                  <a:pt x="918" y="1502"/>
                </a:lnTo>
                <a:lnTo>
                  <a:pt x="914" y="1498"/>
                </a:lnTo>
                <a:lnTo>
                  <a:pt x="912" y="1498"/>
                </a:lnTo>
                <a:lnTo>
                  <a:pt x="908" y="1494"/>
                </a:lnTo>
                <a:lnTo>
                  <a:pt x="906" y="1494"/>
                </a:lnTo>
                <a:lnTo>
                  <a:pt x="904" y="1492"/>
                </a:lnTo>
                <a:lnTo>
                  <a:pt x="890" y="1484"/>
                </a:lnTo>
                <a:lnTo>
                  <a:pt x="878" y="1476"/>
                </a:lnTo>
                <a:lnTo>
                  <a:pt x="866" y="1466"/>
                </a:lnTo>
                <a:lnTo>
                  <a:pt x="862" y="1460"/>
                </a:lnTo>
                <a:lnTo>
                  <a:pt x="858" y="1454"/>
                </a:lnTo>
                <a:lnTo>
                  <a:pt x="856" y="1448"/>
                </a:lnTo>
                <a:lnTo>
                  <a:pt x="856" y="1444"/>
                </a:lnTo>
                <a:lnTo>
                  <a:pt x="856" y="1442"/>
                </a:lnTo>
                <a:lnTo>
                  <a:pt x="854" y="1438"/>
                </a:lnTo>
                <a:lnTo>
                  <a:pt x="854" y="1436"/>
                </a:lnTo>
                <a:lnTo>
                  <a:pt x="854" y="1430"/>
                </a:lnTo>
                <a:lnTo>
                  <a:pt x="854" y="1426"/>
                </a:lnTo>
                <a:lnTo>
                  <a:pt x="856" y="1424"/>
                </a:lnTo>
                <a:lnTo>
                  <a:pt x="856" y="1422"/>
                </a:lnTo>
                <a:lnTo>
                  <a:pt x="856" y="1420"/>
                </a:lnTo>
                <a:lnTo>
                  <a:pt x="858" y="1418"/>
                </a:lnTo>
                <a:lnTo>
                  <a:pt x="860" y="1416"/>
                </a:lnTo>
                <a:lnTo>
                  <a:pt x="862" y="1414"/>
                </a:lnTo>
                <a:lnTo>
                  <a:pt x="862" y="1412"/>
                </a:lnTo>
                <a:lnTo>
                  <a:pt x="864" y="1410"/>
                </a:lnTo>
                <a:lnTo>
                  <a:pt x="866" y="1410"/>
                </a:lnTo>
                <a:lnTo>
                  <a:pt x="870" y="1406"/>
                </a:lnTo>
                <a:lnTo>
                  <a:pt x="874" y="1402"/>
                </a:lnTo>
                <a:lnTo>
                  <a:pt x="876" y="1402"/>
                </a:lnTo>
                <a:lnTo>
                  <a:pt x="880" y="1400"/>
                </a:lnTo>
                <a:lnTo>
                  <a:pt x="882" y="1398"/>
                </a:lnTo>
                <a:lnTo>
                  <a:pt x="884" y="1398"/>
                </a:lnTo>
                <a:lnTo>
                  <a:pt x="886" y="1396"/>
                </a:lnTo>
                <a:lnTo>
                  <a:pt x="890" y="1394"/>
                </a:lnTo>
                <a:lnTo>
                  <a:pt x="892" y="1394"/>
                </a:lnTo>
                <a:lnTo>
                  <a:pt x="894" y="1392"/>
                </a:lnTo>
                <a:lnTo>
                  <a:pt x="906" y="1388"/>
                </a:lnTo>
                <a:lnTo>
                  <a:pt x="908" y="1388"/>
                </a:lnTo>
                <a:lnTo>
                  <a:pt x="912" y="1386"/>
                </a:lnTo>
                <a:lnTo>
                  <a:pt x="1200" y="1386"/>
                </a:lnTo>
                <a:lnTo>
                  <a:pt x="1200" y="1384"/>
                </a:lnTo>
                <a:lnTo>
                  <a:pt x="1600" y="694"/>
                </a:lnTo>
                <a:lnTo>
                  <a:pt x="1200" y="0"/>
                </a:lnTo>
                <a:close/>
              </a:path>
            </a:pathLst>
          </a:custGeom>
          <a:solidFill>
            <a:srgbClr val="D0E6A7"/>
          </a:solidFill>
          <a:ln w="38100" cap="flat" cmpd="sng">
            <a:solidFill>
              <a:srgbClr val="D0E6A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1" name="Oval 1">
            <a:extLst>
              <a:ext uri="{FF2B5EF4-FFF2-40B4-BE49-F238E27FC236}">
                <a16:creationId xmlns:a16="http://schemas.microsoft.com/office/drawing/2014/main" xmlns="" id="{2EB8C6DE-594F-4E44-9B6E-3E588B3A72F6}"/>
              </a:ext>
            </a:extLst>
          </p:cNvPr>
          <p:cNvSpPr/>
          <p:nvPr/>
        </p:nvSpPr>
        <p:spPr>
          <a:xfrm>
            <a:off x="3483004" y="954329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2" name="Oval 22">
            <a:extLst>
              <a:ext uri="{FF2B5EF4-FFF2-40B4-BE49-F238E27FC236}">
                <a16:creationId xmlns:a16="http://schemas.microsoft.com/office/drawing/2014/main" xmlns="" id="{51B39088-FA19-4279-B1A6-7E850D1CE4FE}"/>
              </a:ext>
            </a:extLst>
          </p:cNvPr>
          <p:cNvSpPr/>
          <p:nvPr/>
        </p:nvSpPr>
        <p:spPr>
          <a:xfrm>
            <a:off x="7452790" y="2384342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5" name="Oval 23">
            <a:extLst>
              <a:ext uri="{FF2B5EF4-FFF2-40B4-BE49-F238E27FC236}">
                <a16:creationId xmlns:a16="http://schemas.microsoft.com/office/drawing/2014/main" xmlns="" id="{274B6458-6B69-460E-9F61-8C221F7A78F0}"/>
              </a:ext>
            </a:extLst>
          </p:cNvPr>
          <p:cNvSpPr/>
          <p:nvPr/>
        </p:nvSpPr>
        <p:spPr>
          <a:xfrm>
            <a:off x="7452790" y="4286349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6" name="CaixaDeTexto 44">
            <a:extLst>
              <a:ext uri="{FF2B5EF4-FFF2-40B4-BE49-F238E27FC236}">
                <a16:creationId xmlns:a16="http://schemas.microsoft.com/office/drawing/2014/main" xmlns="" id="{7E28A869-0265-4F34-9317-6F2B47172476}"/>
              </a:ext>
            </a:extLst>
          </p:cNvPr>
          <p:cNvSpPr txBox="1"/>
          <p:nvPr/>
        </p:nvSpPr>
        <p:spPr>
          <a:xfrm>
            <a:off x="3947784" y="914624"/>
            <a:ext cx="171099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b="1" dirty="0">
                <a:solidFill>
                  <a:srgbClr val="FFFFFF"/>
                </a:solidFill>
                <a:latin typeface="Candara"/>
              </a:rPr>
              <a:t>O caso de Pernambuco: 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resultados positivos em </a:t>
            </a:r>
            <a:r>
              <a:rPr lang="pt-BR" b="1" dirty="0">
                <a:solidFill>
                  <a:srgbClr val="FFFFFF"/>
                </a:solidFill>
                <a:latin typeface="Candara"/>
              </a:rPr>
              <a:t>aprendizagem e fluxo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.</a:t>
            </a:r>
          </a:p>
        </p:txBody>
      </p:sp>
      <p:sp>
        <p:nvSpPr>
          <p:cNvPr id="28" name="CaixaDeTexto 45">
            <a:extLst>
              <a:ext uri="{FF2B5EF4-FFF2-40B4-BE49-F238E27FC236}">
                <a16:creationId xmlns:a16="http://schemas.microsoft.com/office/drawing/2014/main" xmlns="" id="{0C0C9A28-A8E5-41C2-980E-BF53D761276C}"/>
              </a:ext>
            </a:extLst>
          </p:cNvPr>
          <p:cNvSpPr txBox="1"/>
          <p:nvPr/>
        </p:nvSpPr>
        <p:spPr>
          <a:xfrm>
            <a:off x="5884668" y="1766446"/>
            <a:ext cx="176256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O caso de Pernambuco: resultados positivos na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diminuição das desigualdades sociais.</a:t>
            </a:r>
          </a:p>
        </p:txBody>
      </p:sp>
      <p:sp>
        <p:nvSpPr>
          <p:cNvPr id="29" name="CaixaDeTexto 51">
            <a:extLst>
              <a:ext uri="{FF2B5EF4-FFF2-40B4-BE49-F238E27FC236}">
                <a16:creationId xmlns:a16="http://schemas.microsoft.com/office/drawing/2014/main" xmlns="" id="{C4C383F7-DF92-4CB4-AFE7-5A8719C9EDEC}"/>
              </a:ext>
            </a:extLst>
          </p:cNvPr>
          <p:cNvSpPr txBox="1"/>
          <p:nvPr/>
        </p:nvSpPr>
        <p:spPr>
          <a:xfrm>
            <a:off x="5951798" y="3842439"/>
            <a:ext cx="162830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Política de fomento às escolas integrais e os seus resultados iniciais.  </a:t>
            </a:r>
          </a:p>
        </p:txBody>
      </p:sp>
      <p:sp>
        <p:nvSpPr>
          <p:cNvPr id="30" name="CaixaDeTexto 51">
            <a:extLst>
              <a:ext uri="{FF2B5EF4-FFF2-40B4-BE49-F238E27FC236}">
                <a16:creationId xmlns:a16="http://schemas.microsoft.com/office/drawing/2014/main" xmlns="" id="{11A9C619-9BC6-4098-A3FA-282C29B369C9}"/>
              </a:ext>
            </a:extLst>
          </p:cNvPr>
          <p:cNvSpPr txBox="1"/>
          <p:nvPr/>
        </p:nvSpPr>
        <p:spPr>
          <a:xfrm>
            <a:off x="3898558" y="4687692"/>
            <a:ext cx="191959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chemeClr val="tx2"/>
                </a:solidFill>
                <a:latin typeface="Candara"/>
              </a:rPr>
              <a:t>É possível expandir as escolas integrais, de forma </a:t>
            </a:r>
            <a:r>
              <a:rPr lang="pt-BR" b="1" dirty="0">
                <a:solidFill>
                  <a:schemeClr val="tx2"/>
                </a:solidFill>
                <a:latin typeface="Candara"/>
              </a:rPr>
              <a:t>eficiente</a:t>
            </a:r>
            <a:r>
              <a:rPr lang="pt-BR" dirty="0">
                <a:solidFill>
                  <a:schemeClr val="tx2"/>
                </a:solidFill>
                <a:latin typeface="Candara"/>
              </a:rPr>
              <a:t> e priorizando as comunidades </a:t>
            </a:r>
            <a:r>
              <a:rPr lang="pt-BR" b="1" dirty="0">
                <a:solidFill>
                  <a:schemeClr val="tx2"/>
                </a:solidFill>
                <a:latin typeface="Candara"/>
              </a:rPr>
              <a:t>vulneráveis </a:t>
            </a:r>
          </a:p>
          <a:p>
            <a:endParaRPr lang="pt-BR" b="1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248662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8" name="Rectangle 17"/>
          <p:cNvSpPr>
            <a:spLocks noGrp="1" noChangeArrowheads="1"/>
          </p:cNvSpPr>
          <p:nvPr>
            <p:ph type="ctrTitle"/>
          </p:nvPr>
        </p:nvSpPr>
        <p:spPr>
          <a:xfrm>
            <a:off x="363706" y="275358"/>
            <a:ext cx="8597731" cy="528182"/>
          </a:xfrm>
        </p:spPr>
        <p:txBody>
          <a:bodyPr>
            <a:normAutofit/>
          </a:bodyPr>
          <a:lstStyle/>
          <a:p>
            <a:r>
              <a:rPr lang="pt-BR" altLang="en-US" sz="2350" dirty="0"/>
              <a:t>ESCOLA INTEGRAL PARA FORMAR PARA A VIDA</a:t>
            </a:r>
            <a:endParaRPr lang="en-GB" altLang="en-US" sz="235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827583E-0A9D-4FD4-8889-DDBCF82D3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xmlns="" id="{0027EE0F-1627-4927-BE06-41DDE26A002C}"/>
              </a:ext>
            </a:extLst>
          </p:cNvPr>
          <p:cNvSpPr/>
          <p:nvPr/>
        </p:nvSpPr>
        <p:spPr>
          <a:xfrm>
            <a:off x="3092957" y="1797541"/>
            <a:ext cx="5586182" cy="3725934"/>
          </a:xfrm>
          <a:prstGeom prst="rect">
            <a:avLst/>
          </a:prstGeom>
          <a:ln>
            <a:noFill/>
          </a:ln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spPr>
        <p:txBody>
          <a:bodyPr/>
          <a:lstStyle/>
          <a:p>
            <a:endParaRPr lang="pt-BR" sz="1176"/>
          </a:p>
        </p:txBody>
      </p: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xmlns="" id="{391C7075-C8AB-4CCE-8049-3E1B92FEB79F}"/>
              </a:ext>
            </a:extLst>
          </p:cNvPr>
          <p:cNvSpPr/>
          <p:nvPr/>
        </p:nvSpPr>
        <p:spPr>
          <a:xfrm>
            <a:off x="5594121" y="1755820"/>
            <a:ext cx="1295572" cy="1416809"/>
          </a:xfrm>
          <a:custGeom>
            <a:avLst/>
            <a:gdLst>
              <a:gd name="connsiteX0" fmla="*/ 0 w 1869894"/>
              <a:gd name="connsiteY0" fmla="*/ 813404 h 1626808"/>
              <a:gd name="connsiteX1" fmla="*/ 406702 w 1869894"/>
              <a:gd name="connsiteY1" fmla="*/ 0 h 1626808"/>
              <a:gd name="connsiteX2" fmla="*/ 1463192 w 1869894"/>
              <a:gd name="connsiteY2" fmla="*/ 0 h 1626808"/>
              <a:gd name="connsiteX3" fmla="*/ 1869894 w 1869894"/>
              <a:gd name="connsiteY3" fmla="*/ 813404 h 1626808"/>
              <a:gd name="connsiteX4" fmla="*/ 1463192 w 1869894"/>
              <a:gd name="connsiteY4" fmla="*/ 1626808 h 1626808"/>
              <a:gd name="connsiteX5" fmla="*/ 406702 w 1869894"/>
              <a:gd name="connsiteY5" fmla="*/ 1626808 h 1626808"/>
              <a:gd name="connsiteX6" fmla="*/ 0 w 1869894"/>
              <a:gd name="connsiteY6" fmla="*/ 813404 h 1626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9894" h="1626808">
                <a:moveTo>
                  <a:pt x="934947" y="0"/>
                </a:moveTo>
                <a:lnTo>
                  <a:pt x="1869894" y="353831"/>
                </a:lnTo>
                <a:lnTo>
                  <a:pt x="1869894" y="1272977"/>
                </a:lnTo>
                <a:lnTo>
                  <a:pt x="934947" y="1626808"/>
                </a:lnTo>
                <a:lnTo>
                  <a:pt x="0" y="1272977"/>
                </a:lnTo>
                <a:lnTo>
                  <a:pt x="0" y="353831"/>
                </a:lnTo>
                <a:lnTo>
                  <a:pt x="934947" y="0"/>
                </a:lnTo>
                <a:close/>
              </a:path>
            </a:pathLst>
          </a:custGeom>
          <a:solidFill>
            <a:srgbClr val="FD7F7F"/>
          </a:solidFill>
          <a:ln>
            <a:solidFill>
              <a:srgbClr val="FD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20289" rtlCol="0" anchor="t"/>
          <a:lstStyle/>
          <a:p>
            <a:pPr algn="ctr"/>
            <a:endParaRPr lang="pt-BR" sz="1176" dirty="0">
              <a:solidFill>
                <a:schemeClr val="bg1"/>
              </a:solidFill>
            </a:endParaRPr>
          </a:p>
        </p:txBody>
      </p:sp>
      <p:sp>
        <p:nvSpPr>
          <p:cNvPr id="17" name="Forma Livre: Forma 16">
            <a:extLst>
              <a:ext uri="{FF2B5EF4-FFF2-40B4-BE49-F238E27FC236}">
                <a16:creationId xmlns:a16="http://schemas.microsoft.com/office/drawing/2014/main" xmlns="" id="{90464826-7212-4E60-9781-43EC83385456}"/>
              </a:ext>
            </a:extLst>
          </p:cNvPr>
          <p:cNvSpPr/>
          <p:nvPr/>
        </p:nvSpPr>
        <p:spPr>
          <a:xfrm>
            <a:off x="4168926" y="1749408"/>
            <a:ext cx="1344215" cy="1433876"/>
          </a:xfrm>
          <a:custGeom>
            <a:avLst/>
            <a:gdLst>
              <a:gd name="connsiteX0" fmla="*/ 0 w 1869894"/>
              <a:gd name="connsiteY0" fmla="*/ 813404 h 1626808"/>
              <a:gd name="connsiteX1" fmla="*/ 406702 w 1869894"/>
              <a:gd name="connsiteY1" fmla="*/ 0 h 1626808"/>
              <a:gd name="connsiteX2" fmla="*/ 1463192 w 1869894"/>
              <a:gd name="connsiteY2" fmla="*/ 0 h 1626808"/>
              <a:gd name="connsiteX3" fmla="*/ 1869894 w 1869894"/>
              <a:gd name="connsiteY3" fmla="*/ 813404 h 1626808"/>
              <a:gd name="connsiteX4" fmla="*/ 1463192 w 1869894"/>
              <a:gd name="connsiteY4" fmla="*/ 1626808 h 1626808"/>
              <a:gd name="connsiteX5" fmla="*/ 406702 w 1869894"/>
              <a:gd name="connsiteY5" fmla="*/ 1626808 h 1626808"/>
              <a:gd name="connsiteX6" fmla="*/ 0 w 1869894"/>
              <a:gd name="connsiteY6" fmla="*/ 813404 h 1626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9894" h="1626808">
                <a:moveTo>
                  <a:pt x="934947" y="0"/>
                </a:moveTo>
                <a:lnTo>
                  <a:pt x="1869894" y="353831"/>
                </a:lnTo>
                <a:lnTo>
                  <a:pt x="1869894" y="1272977"/>
                </a:lnTo>
                <a:lnTo>
                  <a:pt x="934947" y="1626808"/>
                </a:lnTo>
                <a:lnTo>
                  <a:pt x="0" y="1272977"/>
                </a:lnTo>
                <a:lnTo>
                  <a:pt x="0" y="353831"/>
                </a:lnTo>
                <a:lnTo>
                  <a:pt x="934947" y="0"/>
                </a:lnTo>
                <a:close/>
              </a:path>
            </a:pathLst>
          </a:custGeom>
          <a:solidFill>
            <a:srgbClr val="9AA252"/>
          </a:solidFill>
          <a:ln>
            <a:solidFill>
              <a:srgbClr val="9AA25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20289" rtlCol="0" anchor="t"/>
          <a:lstStyle/>
          <a:p>
            <a:pPr algn="ctr"/>
            <a:endParaRPr lang="pt-BR" sz="1176">
              <a:solidFill>
                <a:schemeClr val="bg1"/>
              </a:solidFill>
            </a:endParaRPr>
          </a:p>
        </p:txBody>
      </p:sp>
      <p:sp>
        <p:nvSpPr>
          <p:cNvPr id="18" name="Forma Livre: Forma 17">
            <a:extLst>
              <a:ext uri="{FF2B5EF4-FFF2-40B4-BE49-F238E27FC236}">
                <a16:creationId xmlns:a16="http://schemas.microsoft.com/office/drawing/2014/main" xmlns="" id="{856B1A9E-972F-48DF-9B15-FA6796CF25D6}"/>
              </a:ext>
            </a:extLst>
          </p:cNvPr>
          <p:cNvSpPr/>
          <p:nvPr/>
        </p:nvSpPr>
        <p:spPr>
          <a:xfrm>
            <a:off x="4841909" y="2976097"/>
            <a:ext cx="1325881" cy="1438227"/>
          </a:xfrm>
          <a:custGeom>
            <a:avLst/>
            <a:gdLst>
              <a:gd name="connsiteX0" fmla="*/ 0 w 1869894"/>
              <a:gd name="connsiteY0" fmla="*/ 813404 h 1626808"/>
              <a:gd name="connsiteX1" fmla="*/ 406702 w 1869894"/>
              <a:gd name="connsiteY1" fmla="*/ 0 h 1626808"/>
              <a:gd name="connsiteX2" fmla="*/ 1463192 w 1869894"/>
              <a:gd name="connsiteY2" fmla="*/ 0 h 1626808"/>
              <a:gd name="connsiteX3" fmla="*/ 1869894 w 1869894"/>
              <a:gd name="connsiteY3" fmla="*/ 813404 h 1626808"/>
              <a:gd name="connsiteX4" fmla="*/ 1463192 w 1869894"/>
              <a:gd name="connsiteY4" fmla="*/ 1626808 h 1626808"/>
              <a:gd name="connsiteX5" fmla="*/ 406702 w 1869894"/>
              <a:gd name="connsiteY5" fmla="*/ 1626808 h 1626808"/>
              <a:gd name="connsiteX6" fmla="*/ 0 w 1869894"/>
              <a:gd name="connsiteY6" fmla="*/ 813404 h 1626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9894" h="1626808">
                <a:moveTo>
                  <a:pt x="934947" y="0"/>
                </a:moveTo>
                <a:lnTo>
                  <a:pt x="1869894" y="353831"/>
                </a:lnTo>
                <a:lnTo>
                  <a:pt x="1869894" y="1272977"/>
                </a:lnTo>
                <a:lnTo>
                  <a:pt x="934947" y="1626808"/>
                </a:lnTo>
                <a:lnTo>
                  <a:pt x="0" y="1272977"/>
                </a:lnTo>
                <a:lnTo>
                  <a:pt x="0" y="353831"/>
                </a:lnTo>
                <a:lnTo>
                  <a:pt x="934947" y="0"/>
                </a:lnTo>
                <a:close/>
              </a:path>
            </a:pathLst>
          </a:custGeom>
          <a:solidFill>
            <a:srgbClr val="F3B02B"/>
          </a:solidFill>
          <a:ln>
            <a:solidFill>
              <a:srgbClr val="F3B0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20289" rtlCol="0" anchor="t"/>
          <a:lstStyle/>
          <a:p>
            <a:pPr algn="ctr"/>
            <a:endParaRPr lang="pt-BR" sz="1176" dirty="0">
              <a:solidFill>
                <a:schemeClr val="bg1"/>
              </a:solidFill>
            </a:endParaRPr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xmlns="" id="{92C0B2BE-142B-49BE-A96B-0DBE331AC60B}"/>
              </a:ext>
            </a:extLst>
          </p:cNvPr>
          <p:cNvSpPr/>
          <p:nvPr/>
        </p:nvSpPr>
        <p:spPr>
          <a:xfrm>
            <a:off x="4168926" y="2043389"/>
            <a:ext cx="1278251" cy="824652"/>
          </a:xfrm>
          <a:custGeom>
            <a:avLst/>
            <a:gdLst>
              <a:gd name="connsiteX0" fmla="*/ 0 w 1649314"/>
              <a:gd name="connsiteY0" fmla="*/ 0 h 1121936"/>
              <a:gd name="connsiteX1" fmla="*/ 1649314 w 1649314"/>
              <a:gd name="connsiteY1" fmla="*/ 0 h 1121936"/>
              <a:gd name="connsiteX2" fmla="*/ 1649314 w 1649314"/>
              <a:gd name="connsiteY2" fmla="*/ 1121936 h 1121936"/>
              <a:gd name="connsiteX3" fmla="*/ 0 w 1649314"/>
              <a:gd name="connsiteY3" fmla="*/ 1121936 h 1121936"/>
              <a:gd name="connsiteX4" fmla="*/ 0 w 1649314"/>
              <a:gd name="connsiteY4" fmla="*/ 0 h 1121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9314" h="1121936">
                <a:moveTo>
                  <a:pt x="0" y="0"/>
                </a:moveTo>
                <a:lnTo>
                  <a:pt x="1649314" y="0"/>
                </a:lnTo>
                <a:lnTo>
                  <a:pt x="1649314" y="1121936"/>
                </a:lnTo>
                <a:lnTo>
                  <a:pt x="0" y="112193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0408" tIns="50408" rIns="50408" bIns="50408" numCol="1" spcCol="1270" anchor="ctr" anchorCtr="0">
            <a:noAutofit/>
          </a:bodyPr>
          <a:lstStyle/>
          <a:p>
            <a:pPr algn="ctr" defTabSz="588074">
              <a:lnSpc>
                <a:spcPct val="90000"/>
              </a:lnSpc>
              <a:spcAft>
                <a:spcPct val="35000"/>
              </a:spcAft>
            </a:pPr>
            <a:r>
              <a:rPr lang="pt-BR" b="1" dirty="0">
                <a:solidFill>
                  <a:srgbClr val="FFFFFF"/>
                </a:solidFill>
              </a:rPr>
              <a:t>Acolhimento de famílias e estudantes</a:t>
            </a:r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xmlns="" id="{74A8B16F-DCC0-4AE5-B809-536C73A5F4ED}"/>
              </a:ext>
            </a:extLst>
          </p:cNvPr>
          <p:cNvSpPr/>
          <p:nvPr/>
        </p:nvSpPr>
        <p:spPr>
          <a:xfrm>
            <a:off x="6248770" y="2977021"/>
            <a:ext cx="1281641" cy="1416809"/>
          </a:xfrm>
          <a:custGeom>
            <a:avLst/>
            <a:gdLst>
              <a:gd name="connsiteX0" fmla="*/ 0 w 1869894"/>
              <a:gd name="connsiteY0" fmla="*/ 872140 h 1744280"/>
              <a:gd name="connsiteX1" fmla="*/ 436070 w 1869894"/>
              <a:gd name="connsiteY1" fmla="*/ 0 h 1744280"/>
              <a:gd name="connsiteX2" fmla="*/ 1433824 w 1869894"/>
              <a:gd name="connsiteY2" fmla="*/ 0 h 1744280"/>
              <a:gd name="connsiteX3" fmla="*/ 1869894 w 1869894"/>
              <a:gd name="connsiteY3" fmla="*/ 872140 h 1744280"/>
              <a:gd name="connsiteX4" fmla="*/ 1433824 w 1869894"/>
              <a:gd name="connsiteY4" fmla="*/ 1744280 h 1744280"/>
              <a:gd name="connsiteX5" fmla="*/ 436070 w 1869894"/>
              <a:gd name="connsiteY5" fmla="*/ 1744280 h 1744280"/>
              <a:gd name="connsiteX6" fmla="*/ 0 w 1869894"/>
              <a:gd name="connsiteY6" fmla="*/ 872140 h 1744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9894" h="1744280">
                <a:moveTo>
                  <a:pt x="934947" y="0"/>
                </a:moveTo>
                <a:lnTo>
                  <a:pt x="1869894" y="406776"/>
                </a:lnTo>
                <a:lnTo>
                  <a:pt x="1869894" y="1337504"/>
                </a:lnTo>
                <a:lnTo>
                  <a:pt x="934947" y="1744280"/>
                </a:lnTo>
                <a:lnTo>
                  <a:pt x="0" y="1337504"/>
                </a:lnTo>
                <a:lnTo>
                  <a:pt x="0" y="406776"/>
                </a:lnTo>
                <a:lnTo>
                  <a:pt x="934947" y="0"/>
                </a:lnTo>
                <a:close/>
              </a:path>
            </a:pathLst>
          </a:custGeom>
          <a:solidFill>
            <a:srgbClr val="5CC6D4"/>
          </a:solidFill>
          <a:ln>
            <a:solidFill>
              <a:srgbClr val="5CC6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20289" rtlCol="0" anchor="t"/>
          <a:lstStyle/>
          <a:p>
            <a:pPr algn="ctr"/>
            <a:endParaRPr lang="pt-BR" sz="1176">
              <a:solidFill>
                <a:schemeClr val="bg1"/>
              </a:solidFill>
            </a:endParaRPr>
          </a:p>
        </p:txBody>
      </p:sp>
      <p:sp>
        <p:nvSpPr>
          <p:cNvPr id="21" name="Forma Livre: Forma 20">
            <a:extLst>
              <a:ext uri="{FF2B5EF4-FFF2-40B4-BE49-F238E27FC236}">
                <a16:creationId xmlns:a16="http://schemas.microsoft.com/office/drawing/2014/main" xmlns="" id="{6AE031D4-7B3A-4C1F-AD2F-3BACA6C827D0}"/>
              </a:ext>
            </a:extLst>
          </p:cNvPr>
          <p:cNvSpPr/>
          <p:nvPr/>
        </p:nvSpPr>
        <p:spPr>
          <a:xfrm>
            <a:off x="5551732" y="4157550"/>
            <a:ext cx="1351609" cy="1423221"/>
          </a:xfrm>
          <a:custGeom>
            <a:avLst/>
            <a:gdLst>
              <a:gd name="connsiteX0" fmla="*/ 0 w 1892969"/>
              <a:gd name="connsiteY0" fmla="*/ 836928 h 1673855"/>
              <a:gd name="connsiteX1" fmla="*/ 418464 w 1892969"/>
              <a:gd name="connsiteY1" fmla="*/ 0 h 1673855"/>
              <a:gd name="connsiteX2" fmla="*/ 1474505 w 1892969"/>
              <a:gd name="connsiteY2" fmla="*/ 0 h 1673855"/>
              <a:gd name="connsiteX3" fmla="*/ 1892969 w 1892969"/>
              <a:gd name="connsiteY3" fmla="*/ 836928 h 1673855"/>
              <a:gd name="connsiteX4" fmla="*/ 1474505 w 1892969"/>
              <a:gd name="connsiteY4" fmla="*/ 1673855 h 1673855"/>
              <a:gd name="connsiteX5" fmla="*/ 418464 w 1892969"/>
              <a:gd name="connsiteY5" fmla="*/ 1673855 h 1673855"/>
              <a:gd name="connsiteX6" fmla="*/ 0 w 1892969"/>
              <a:gd name="connsiteY6" fmla="*/ 836928 h 1673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92969" h="1673855">
                <a:moveTo>
                  <a:pt x="946484" y="0"/>
                </a:moveTo>
                <a:lnTo>
                  <a:pt x="1892969" y="370026"/>
                </a:lnTo>
                <a:lnTo>
                  <a:pt x="1892969" y="1303829"/>
                </a:lnTo>
                <a:lnTo>
                  <a:pt x="946484" y="1673855"/>
                </a:lnTo>
                <a:lnTo>
                  <a:pt x="0" y="1303829"/>
                </a:lnTo>
                <a:lnTo>
                  <a:pt x="0" y="370026"/>
                </a:lnTo>
                <a:lnTo>
                  <a:pt x="946484" y="0"/>
                </a:lnTo>
                <a:close/>
              </a:path>
            </a:pathLst>
          </a:custGeom>
          <a:solidFill>
            <a:srgbClr val="6E6AC6"/>
          </a:solidFill>
          <a:ln>
            <a:solidFill>
              <a:srgbClr val="6E6AC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20289" rtlCol="0" anchor="t"/>
          <a:lstStyle/>
          <a:p>
            <a:pPr algn="ctr"/>
            <a:endParaRPr lang="pt-BR" sz="1176" dirty="0">
              <a:solidFill>
                <a:schemeClr val="bg1"/>
              </a:solidFill>
            </a:endParaRPr>
          </a:p>
        </p:txBody>
      </p:sp>
      <p:sp>
        <p:nvSpPr>
          <p:cNvPr id="22" name="Forma Livre: Forma 21">
            <a:extLst>
              <a:ext uri="{FF2B5EF4-FFF2-40B4-BE49-F238E27FC236}">
                <a16:creationId xmlns:a16="http://schemas.microsoft.com/office/drawing/2014/main" xmlns="" id="{BDDDFBE6-244C-4A17-B1A1-DCFFB714946D}"/>
              </a:ext>
            </a:extLst>
          </p:cNvPr>
          <p:cNvSpPr/>
          <p:nvPr/>
        </p:nvSpPr>
        <p:spPr>
          <a:xfrm>
            <a:off x="6186527" y="3245029"/>
            <a:ext cx="1365515" cy="824652"/>
          </a:xfrm>
          <a:custGeom>
            <a:avLst/>
            <a:gdLst>
              <a:gd name="connsiteX0" fmla="*/ 0 w 1781190"/>
              <a:gd name="connsiteY0" fmla="*/ 0 h 1121936"/>
              <a:gd name="connsiteX1" fmla="*/ 1781190 w 1781190"/>
              <a:gd name="connsiteY1" fmla="*/ 0 h 1121936"/>
              <a:gd name="connsiteX2" fmla="*/ 1781190 w 1781190"/>
              <a:gd name="connsiteY2" fmla="*/ 1121936 h 1121936"/>
              <a:gd name="connsiteX3" fmla="*/ 0 w 1781190"/>
              <a:gd name="connsiteY3" fmla="*/ 1121936 h 1121936"/>
              <a:gd name="connsiteX4" fmla="*/ 0 w 1781190"/>
              <a:gd name="connsiteY4" fmla="*/ 0 h 1121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1190" h="1121936">
                <a:moveTo>
                  <a:pt x="0" y="0"/>
                </a:moveTo>
                <a:lnTo>
                  <a:pt x="1781190" y="0"/>
                </a:lnTo>
                <a:lnTo>
                  <a:pt x="1781190" y="1121936"/>
                </a:lnTo>
                <a:lnTo>
                  <a:pt x="0" y="112193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0408" tIns="50408" rIns="50408" bIns="50408" numCol="1" spcCol="1270" anchor="ctr" anchorCtr="0">
            <a:noAutofit/>
          </a:bodyPr>
          <a:lstStyle/>
          <a:p>
            <a:pPr algn="ctr" defTabSz="588074">
              <a:lnSpc>
                <a:spcPct val="90000"/>
              </a:lnSpc>
              <a:spcAft>
                <a:spcPct val="35000"/>
              </a:spcAft>
            </a:pPr>
            <a:r>
              <a:rPr lang="pt-BR" b="1" dirty="0">
                <a:solidFill>
                  <a:srgbClr val="FFFFFF"/>
                </a:solidFill>
              </a:rPr>
              <a:t>Protagonismo Juvenil</a:t>
            </a:r>
          </a:p>
        </p:txBody>
      </p: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xmlns="" id="{56C0CDBC-5EA5-46A2-9C41-2F04DEB38871}"/>
              </a:ext>
            </a:extLst>
          </p:cNvPr>
          <p:cNvSpPr/>
          <p:nvPr/>
        </p:nvSpPr>
        <p:spPr>
          <a:xfrm>
            <a:off x="4148341" y="4180850"/>
            <a:ext cx="1350120" cy="1383569"/>
          </a:xfrm>
          <a:custGeom>
            <a:avLst/>
            <a:gdLst>
              <a:gd name="connsiteX0" fmla="*/ 0 w 1869894"/>
              <a:gd name="connsiteY0" fmla="*/ 813404 h 1626808"/>
              <a:gd name="connsiteX1" fmla="*/ 406702 w 1869894"/>
              <a:gd name="connsiteY1" fmla="*/ 0 h 1626808"/>
              <a:gd name="connsiteX2" fmla="*/ 1463192 w 1869894"/>
              <a:gd name="connsiteY2" fmla="*/ 0 h 1626808"/>
              <a:gd name="connsiteX3" fmla="*/ 1869894 w 1869894"/>
              <a:gd name="connsiteY3" fmla="*/ 813404 h 1626808"/>
              <a:gd name="connsiteX4" fmla="*/ 1463192 w 1869894"/>
              <a:gd name="connsiteY4" fmla="*/ 1626808 h 1626808"/>
              <a:gd name="connsiteX5" fmla="*/ 406702 w 1869894"/>
              <a:gd name="connsiteY5" fmla="*/ 1626808 h 1626808"/>
              <a:gd name="connsiteX6" fmla="*/ 0 w 1869894"/>
              <a:gd name="connsiteY6" fmla="*/ 813404 h 1626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9894" h="1626808">
                <a:moveTo>
                  <a:pt x="934947" y="0"/>
                </a:moveTo>
                <a:lnTo>
                  <a:pt x="1869894" y="353831"/>
                </a:lnTo>
                <a:lnTo>
                  <a:pt x="1869894" y="1272977"/>
                </a:lnTo>
                <a:lnTo>
                  <a:pt x="934947" y="1626808"/>
                </a:lnTo>
                <a:lnTo>
                  <a:pt x="0" y="1272977"/>
                </a:lnTo>
                <a:lnTo>
                  <a:pt x="0" y="353831"/>
                </a:lnTo>
                <a:lnTo>
                  <a:pt x="934947" y="0"/>
                </a:lnTo>
                <a:close/>
              </a:path>
            </a:pathLst>
          </a:custGeom>
          <a:solidFill>
            <a:srgbClr val="69B58B"/>
          </a:solidFill>
          <a:ln>
            <a:solidFill>
              <a:srgbClr val="69B58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20289" rtlCol="0" anchor="t"/>
          <a:lstStyle/>
          <a:p>
            <a:pPr algn="ctr"/>
            <a:endParaRPr lang="pt-BR" sz="1176">
              <a:solidFill>
                <a:schemeClr val="bg1"/>
              </a:solidFill>
            </a:endParaRP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xmlns="" id="{53E754D1-6AD0-453B-B08C-972B7BEFD3C9}"/>
              </a:ext>
            </a:extLst>
          </p:cNvPr>
          <p:cNvSpPr txBox="1"/>
          <p:nvPr/>
        </p:nvSpPr>
        <p:spPr>
          <a:xfrm>
            <a:off x="4007582" y="4543580"/>
            <a:ext cx="1646291" cy="5847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FFFFFF"/>
                </a:solidFill>
                <a:latin typeface="+mj-lt"/>
              </a:rPr>
              <a:t>Práticas Experimentais</a:t>
            </a:r>
          </a:p>
        </p:txBody>
      </p:sp>
      <p:sp>
        <p:nvSpPr>
          <p:cNvPr id="25" name="Retângulo: Cantos Arredondados 24">
            <a:extLst>
              <a:ext uri="{FF2B5EF4-FFF2-40B4-BE49-F238E27FC236}">
                <a16:creationId xmlns:a16="http://schemas.microsoft.com/office/drawing/2014/main" xmlns="" id="{E70F3183-EE59-4D46-9ACA-41713DF7E975}"/>
              </a:ext>
            </a:extLst>
          </p:cNvPr>
          <p:cNvSpPr/>
          <p:nvPr/>
        </p:nvSpPr>
        <p:spPr>
          <a:xfrm>
            <a:off x="451689" y="1797541"/>
            <a:ext cx="2326794" cy="3716786"/>
          </a:xfrm>
          <a:prstGeom prst="roundRect">
            <a:avLst/>
          </a:prstGeom>
          <a:solidFill>
            <a:srgbClr val="009999"/>
          </a:solidFill>
          <a:ln w="38100">
            <a:solidFill>
              <a:srgbClr val="0099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FFFF"/>
                </a:solidFill>
              </a:rPr>
              <a:t>Proposta pedagógica baseada na ampliação da jornada escolar e na </a:t>
            </a:r>
            <a:r>
              <a:rPr lang="pt-BR" b="1" dirty="0">
                <a:solidFill>
                  <a:schemeClr val="tx1"/>
                </a:solidFill>
              </a:rPr>
              <a:t>formação integral e integrada do estudante</a:t>
            </a:r>
            <a:r>
              <a:rPr lang="pt-BR" dirty="0">
                <a:solidFill>
                  <a:srgbClr val="FFFFFF"/>
                </a:solidFill>
              </a:rPr>
              <a:t>, tendo como pilar o currículo e abrangendo as </a:t>
            </a:r>
            <a:r>
              <a:rPr lang="pt-BR" b="1" dirty="0">
                <a:solidFill>
                  <a:schemeClr val="tx1"/>
                </a:solidFill>
              </a:rPr>
              <a:t>dimensões social, emocional, cognitiva e cultural </a:t>
            </a:r>
            <a:r>
              <a:rPr lang="pt-BR" dirty="0">
                <a:solidFill>
                  <a:srgbClr val="FFFFFF"/>
                </a:solidFill>
              </a:rPr>
              <a:t>dos estudantes, bem como a </a:t>
            </a:r>
            <a:r>
              <a:rPr lang="pt-BR" b="1" dirty="0">
                <a:solidFill>
                  <a:schemeClr val="tx1"/>
                </a:solidFill>
              </a:rPr>
              <a:t>cidadania</a:t>
            </a:r>
            <a:r>
              <a:rPr lang="pt-BR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xmlns="" id="{3EDF887C-ABF1-49EA-8D2B-8F2254743B95}"/>
              </a:ext>
            </a:extLst>
          </p:cNvPr>
          <p:cNvSpPr txBox="1"/>
          <p:nvPr/>
        </p:nvSpPr>
        <p:spPr>
          <a:xfrm>
            <a:off x="5542334" y="4528696"/>
            <a:ext cx="1344215" cy="5847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FFFFFF"/>
                </a:solidFill>
                <a:latin typeface="+mj-lt"/>
              </a:rPr>
              <a:t>Estudo Orientado</a:t>
            </a:r>
          </a:p>
        </p:txBody>
      </p:sp>
      <p:pic>
        <p:nvPicPr>
          <p:cNvPr id="27" name="Imagem 26">
            <a:extLst>
              <a:ext uri="{FF2B5EF4-FFF2-40B4-BE49-F238E27FC236}">
                <a16:creationId xmlns:a16="http://schemas.microsoft.com/office/drawing/2014/main" xmlns="" id="{2B291B97-F31A-4155-A212-E9EE28AF771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l="10300" t="3422" r="10240" b="17838"/>
          <a:stretch/>
        </p:blipFill>
        <p:spPr>
          <a:xfrm rot="2423154">
            <a:off x="3172904" y="3142069"/>
            <a:ext cx="933764" cy="925294"/>
          </a:xfrm>
          <a:prstGeom prst="rect">
            <a:avLst/>
          </a:prstGeom>
        </p:spPr>
      </p:pic>
      <p:sp>
        <p:nvSpPr>
          <p:cNvPr id="28" name="Forma Livre: Forma 27">
            <a:extLst>
              <a:ext uri="{FF2B5EF4-FFF2-40B4-BE49-F238E27FC236}">
                <a16:creationId xmlns:a16="http://schemas.microsoft.com/office/drawing/2014/main" xmlns="" id="{7995F5AB-0D8B-41C5-A41D-9E785961877F}"/>
              </a:ext>
            </a:extLst>
          </p:cNvPr>
          <p:cNvSpPr/>
          <p:nvPr/>
        </p:nvSpPr>
        <p:spPr>
          <a:xfrm>
            <a:off x="4841909" y="3245029"/>
            <a:ext cx="1281641" cy="824652"/>
          </a:xfrm>
          <a:custGeom>
            <a:avLst/>
            <a:gdLst>
              <a:gd name="connsiteX0" fmla="*/ 0 w 1781190"/>
              <a:gd name="connsiteY0" fmla="*/ 0 h 1121936"/>
              <a:gd name="connsiteX1" fmla="*/ 1781190 w 1781190"/>
              <a:gd name="connsiteY1" fmla="*/ 0 h 1121936"/>
              <a:gd name="connsiteX2" fmla="*/ 1781190 w 1781190"/>
              <a:gd name="connsiteY2" fmla="*/ 1121936 h 1121936"/>
              <a:gd name="connsiteX3" fmla="*/ 0 w 1781190"/>
              <a:gd name="connsiteY3" fmla="*/ 1121936 h 1121936"/>
              <a:gd name="connsiteX4" fmla="*/ 0 w 1781190"/>
              <a:gd name="connsiteY4" fmla="*/ 0 h 1121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1190" h="1121936">
                <a:moveTo>
                  <a:pt x="0" y="0"/>
                </a:moveTo>
                <a:lnTo>
                  <a:pt x="1781190" y="0"/>
                </a:lnTo>
                <a:lnTo>
                  <a:pt x="1781190" y="1121936"/>
                </a:lnTo>
                <a:lnTo>
                  <a:pt x="0" y="112193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0408" tIns="50408" rIns="50408" bIns="50408" numCol="1" spcCol="1270" anchor="ctr" anchorCtr="0">
            <a:noAutofit/>
          </a:bodyPr>
          <a:lstStyle/>
          <a:p>
            <a:pPr algn="ctr" defTabSz="588074">
              <a:lnSpc>
                <a:spcPct val="90000"/>
              </a:lnSpc>
              <a:spcAft>
                <a:spcPct val="35000"/>
              </a:spcAft>
            </a:pPr>
            <a:r>
              <a:rPr lang="pt-BR" b="1" dirty="0">
                <a:solidFill>
                  <a:srgbClr val="FFFFFF"/>
                </a:solidFill>
              </a:rPr>
              <a:t>Projeto de Vida</a:t>
            </a:r>
          </a:p>
        </p:txBody>
      </p:sp>
      <p:sp>
        <p:nvSpPr>
          <p:cNvPr id="29" name="Forma Livre: Forma 28">
            <a:extLst>
              <a:ext uri="{FF2B5EF4-FFF2-40B4-BE49-F238E27FC236}">
                <a16:creationId xmlns:a16="http://schemas.microsoft.com/office/drawing/2014/main" xmlns="" id="{253EA1BF-2C23-4717-AB8B-3523D5B3E48A}"/>
              </a:ext>
            </a:extLst>
          </p:cNvPr>
          <p:cNvSpPr/>
          <p:nvPr/>
        </p:nvSpPr>
        <p:spPr>
          <a:xfrm>
            <a:off x="5608051" y="2049644"/>
            <a:ext cx="1281641" cy="824652"/>
          </a:xfrm>
          <a:custGeom>
            <a:avLst/>
            <a:gdLst>
              <a:gd name="connsiteX0" fmla="*/ 0 w 1781190"/>
              <a:gd name="connsiteY0" fmla="*/ 0 h 1121936"/>
              <a:gd name="connsiteX1" fmla="*/ 1781190 w 1781190"/>
              <a:gd name="connsiteY1" fmla="*/ 0 h 1121936"/>
              <a:gd name="connsiteX2" fmla="*/ 1781190 w 1781190"/>
              <a:gd name="connsiteY2" fmla="*/ 1121936 h 1121936"/>
              <a:gd name="connsiteX3" fmla="*/ 0 w 1781190"/>
              <a:gd name="connsiteY3" fmla="*/ 1121936 h 1121936"/>
              <a:gd name="connsiteX4" fmla="*/ 0 w 1781190"/>
              <a:gd name="connsiteY4" fmla="*/ 0 h 1121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1190" h="1121936">
                <a:moveTo>
                  <a:pt x="0" y="0"/>
                </a:moveTo>
                <a:lnTo>
                  <a:pt x="1781190" y="0"/>
                </a:lnTo>
                <a:lnTo>
                  <a:pt x="1781190" y="1121936"/>
                </a:lnTo>
                <a:lnTo>
                  <a:pt x="0" y="112193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0408" tIns="50408" rIns="50408" bIns="50408" numCol="1" spcCol="1270" anchor="ctr" anchorCtr="0">
            <a:noAutofit/>
          </a:bodyPr>
          <a:lstStyle/>
          <a:p>
            <a:pPr algn="ctr" defTabSz="588074">
              <a:lnSpc>
                <a:spcPct val="90000"/>
              </a:lnSpc>
              <a:spcAft>
                <a:spcPct val="35000"/>
              </a:spcAft>
            </a:pPr>
            <a:r>
              <a:rPr lang="pt-BR" b="1" dirty="0">
                <a:solidFill>
                  <a:srgbClr val="FFFFFF"/>
                </a:solidFill>
              </a:rPr>
              <a:t>Tutoria</a:t>
            </a:r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xmlns="" id="{4200B4B0-B5DA-46D0-8AFF-D3D0B9CC1AEA}"/>
              </a:ext>
            </a:extLst>
          </p:cNvPr>
          <p:cNvSpPr/>
          <p:nvPr/>
        </p:nvSpPr>
        <p:spPr>
          <a:xfrm>
            <a:off x="451688" y="861105"/>
            <a:ext cx="6864824" cy="428001"/>
          </a:xfrm>
          <a:prstGeom prst="roundRect">
            <a:avLst/>
          </a:prstGeom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b="1" dirty="0">
                <a:solidFill>
                  <a:srgbClr val="FFFFFF"/>
                </a:solidFill>
              </a:rPr>
              <a:t>Muito mais do que apenas a ampliação da jornada escolar... </a:t>
            </a:r>
          </a:p>
        </p:txBody>
      </p:sp>
      <p:sp>
        <p:nvSpPr>
          <p:cNvPr id="2" name="Balão de Fala: Retângulo 1">
            <a:extLst>
              <a:ext uri="{FF2B5EF4-FFF2-40B4-BE49-F238E27FC236}">
                <a16:creationId xmlns:a16="http://schemas.microsoft.com/office/drawing/2014/main" xmlns="" id="{57A96691-DD85-4F3D-9C86-83A0AEECEC6E}"/>
              </a:ext>
            </a:extLst>
          </p:cNvPr>
          <p:cNvSpPr/>
          <p:nvPr/>
        </p:nvSpPr>
        <p:spPr>
          <a:xfrm>
            <a:off x="2743731" y="1370875"/>
            <a:ext cx="1344215" cy="918467"/>
          </a:xfrm>
          <a:prstGeom prst="wedgeRectCallout">
            <a:avLst>
              <a:gd name="adj1" fmla="val 78415"/>
              <a:gd name="adj2" fmla="val 29779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FFFFFF"/>
                </a:solidFill>
              </a:rPr>
              <a:t>Maior presença dos pais na escola</a:t>
            </a:r>
          </a:p>
        </p:txBody>
      </p:sp>
      <p:sp>
        <p:nvSpPr>
          <p:cNvPr id="30" name="Balão de Fala: Retângulo 29">
            <a:extLst>
              <a:ext uri="{FF2B5EF4-FFF2-40B4-BE49-F238E27FC236}">
                <a16:creationId xmlns:a16="http://schemas.microsoft.com/office/drawing/2014/main" xmlns="" id="{5B216E7A-3284-42EC-B54E-6A236B48CC45}"/>
              </a:ext>
            </a:extLst>
          </p:cNvPr>
          <p:cNvSpPr/>
          <p:nvPr/>
        </p:nvSpPr>
        <p:spPr>
          <a:xfrm>
            <a:off x="7165534" y="1715772"/>
            <a:ext cx="1513605" cy="918467"/>
          </a:xfrm>
          <a:prstGeom prst="wedgeRectCallout">
            <a:avLst>
              <a:gd name="adj1" fmla="val -50528"/>
              <a:gd name="adj2" fmla="val 118935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FFFFFF"/>
                </a:solidFill>
              </a:rPr>
              <a:t>E também estímulo ao espírito empreendedor</a:t>
            </a:r>
          </a:p>
        </p:txBody>
      </p:sp>
      <p:sp>
        <p:nvSpPr>
          <p:cNvPr id="31" name="Balão de Fala: Retângulo 30">
            <a:extLst>
              <a:ext uri="{FF2B5EF4-FFF2-40B4-BE49-F238E27FC236}">
                <a16:creationId xmlns:a16="http://schemas.microsoft.com/office/drawing/2014/main" xmlns="" id="{71836627-92EB-426F-BD7D-AF1A057BBB7B}"/>
              </a:ext>
            </a:extLst>
          </p:cNvPr>
          <p:cNvSpPr/>
          <p:nvPr/>
        </p:nvSpPr>
        <p:spPr>
          <a:xfrm>
            <a:off x="6995107" y="4393830"/>
            <a:ext cx="1684031" cy="1466540"/>
          </a:xfrm>
          <a:prstGeom prst="wedgeRectCallout">
            <a:avLst>
              <a:gd name="adj1" fmla="val -39639"/>
              <a:gd name="adj2" fmla="val -76528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FFFFFF"/>
                </a:solidFill>
              </a:rPr>
              <a:t>Clubes criados pelos estudantes também têm foco em cultura e esporte</a:t>
            </a:r>
          </a:p>
        </p:txBody>
      </p:sp>
    </p:spTree>
    <p:extLst>
      <p:ext uri="{BB962C8B-B14F-4D97-AF65-F5344CB8AC3E}">
        <p14:creationId xmlns:p14="http://schemas.microsoft.com/office/powerpoint/2010/main" val="34200519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DE2A26FA-F16E-46B3-9331-083EC7446B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CUSTO por aluno formado na escola integral </a:t>
            </a: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xmlns="" id="{91F53E5A-C8E1-4E25-A40F-A52512FDC300}"/>
              </a:ext>
            </a:extLst>
          </p:cNvPr>
          <p:cNvGraphicFramePr/>
          <p:nvPr>
            <p:extLst/>
          </p:nvPr>
        </p:nvGraphicFramePr>
        <p:xfrm>
          <a:off x="4001761" y="2503212"/>
          <a:ext cx="4589324" cy="3314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Balão de Fala: Retângulo com Cantos Arredondados 6">
            <a:extLst>
              <a:ext uri="{FF2B5EF4-FFF2-40B4-BE49-F238E27FC236}">
                <a16:creationId xmlns:a16="http://schemas.microsoft.com/office/drawing/2014/main" xmlns="" id="{46D0AC04-87E7-4501-9DD1-E9E3FB302151}"/>
              </a:ext>
            </a:extLst>
          </p:cNvPr>
          <p:cNvSpPr/>
          <p:nvPr/>
        </p:nvSpPr>
        <p:spPr>
          <a:xfrm>
            <a:off x="4449970" y="5109252"/>
            <a:ext cx="1651904" cy="366759"/>
          </a:xfrm>
          <a:prstGeom prst="wedgeRoundRectCallout">
            <a:avLst>
              <a:gd name="adj1" fmla="val -20833"/>
              <a:gd name="adj2" fmla="val 39541"/>
              <a:gd name="adj3" fmla="val 16667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chemeClr val="tx2"/>
                </a:solidFill>
              </a:rPr>
              <a:t>Repetência + Abandono = 13,9% a.a</a:t>
            </a:r>
          </a:p>
        </p:txBody>
      </p:sp>
      <p:sp>
        <p:nvSpPr>
          <p:cNvPr id="8" name="Balão de Fala: Retângulo com Cantos Arredondados 7">
            <a:extLst>
              <a:ext uri="{FF2B5EF4-FFF2-40B4-BE49-F238E27FC236}">
                <a16:creationId xmlns:a16="http://schemas.microsoft.com/office/drawing/2014/main" xmlns="" id="{C8F3EA11-40D8-4A02-AEFB-4333DE3BCC5A}"/>
              </a:ext>
            </a:extLst>
          </p:cNvPr>
          <p:cNvSpPr/>
          <p:nvPr/>
        </p:nvSpPr>
        <p:spPr>
          <a:xfrm>
            <a:off x="6466225" y="5144226"/>
            <a:ext cx="1651904" cy="331785"/>
          </a:xfrm>
          <a:prstGeom prst="wedgeRoundRectCallout">
            <a:avLst>
              <a:gd name="adj1" fmla="val -20833"/>
              <a:gd name="adj2" fmla="val 39541"/>
              <a:gd name="adj3" fmla="val 16667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chemeClr val="tx2"/>
                </a:solidFill>
              </a:rPr>
              <a:t>Repetência + Abandono = 7,1% a.a</a:t>
            </a:r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xmlns="" id="{722E8013-4FAA-440B-8C7E-444CBB9BEE52}"/>
              </a:ext>
            </a:extLst>
          </p:cNvPr>
          <p:cNvSpPr/>
          <p:nvPr/>
        </p:nvSpPr>
        <p:spPr>
          <a:xfrm>
            <a:off x="5495471" y="1897376"/>
            <a:ext cx="2360641" cy="1399618"/>
          </a:xfrm>
          <a:custGeom>
            <a:avLst/>
            <a:gdLst>
              <a:gd name="connsiteX0" fmla="*/ 0 w 3930555"/>
              <a:gd name="connsiteY0" fmla="*/ 1943125 h 1943125"/>
              <a:gd name="connsiteX1" fmla="*/ 2620370 w 3930555"/>
              <a:gd name="connsiteY1" fmla="*/ 18790 h 1943125"/>
              <a:gd name="connsiteX2" fmla="*/ 3930555 w 3930555"/>
              <a:gd name="connsiteY2" fmla="*/ 1028725 h 194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30555" h="1943125">
                <a:moveTo>
                  <a:pt x="0" y="1943125"/>
                </a:moveTo>
                <a:cubicBezTo>
                  <a:pt x="982639" y="1057157"/>
                  <a:pt x="1965278" y="171190"/>
                  <a:pt x="2620370" y="18790"/>
                </a:cubicBezTo>
                <a:cubicBezTo>
                  <a:pt x="3275463" y="-133610"/>
                  <a:pt x="3625755" y="680707"/>
                  <a:pt x="3930555" y="1028725"/>
                </a:cubicBezTo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kern="0" dirty="0">
              <a:solidFill>
                <a:schemeClr val="accent4"/>
              </a:solidFill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xmlns="" id="{1922A822-A42B-4F35-8C31-8DB0D873631E}"/>
              </a:ext>
            </a:extLst>
          </p:cNvPr>
          <p:cNvSpPr txBox="1"/>
          <p:nvPr/>
        </p:nvSpPr>
        <p:spPr>
          <a:xfrm>
            <a:off x="6769873" y="1522367"/>
            <a:ext cx="80069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sz="1350" b="1" kern="0" dirty="0">
                <a:solidFill>
                  <a:schemeClr val="accent4"/>
                </a:solidFill>
                <a:latin typeface="+mj-lt"/>
              </a:rPr>
              <a:t>+33%</a:t>
            </a:r>
          </a:p>
        </p:txBody>
      </p:sp>
      <p:sp>
        <p:nvSpPr>
          <p:cNvPr id="11" name="Forma Livre: Forma 10">
            <a:extLst>
              <a:ext uri="{FF2B5EF4-FFF2-40B4-BE49-F238E27FC236}">
                <a16:creationId xmlns:a16="http://schemas.microsoft.com/office/drawing/2014/main" xmlns="" id="{777A2330-1A6E-4836-886F-D39352DB18DA}"/>
              </a:ext>
            </a:extLst>
          </p:cNvPr>
          <p:cNvSpPr/>
          <p:nvPr/>
        </p:nvSpPr>
        <p:spPr>
          <a:xfrm>
            <a:off x="4855335" y="1956318"/>
            <a:ext cx="1906074" cy="1852822"/>
          </a:xfrm>
          <a:custGeom>
            <a:avLst/>
            <a:gdLst>
              <a:gd name="connsiteX0" fmla="*/ 0 w 3998794"/>
              <a:gd name="connsiteY0" fmla="*/ 2054292 h 2054292"/>
              <a:gd name="connsiteX1" fmla="*/ 1760561 w 3998794"/>
              <a:gd name="connsiteY1" fmla="*/ 20775 h 2054292"/>
              <a:gd name="connsiteX2" fmla="*/ 3998794 w 3998794"/>
              <a:gd name="connsiteY2" fmla="*/ 1003414 h 2054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98794" h="2054292">
                <a:moveTo>
                  <a:pt x="0" y="2054292"/>
                </a:moveTo>
                <a:cubicBezTo>
                  <a:pt x="547047" y="1125106"/>
                  <a:pt x="1094095" y="195921"/>
                  <a:pt x="1760561" y="20775"/>
                </a:cubicBezTo>
                <a:cubicBezTo>
                  <a:pt x="2427027" y="-154371"/>
                  <a:pt x="3614382" y="830542"/>
                  <a:pt x="3998794" y="1003414"/>
                </a:cubicBezTo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kern="0" dirty="0">
              <a:solidFill>
                <a:sysClr val="windowText" lastClr="000000"/>
              </a:solidFill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0D2BA06D-462B-4C8E-AFB4-DCA491AA265E}"/>
              </a:ext>
            </a:extLst>
          </p:cNvPr>
          <p:cNvSpPr txBox="1"/>
          <p:nvPr/>
        </p:nvSpPr>
        <p:spPr>
          <a:xfrm>
            <a:off x="5301176" y="1625529"/>
            <a:ext cx="80069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sz="1350" b="1" kern="0" dirty="0">
                <a:solidFill>
                  <a:schemeClr val="accent2"/>
                </a:solidFill>
                <a:latin typeface="+mn-lt"/>
              </a:rPr>
              <a:t>+69%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xmlns="" id="{813A71B9-6A1E-4482-BF81-7BC9A94C82FF}"/>
              </a:ext>
            </a:extLst>
          </p:cNvPr>
          <p:cNvSpPr/>
          <p:nvPr/>
        </p:nvSpPr>
        <p:spPr>
          <a:xfrm>
            <a:off x="3917433" y="1086211"/>
            <a:ext cx="4891715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500" b="1" dirty="0">
                <a:solidFill>
                  <a:schemeClr val="tx2"/>
                </a:solidFill>
                <a:latin typeface="+mn-lt"/>
              </a:rPr>
              <a:t>Dados Reais– 2016 – R$K/ano (safra 2012-2014)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xmlns="" id="{D12ED2D9-6F44-449B-991A-90E551DC2A87}"/>
              </a:ext>
            </a:extLst>
          </p:cNvPr>
          <p:cNvSpPr/>
          <p:nvPr/>
        </p:nvSpPr>
        <p:spPr>
          <a:xfrm>
            <a:off x="4001761" y="1499507"/>
            <a:ext cx="4807388" cy="4571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srgbClr val="5CC6D4"/>
              </a:solidFill>
              <a:latin typeface="Arial Black" panose="020B0A04020102020204" pitchFamily="34" charset="0"/>
              <a:cs typeface="Azo Sans Black"/>
            </a:endParaRPr>
          </a:p>
        </p:txBody>
      </p:sp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xmlns="" id="{F9C3BA1E-A4EF-4C65-9542-5C58CF4D1966}"/>
              </a:ext>
            </a:extLst>
          </p:cNvPr>
          <p:cNvSpPr/>
          <p:nvPr/>
        </p:nvSpPr>
        <p:spPr>
          <a:xfrm>
            <a:off x="304763" y="1522367"/>
            <a:ext cx="3242176" cy="4401917"/>
          </a:xfrm>
          <a:prstGeom prst="round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1400" dirty="0">
                <a:solidFill>
                  <a:schemeClr val="tx2"/>
                </a:solidFill>
              </a:rPr>
              <a:t>O custo adicional de uma escola integral se deve, principalmente, a dois pontos: </a:t>
            </a:r>
            <a:r>
              <a:rPr lang="pt-BR" sz="1400" b="1" dirty="0">
                <a:solidFill>
                  <a:schemeClr val="tx2"/>
                </a:solidFill>
              </a:rPr>
              <a:t>alimentação e remuneração de professores</a:t>
            </a:r>
            <a:r>
              <a:rPr lang="pt-BR" sz="1400" dirty="0">
                <a:solidFill>
                  <a:schemeClr val="tx2"/>
                </a:solidFill>
              </a:rPr>
              <a:t>. Por outro lado, devido à menor evasão e repetência, o </a:t>
            </a:r>
            <a:r>
              <a:rPr lang="pt-BR" sz="1400" b="1" dirty="0">
                <a:solidFill>
                  <a:schemeClr val="tx2"/>
                </a:solidFill>
              </a:rPr>
              <a:t>custo por aluno formado das escolas integrais é 33% maior do que as de tempo parcial</a:t>
            </a:r>
            <a:r>
              <a:rPr lang="pt-BR" sz="1400" dirty="0">
                <a:solidFill>
                  <a:schemeClr val="tx2"/>
                </a:solidFill>
              </a:rPr>
              <a:t>.</a:t>
            </a:r>
          </a:p>
          <a:p>
            <a:endParaRPr lang="pt-BR" sz="1400" dirty="0">
              <a:solidFill>
                <a:schemeClr val="tx2"/>
              </a:solidFill>
            </a:endParaRPr>
          </a:p>
          <a:p>
            <a:r>
              <a:rPr lang="pt-BR" sz="1400" dirty="0">
                <a:solidFill>
                  <a:schemeClr val="tx2"/>
                </a:solidFill>
              </a:rPr>
              <a:t>Apesar do maior custo unitário do modelo integral</a:t>
            </a:r>
            <a:r>
              <a:rPr lang="pt-BR" sz="1400" b="1" dirty="0">
                <a:solidFill>
                  <a:schemeClr val="tx2"/>
                </a:solidFill>
              </a:rPr>
              <a:t>, é possível operar com custos mais favoráveis:</a:t>
            </a:r>
          </a:p>
          <a:p>
            <a:endParaRPr lang="pt-BR" sz="1400" b="1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tx2"/>
                </a:solidFill>
              </a:rPr>
              <a:t>Implantando em escolas maio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tx2"/>
                </a:solidFill>
              </a:rPr>
              <a:t>Otimizando a enturm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tx2"/>
                </a:solidFill>
              </a:rPr>
              <a:t>Eliminando ineficiências (desvio de função e absenteísmo)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xmlns="" id="{41E1FF55-1BFD-4666-BEFD-5D6B291190D5}"/>
              </a:ext>
            </a:extLst>
          </p:cNvPr>
          <p:cNvSpPr txBox="1"/>
          <p:nvPr/>
        </p:nvSpPr>
        <p:spPr>
          <a:xfrm>
            <a:off x="154548" y="6347362"/>
            <a:ext cx="83970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solidFill>
                  <a:schemeClr val="tx2"/>
                </a:solidFill>
                <a:latin typeface="+mn-lt"/>
              </a:rPr>
              <a:t>Notas: Custo por aluno formado – custo por aluno, o que equivale à ineficiência gerada pelos estudantes que abandonaram os estudos e não se formaram (somente custo escola, sem custos indiretos/SEDUC), Fonte: Estudo Bain &amp; Company; Evasão (0,5%)+Abandono (6,5%)</a:t>
            </a:r>
          </a:p>
        </p:txBody>
      </p:sp>
    </p:spTree>
    <p:extLst>
      <p:ext uri="{BB962C8B-B14F-4D97-AF65-F5344CB8AC3E}">
        <p14:creationId xmlns:p14="http://schemas.microsoft.com/office/powerpoint/2010/main" val="30609226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xmlns="" id="{50CB5768-0E1C-47C8-A59E-0E256FC0C7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xmlns="" id="{BC51080E-C2A7-4793-8FAD-EECF34D5B6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4058" y="760739"/>
            <a:ext cx="8227098" cy="384617"/>
          </a:xfrm>
        </p:spPr>
        <p:txBody>
          <a:bodyPr>
            <a:noAutofit/>
          </a:bodyPr>
          <a:lstStyle/>
          <a:p>
            <a:r>
              <a:rPr lang="pt-BR" sz="2200" dirty="0"/>
              <a:t>PROJEÇÃO BASEADA EM CASOS REAIS  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xmlns="" id="{F641AA50-090E-4ACA-B6EB-95AAC865F3E2}"/>
              </a:ext>
            </a:extLst>
          </p:cNvPr>
          <p:cNvSpPr txBox="1">
            <a:spLocks/>
          </p:cNvSpPr>
          <p:nvPr/>
        </p:nvSpPr>
        <p:spPr>
          <a:xfrm>
            <a:off x="364058" y="242019"/>
            <a:ext cx="8597732" cy="5281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48056" rtl="0" eaLnBrk="1" latinLnBrk="0" hangingPunct="1">
              <a:spcBef>
                <a:spcPct val="0"/>
              </a:spcBef>
              <a:buNone/>
              <a:defRPr sz="2352" b="0" i="0" kern="1200" cap="all">
                <a:solidFill>
                  <a:srgbClr val="3180BB"/>
                </a:solidFill>
                <a:latin typeface="Gill Sans"/>
                <a:ea typeface="+mj-ea"/>
                <a:cs typeface="Rubri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pt-BR" sz="2600" dirty="0"/>
              <a:t>A UNIVERSALIZAÇÃO DO ENSINO INTEGRAL É POSSÍVEL 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xmlns="" id="{06C7F3FF-9C4E-4137-A957-ACE4B1CBD3E9}"/>
              </a:ext>
            </a:extLst>
          </p:cNvPr>
          <p:cNvSpPr/>
          <p:nvPr/>
        </p:nvSpPr>
        <p:spPr>
          <a:xfrm>
            <a:off x="1262129" y="3191303"/>
            <a:ext cx="2506324" cy="77566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xmlns="" id="{3B1701A2-CBC7-41FC-B009-8388A36F11F7}"/>
              </a:ext>
            </a:extLst>
          </p:cNvPr>
          <p:cNvSpPr/>
          <p:nvPr/>
        </p:nvSpPr>
        <p:spPr>
          <a:xfrm>
            <a:off x="1262130" y="1607377"/>
            <a:ext cx="2506323" cy="38461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xmlns="" id="{51A75F88-4D9E-494C-9E86-A4D609ECFADF}"/>
              </a:ext>
            </a:extLst>
          </p:cNvPr>
          <p:cNvSpPr/>
          <p:nvPr/>
        </p:nvSpPr>
        <p:spPr>
          <a:xfrm>
            <a:off x="1283828" y="4091976"/>
            <a:ext cx="2502561" cy="77566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CD76EB66-3CB3-4608-8056-FEEF8DE5B3A5}"/>
              </a:ext>
            </a:extLst>
          </p:cNvPr>
          <p:cNvSpPr/>
          <p:nvPr/>
        </p:nvSpPr>
        <p:spPr>
          <a:xfrm>
            <a:off x="1268570" y="5037399"/>
            <a:ext cx="2517819" cy="76988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xmlns="" id="{BFD2132E-09CA-4EAF-B625-EEEB2E8654B6}"/>
              </a:ext>
            </a:extLst>
          </p:cNvPr>
          <p:cNvSpPr/>
          <p:nvPr/>
        </p:nvSpPr>
        <p:spPr>
          <a:xfrm>
            <a:off x="4328073" y="1561812"/>
            <a:ext cx="3058731" cy="4301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xmlns="" id="{3DA000AA-2EF3-4B35-8344-01D10E328349}"/>
              </a:ext>
            </a:extLst>
          </p:cNvPr>
          <p:cNvSpPr/>
          <p:nvPr/>
        </p:nvSpPr>
        <p:spPr>
          <a:xfrm>
            <a:off x="4338277" y="3202628"/>
            <a:ext cx="3058730" cy="76434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xmlns="" id="{FAF1585E-DA00-45B0-A1C7-0DE73C5354C8}"/>
              </a:ext>
            </a:extLst>
          </p:cNvPr>
          <p:cNvSpPr/>
          <p:nvPr/>
        </p:nvSpPr>
        <p:spPr>
          <a:xfrm>
            <a:off x="4373149" y="4132065"/>
            <a:ext cx="3013653" cy="77566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xmlns="" id="{78500846-0BB3-41EC-B426-56F1046F66B9}"/>
              </a:ext>
            </a:extLst>
          </p:cNvPr>
          <p:cNvSpPr/>
          <p:nvPr/>
        </p:nvSpPr>
        <p:spPr>
          <a:xfrm>
            <a:off x="4338277" y="5063063"/>
            <a:ext cx="3048525" cy="7442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xmlns="" id="{589E5BC1-C3E5-4E57-8A5F-27EFC35E9AC3}"/>
              </a:ext>
            </a:extLst>
          </p:cNvPr>
          <p:cNvSpPr txBox="1"/>
          <p:nvPr/>
        </p:nvSpPr>
        <p:spPr>
          <a:xfrm>
            <a:off x="1574633" y="1629029"/>
            <a:ext cx="17386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tx2"/>
                </a:solidFill>
                <a:latin typeface="+mn-lt"/>
              </a:rPr>
              <a:t># Estados 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1DBD8542-3DA5-49A7-A37A-47519E314DBC}"/>
              </a:ext>
            </a:extLst>
          </p:cNvPr>
          <p:cNvSpPr txBox="1"/>
          <p:nvPr/>
        </p:nvSpPr>
        <p:spPr>
          <a:xfrm>
            <a:off x="4328073" y="1644392"/>
            <a:ext cx="30587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solidFill>
                  <a:schemeClr val="tx2"/>
                </a:solidFill>
                <a:latin typeface="+mn-lt"/>
              </a:rPr>
              <a:t>3 estados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xmlns="" id="{B9972045-3AA1-4B85-A5CE-BD4386FB568D}"/>
              </a:ext>
            </a:extLst>
          </p:cNvPr>
          <p:cNvSpPr txBox="1"/>
          <p:nvPr/>
        </p:nvSpPr>
        <p:spPr>
          <a:xfrm>
            <a:off x="1268570" y="3368746"/>
            <a:ext cx="24663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FFFFFF"/>
                </a:solidFill>
                <a:latin typeface="+mn-lt"/>
              </a:rPr>
              <a:t>Projeção universalização 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xmlns="" id="{660B748E-3FC8-4625-B1B4-B704C227C044}"/>
              </a:ext>
            </a:extLst>
          </p:cNvPr>
          <p:cNvSpPr txBox="1"/>
          <p:nvPr/>
        </p:nvSpPr>
        <p:spPr>
          <a:xfrm>
            <a:off x="4373150" y="3382196"/>
            <a:ext cx="30136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FFFFFF"/>
                </a:solidFill>
                <a:latin typeface="+mn-lt"/>
              </a:rPr>
              <a:t>80% dos alunos das redes 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2D11898B-9FC2-4162-B753-624AE0EA940B}"/>
              </a:ext>
            </a:extLst>
          </p:cNvPr>
          <p:cNvSpPr txBox="1"/>
          <p:nvPr/>
        </p:nvSpPr>
        <p:spPr>
          <a:xfrm>
            <a:off x="1314902" y="4176675"/>
            <a:ext cx="22581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tx2"/>
                </a:solidFill>
                <a:latin typeface="+mn-lt"/>
              </a:rPr>
              <a:t>Custo Operacional acumulado 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xmlns="" id="{63D924D0-215E-44D1-A628-BE1E8E924BFC}"/>
              </a:ext>
            </a:extLst>
          </p:cNvPr>
          <p:cNvSpPr txBox="1"/>
          <p:nvPr/>
        </p:nvSpPr>
        <p:spPr>
          <a:xfrm>
            <a:off x="4373148" y="4254019"/>
            <a:ext cx="29224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tx2"/>
                </a:solidFill>
                <a:latin typeface="+mn-lt"/>
              </a:rPr>
              <a:t>Entre 386 MM e 876 MM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xmlns="" id="{96A067F1-C501-48E4-B561-1B3830902969}"/>
              </a:ext>
            </a:extLst>
          </p:cNvPr>
          <p:cNvSpPr txBox="1"/>
          <p:nvPr/>
        </p:nvSpPr>
        <p:spPr>
          <a:xfrm>
            <a:off x="1274317" y="5167671"/>
            <a:ext cx="25063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tx2"/>
                </a:solidFill>
                <a:latin typeface="+mn-lt"/>
              </a:rPr>
              <a:t>Impacto médio no orçamento das </a:t>
            </a:r>
            <a:r>
              <a:rPr lang="pt-BR" b="1" dirty="0" err="1">
                <a:solidFill>
                  <a:schemeClr val="tx2"/>
                </a:solidFill>
                <a:latin typeface="+mn-lt"/>
              </a:rPr>
              <a:t>Seducs</a:t>
            </a:r>
            <a:endParaRPr lang="pt-BR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xmlns="" id="{8A0D5077-A022-4604-99C7-ACBDD476FE14}"/>
              </a:ext>
            </a:extLst>
          </p:cNvPr>
          <p:cNvSpPr txBox="1"/>
          <p:nvPr/>
        </p:nvSpPr>
        <p:spPr>
          <a:xfrm>
            <a:off x="4477607" y="5177605"/>
            <a:ext cx="27987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tx2"/>
                </a:solidFill>
                <a:latin typeface="+mn-lt"/>
              </a:rPr>
              <a:t>Entre 5,3% e 12,2% do orçamento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xmlns="" id="{8CFA3FFF-CCB2-4206-945A-49D31839806B}"/>
              </a:ext>
            </a:extLst>
          </p:cNvPr>
          <p:cNvSpPr/>
          <p:nvPr/>
        </p:nvSpPr>
        <p:spPr>
          <a:xfrm>
            <a:off x="1262129" y="2265633"/>
            <a:ext cx="2506323" cy="77566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ACF4F233-5728-4E6D-9DCE-B11264F62DBA}"/>
              </a:ext>
            </a:extLst>
          </p:cNvPr>
          <p:cNvSpPr txBox="1"/>
          <p:nvPr/>
        </p:nvSpPr>
        <p:spPr>
          <a:xfrm>
            <a:off x="1435170" y="2386487"/>
            <a:ext cx="21602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tx2"/>
                </a:solidFill>
                <a:latin typeface="+mn-lt"/>
              </a:rPr>
              <a:t># alunos total no EM (Cens0 2017)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xmlns="" id="{AE8D1DEC-4828-4438-B45B-653675BEEB4A}"/>
              </a:ext>
            </a:extLst>
          </p:cNvPr>
          <p:cNvSpPr/>
          <p:nvPr/>
        </p:nvSpPr>
        <p:spPr>
          <a:xfrm>
            <a:off x="4328072" y="2267918"/>
            <a:ext cx="3058731" cy="8076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xmlns="" id="{C43A5EDA-1231-4249-ABED-8F25F0C51CCD}"/>
              </a:ext>
            </a:extLst>
          </p:cNvPr>
          <p:cNvSpPr txBox="1"/>
          <p:nvPr/>
        </p:nvSpPr>
        <p:spPr>
          <a:xfrm>
            <a:off x="4626147" y="2401928"/>
            <a:ext cx="24829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tx2"/>
                </a:solidFill>
                <a:latin typeface="+mn-lt"/>
              </a:rPr>
              <a:t>621.131 alunos </a:t>
            </a:r>
          </a:p>
          <a:p>
            <a:pPr algn="ctr"/>
            <a:r>
              <a:rPr lang="pt-BR" b="1" dirty="0">
                <a:solidFill>
                  <a:schemeClr val="tx2"/>
                </a:solidFill>
                <a:latin typeface="+mn-lt"/>
              </a:rPr>
              <a:t>(escolas urbanas)</a:t>
            </a:r>
          </a:p>
        </p:txBody>
      </p:sp>
    </p:spTree>
    <p:extLst>
      <p:ext uri="{BB962C8B-B14F-4D97-AF65-F5344CB8AC3E}">
        <p14:creationId xmlns:p14="http://schemas.microsoft.com/office/powerpoint/2010/main" val="19238398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8" name="Rectangle 17"/>
          <p:cNvSpPr>
            <a:spLocks noGrp="1" noChangeArrowheads="1"/>
          </p:cNvSpPr>
          <p:nvPr>
            <p:ph type="ctrTitle"/>
          </p:nvPr>
        </p:nvSpPr>
        <p:spPr>
          <a:xfrm>
            <a:off x="363706" y="275358"/>
            <a:ext cx="8384509" cy="528182"/>
          </a:xfrm>
        </p:spPr>
        <p:txBody>
          <a:bodyPr>
            <a:normAutofit fontScale="90000"/>
          </a:bodyPr>
          <a:lstStyle/>
          <a:p>
            <a:r>
              <a:rPr lang="pt-BR" dirty="0"/>
              <a:t>Os estudantes demonstram satisfação com as escolas integrais</a:t>
            </a:r>
            <a:endParaRPr lang="en-GB" altLang="en-US" dirty="0"/>
          </a:p>
        </p:txBody>
      </p:sp>
      <p:sp>
        <p:nvSpPr>
          <p:cNvPr id="3076" name="Freeform 4"/>
          <p:cNvSpPr>
            <a:spLocks/>
          </p:cNvSpPr>
          <p:nvPr/>
        </p:nvSpPr>
        <p:spPr bwMode="auto">
          <a:xfrm>
            <a:off x="1539877" y="3292155"/>
            <a:ext cx="2488108" cy="2100921"/>
          </a:xfrm>
          <a:custGeom>
            <a:avLst/>
            <a:gdLst>
              <a:gd name="T0" fmla="*/ 1682237 w 1616"/>
              <a:gd name="T1" fmla="*/ 1724956 h 1618"/>
              <a:gd name="T2" fmla="*/ 1729310 w 1616"/>
              <a:gd name="T3" fmla="*/ 1732391 h 1618"/>
              <a:gd name="T4" fmla="*/ 1751607 w 1616"/>
              <a:gd name="T5" fmla="*/ 1799307 h 1618"/>
              <a:gd name="T6" fmla="*/ 1773905 w 1616"/>
              <a:gd name="T7" fmla="*/ 1868702 h 1618"/>
              <a:gd name="T8" fmla="*/ 1823455 w 1616"/>
              <a:gd name="T9" fmla="*/ 1886051 h 1618"/>
              <a:gd name="T10" fmla="*/ 1912646 w 1616"/>
              <a:gd name="T11" fmla="*/ 1838961 h 1618"/>
              <a:gd name="T12" fmla="*/ 1977062 w 1616"/>
              <a:gd name="T13" fmla="*/ 1754696 h 1618"/>
              <a:gd name="T14" fmla="*/ 1999359 w 1616"/>
              <a:gd name="T15" fmla="*/ 1623342 h 1618"/>
              <a:gd name="T16" fmla="*/ 1964674 w 1616"/>
              <a:gd name="T17" fmla="*/ 1568817 h 1618"/>
              <a:gd name="T18" fmla="*/ 1917601 w 1616"/>
              <a:gd name="T19" fmla="*/ 1561382 h 1618"/>
              <a:gd name="T20" fmla="*/ 1833366 w 1616"/>
              <a:gd name="T21" fmla="*/ 1596080 h 1618"/>
              <a:gd name="T22" fmla="*/ 1788770 w 1616"/>
              <a:gd name="T23" fmla="*/ 1578731 h 1618"/>
              <a:gd name="T24" fmla="*/ 1788770 w 1616"/>
              <a:gd name="T25" fmla="*/ 1484552 h 1618"/>
              <a:gd name="T26" fmla="*/ 1811068 w 1616"/>
              <a:gd name="T27" fmla="*/ 859999 h 1618"/>
              <a:gd name="T28" fmla="*/ 1726832 w 1616"/>
              <a:gd name="T29" fmla="*/ 810432 h 1618"/>
              <a:gd name="T30" fmla="*/ 1689669 w 1616"/>
              <a:gd name="T31" fmla="*/ 840172 h 1618"/>
              <a:gd name="T32" fmla="*/ 1677282 w 1616"/>
              <a:gd name="T33" fmla="*/ 931873 h 1618"/>
              <a:gd name="T34" fmla="*/ 1647551 w 1616"/>
              <a:gd name="T35" fmla="*/ 969048 h 1618"/>
              <a:gd name="T36" fmla="*/ 1583136 w 1616"/>
              <a:gd name="T37" fmla="*/ 971527 h 1618"/>
              <a:gd name="T38" fmla="*/ 1481558 w 1616"/>
              <a:gd name="T39" fmla="*/ 887262 h 1618"/>
              <a:gd name="T40" fmla="*/ 1439440 w 1616"/>
              <a:gd name="T41" fmla="*/ 790605 h 1618"/>
              <a:gd name="T42" fmla="*/ 1441917 w 1616"/>
              <a:gd name="T43" fmla="*/ 688991 h 1618"/>
              <a:gd name="T44" fmla="*/ 1484035 w 1616"/>
              <a:gd name="T45" fmla="*/ 654293 h 1618"/>
              <a:gd name="T46" fmla="*/ 1553406 w 1616"/>
              <a:gd name="T47" fmla="*/ 669164 h 1618"/>
              <a:gd name="T48" fmla="*/ 1625254 w 1616"/>
              <a:gd name="T49" fmla="*/ 684034 h 1618"/>
              <a:gd name="T50" fmla="*/ 1654984 w 1616"/>
              <a:gd name="T51" fmla="*/ 646858 h 1618"/>
              <a:gd name="T52" fmla="*/ 1484035 w 1616"/>
              <a:gd name="T53" fmla="*/ 294928 h 1618"/>
              <a:gd name="T54" fmla="*/ 1117362 w 1616"/>
              <a:gd name="T55" fmla="*/ 285014 h 1618"/>
              <a:gd name="T56" fmla="*/ 1109929 w 1616"/>
              <a:gd name="T57" fmla="*/ 280057 h 1618"/>
              <a:gd name="T58" fmla="*/ 1102497 w 1616"/>
              <a:gd name="T59" fmla="*/ 277579 h 1618"/>
              <a:gd name="T60" fmla="*/ 1097542 w 1616"/>
              <a:gd name="T61" fmla="*/ 272622 h 1618"/>
              <a:gd name="T62" fmla="*/ 1090109 w 1616"/>
              <a:gd name="T63" fmla="*/ 267666 h 1618"/>
              <a:gd name="T64" fmla="*/ 1085154 w 1616"/>
              <a:gd name="T65" fmla="*/ 262709 h 1618"/>
              <a:gd name="T66" fmla="*/ 1082677 w 1616"/>
              <a:gd name="T67" fmla="*/ 257752 h 1618"/>
              <a:gd name="T68" fmla="*/ 1080199 w 1616"/>
              <a:gd name="T69" fmla="*/ 255274 h 1618"/>
              <a:gd name="T70" fmla="*/ 1075244 w 1616"/>
              <a:gd name="T71" fmla="*/ 247838 h 1618"/>
              <a:gd name="T72" fmla="*/ 1075244 w 1616"/>
              <a:gd name="T73" fmla="*/ 240403 h 1618"/>
              <a:gd name="T74" fmla="*/ 1075244 w 1616"/>
              <a:gd name="T75" fmla="*/ 240403 h 1618"/>
              <a:gd name="T76" fmla="*/ 1107452 w 1616"/>
              <a:gd name="T77" fmla="*/ 183400 h 1618"/>
              <a:gd name="T78" fmla="*/ 1169390 w 1616"/>
              <a:gd name="T79" fmla="*/ 131354 h 1618"/>
              <a:gd name="T80" fmla="*/ 1169390 w 1616"/>
              <a:gd name="T81" fmla="*/ 79308 h 1618"/>
              <a:gd name="T82" fmla="*/ 1107452 w 1616"/>
              <a:gd name="T83" fmla="*/ 22305 h 1618"/>
              <a:gd name="T84" fmla="*/ 995963 w 1616"/>
              <a:gd name="T85" fmla="*/ 0 h 1618"/>
              <a:gd name="T86" fmla="*/ 859700 w 1616"/>
              <a:gd name="T87" fmla="*/ 37176 h 1618"/>
              <a:gd name="T88" fmla="*/ 820059 w 1616"/>
              <a:gd name="T89" fmla="*/ 91700 h 1618"/>
              <a:gd name="T90" fmla="*/ 827492 w 1616"/>
              <a:gd name="T91" fmla="*/ 141268 h 1618"/>
              <a:gd name="T92" fmla="*/ 901818 w 1616"/>
              <a:gd name="T93" fmla="*/ 195792 h 1618"/>
              <a:gd name="T94" fmla="*/ 916683 w 1616"/>
              <a:gd name="T95" fmla="*/ 240403 h 1618"/>
              <a:gd name="T96" fmla="*/ 916683 w 1616"/>
              <a:gd name="T97" fmla="*/ 240403 h 1618"/>
              <a:gd name="T98" fmla="*/ 916683 w 1616"/>
              <a:gd name="T99" fmla="*/ 250317 h 1618"/>
              <a:gd name="T100" fmla="*/ 914205 w 1616"/>
              <a:gd name="T101" fmla="*/ 255274 h 1618"/>
              <a:gd name="T102" fmla="*/ 909250 w 1616"/>
              <a:gd name="T103" fmla="*/ 260230 h 1618"/>
              <a:gd name="T104" fmla="*/ 906773 w 1616"/>
              <a:gd name="T105" fmla="*/ 262709 h 1618"/>
              <a:gd name="T106" fmla="*/ 899340 w 1616"/>
              <a:gd name="T107" fmla="*/ 270144 h 1618"/>
              <a:gd name="T108" fmla="*/ 894385 w 1616"/>
              <a:gd name="T109" fmla="*/ 272622 h 1618"/>
              <a:gd name="T110" fmla="*/ 886953 w 1616"/>
              <a:gd name="T111" fmla="*/ 277579 h 1618"/>
              <a:gd name="T112" fmla="*/ 881997 w 1616"/>
              <a:gd name="T113" fmla="*/ 280057 h 1618"/>
              <a:gd name="T114" fmla="*/ 874565 w 1616"/>
              <a:gd name="T115" fmla="*/ 285014 h 1618"/>
              <a:gd name="T116" fmla="*/ 0 w 1616"/>
              <a:gd name="T117" fmla="*/ 1147492 h 161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16" h="1618">
                <a:moveTo>
                  <a:pt x="1312" y="1426"/>
                </a:moveTo>
                <a:lnTo>
                  <a:pt x="1312" y="1426"/>
                </a:lnTo>
                <a:lnTo>
                  <a:pt x="1328" y="1410"/>
                </a:lnTo>
                <a:lnTo>
                  <a:pt x="1348" y="1396"/>
                </a:lnTo>
                <a:lnTo>
                  <a:pt x="1358" y="1392"/>
                </a:lnTo>
                <a:lnTo>
                  <a:pt x="1368" y="1388"/>
                </a:lnTo>
                <a:lnTo>
                  <a:pt x="1378" y="1388"/>
                </a:lnTo>
                <a:lnTo>
                  <a:pt x="1386" y="1390"/>
                </a:lnTo>
                <a:lnTo>
                  <a:pt x="1396" y="1398"/>
                </a:lnTo>
                <a:lnTo>
                  <a:pt x="1402" y="1404"/>
                </a:lnTo>
                <a:lnTo>
                  <a:pt x="1408" y="1412"/>
                </a:lnTo>
                <a:lnTo>
                  <a:pt x="1412" y="1420"/>
                </a:lnTo>
                <a:lnTo>
                  <a:pt x="1414" y="1436"/>
                </a:lnTo>
                <a:lnTo>
                  <a:pt x="1414" y="1452"/>
                </a:lnTo>
                <a:lnTo>
                  <a:pt x="1414" y="1470"/>
                </a:lnTo>
                <a:lnTo>
                  <a:pt x="1418" y="1486"/>
                </a:lnTo>
                <a:lnTo>
                  <a:pt x="1420" y="1494"/>
                </a:lnTo>
                <a:lnTo>
                  <a:pt x="1426" y="1502"/>
                </a:lnTo>
                <a:lnTo>
                  <a:pt x="1432" y="1508"/>
                </a:lnTo>
                <a:lnTo>
                  <a:pt x="1442" y="1516"/>
                </a:lnTo>
                <a:lnTo>
                  <a:pt x="1452" y="1520"/>
                </a:lnTo>
                <a:lnTo>
                  <a:pt x="1462" y="1522"/>
                </a:lnTo>
                <a:lnTo>
                  <a:pt x="1472" y="1522"/>
                </a:lnTo>
                <a:lnTo>
                  <a:pt x="1484" y="1522"/>
                </a:lnTo>
                <a:lnTo>
                  <a:pt x="1494" y="1518"/>
                </a:lnTo>
                <a:lnTo>
                  <a:pt x="1504" y="1514"/>
                </a:lnTo>
                <a:lnTo>
                  <a:pt x="1526" y="1500"/>
                </a:lnTo>
                <a:lnTo>
                  <a:pt x="1544" y="1484"/>
                </a:lnTo>
                <a:lnTo>
                  <a:pt x="1562" y="1466"/>
                </a:lnTo>
                <a:lnTo>
                  <a:pt x="1576" y="1448"/>
                </a:lnTo>
                <a:lnTo>
                  <a:pt x="1586" y="1432"/>
                </a:lnTo>
                <a:lnTo>
                  <a:pt x="1596" y="1416"/>
                </a:lnTo>
                <a:lnTo>
                  <a:pt x="1604" y="1394"/>
                </a:lnTo>
                <a:lnTo>
                  <a:pt x="1610" y="1370"/>
                </a:lnTo>
                <a:lnTo>
                  <a:pt x="1614" y="1346"/>
                </a:lnTo>
                <a:lnTo>
                  <a:pt x="1616" y="1322"/>
                </a:lnTo>
                <a:lnTo>
                  <a:pt x="1614" y="1310"/>
                </a:lnTo>
                <a:lnTo>
                  <a:pt x="1612" y="1298"/>
                </a:lnTo>
                <a:lnTo>
                  <a:pt x="1608" y="1288"/>
                </a:lnTo>
                <a:lnTo>
                  <a:pt x="1602" y="1280"/>
                </a:lnTo>
                <a:lnTo>
                  <a:pt x="1594" y="1272"/>
                </a:lnTo>
                <a:lnTo>
                  <a:pt x="1586" y="1266"/>
                </a:lnTo>
                <a:lnTo>
                  <a:pt x="1574" y="1262"/>
                </a:lnTo>
                <a:lnTo>
                  <a:pt x="1566" y="1258"/>
                </a:lnTo>
                <a:lnTo>
                  <a:pt x="1556" y="1258"/>
                </a:lnTo>
                <a:lnTo>
                  <a:pt x="1548" y="1260"/>
                </a:lnTo>
                <a:lnTo>
                  <a:pt x="1532" y="1266"/>
                </a:lnTo>
                <a:lnTo>
                  <a:pt x="1518" y="1274"/>
                </a:lnTo>
                <a:lnTo>
                  <a:pt x="1504" y="1282"/>
                </a:lnTo>
                <a:lnTo>
                  <a:pt x="1488" y="1288"/>
                </a:lnTo>
                <a:lnTo>
                  <a:pt x="1480" y="1288"/>
                </a:lnTo>
                <a:lnTo>
                  <a:pt x="1470" y="1288"/>
                </a:lnTo>
                <a:lnTo>
                  <a:pt x="1460" y="1286"/>
                </a:lnTo>
                <a:lnTo>
                  <a:pt x="1450" y="1280"/>
                </a:lnTo>
                <a:lnTo>
                  <a:pt x="1444" y="1274"/>
                </a:lnTo>
                <a:lnTo>
                  <a:pt x="1438" y="1266"/>
                </a:lnTo>
                <a:lnTo>
                  <a:pt x="1436" y="1256"/>
                </a:lnTo>
                <a:lnTo>
                  <a:pt x="1436" y="1244"/>
                </a:lnTo>
                <a:lnTo>
                  <a:pt x="1438" y="1220"/>
                </a:lnTo>
                <a:lnTo>
                  <a:pt x="1444" y="1198"/>
                </a:lnTo>
                <a:lnTo>
                  <a:pt x="1598" y="930"/>
                </a:lnTo>
                <a:lnTo>
                  <a:pt x="1600" y="926"/>
                </a:lnTo>
                <a:lnTo>
                  <a:pt x="1596" y="926"/>
                </a:lnTo>
                <a:lnTo>
                  <a:pt x="1462" y="694"/>
                </a:lnTo>
                <a:lnTo>
                  <a:pt x="1446" y="678"/>
                </a:lnTo>
                <a:lnTo>
                  <a:pt x="1426" y="664"/>
                </a:lnTo>
                <a:lnTo>
                  <a:pt x="1414" y="658"/>
                </a:lnTo>
                <a:lnTo>
                  <a:pt x="1404" y="656"/>
                </a:lnTo>
                <a:lnTo>
                  <a:pt x="1394" y="654"/>
                </a:lnTo>
                <a:lnTo>
                  <a:pt x="1386" y="658"/>
                </a:lnTo>
                <a:lnTo>
                  <a:pt x="1376" y="664"/>
                </a:lnTo>
                <a:lnTo>
                  <a:pt x="1368" y="672"/>
                </a:lnTo>
                <a:lnTo>
                  <a:pt x="1364" y="678"/>
                </a:lnTo>
                <a:lnTo>
                  <a:pt x="1360" y="686"/>
                </a:lnTo>
                <a:lnTo>
                  <a:pt x="1358" y="702"/>
                </a:lnTo>
                <a:lnTo>
                  <a:pt x="1358" y="720"/>
                </a:lnTo>
                <a:lnTo>
                  <a:pt x="1358" y="736"/>
                </a:lnTo>
                <a:lnTo>
                  <a:pt x="1354" y="752"/>
                </a:lnTo>
                <a:lnTo>
                  <a:pt x="1352" y="760"/>
                </a:lnTo>
                <a:lnTo>
                  <a:pt x="1346" y="768"/>
                </a:lnTo>
                <a:lnTo>
                  <a:pt x="1340" y="776"/>
                </a:lnTo>
                <a:lnTo>
                  <a:pt x="1330" y="782"/>
                </a:lnTo>
                <a:lnTo>
                  <a:pt x="1320" y="786"/>
                </a:lnTo>
                <a:lnTo>
                  <a:pt x="1310" y="790"/>
                </a:lnTo>
                <a:lnTo>
                  <a:pt x="1300" y="790"/>
                </a:lnTo>
                <a:lnTo>
                  <a:pt x="1288" y="788"/>
                </a:lnTo>
                <a:lnTo>
                  <a:pt x="1278" y="784"/>
                </a:lnTo>
                <a:lnTo>
                  <a:pt x="1268" y="780"/>
                </a:lnTo>
                <a:lnTo>
                  <a:pt x="1246" y="768"/>
                </a:lnTo>
                <a:lnTo>
                  <a:pt x="1228" y="752"/>
                </a:lnTo>
                <a:lnTo>
                  <a:pt x="1210" y="734"/>
                </a:lnTo>
                <a:lnTo>
                  <a:pt x="1196" y="716"/>
                </a:lnTo>
                <a:lnTo>
                  <a:pt x="1186" y="700"/>
                </a:lnTo>
                <a:lnTo>
                  <a:pt x="1176" y="682"/>
                </a:lnTo>
                <a:lnTo>
                  <a:pt x="1168" y="660"/>
                </a:lnTo>
                <a:lnTo>
                  <a:pt x="1162" y="638"/>
                </a:lnTo>
                <a:lnTo>
                  <a:pt x="1156" y="612"/>
                </a:lnTo>
                <a:lnTo>
                  <a:pt x="1156" y="588"/>
                </a:lnTo>
                <a:lnTo>
                  <a:pt x="1158" y="576"/>
                </a:lnTo>
                <a:lnTo>
                  <a:pt x="1160" y="566"/>
                </a:lnTo>
                <a:lnTo>
                  <a:pt x="1164" y="556"/>
                </a:lnTo>
                <a:lnTo>
                  <a:pt x="1170" y="546"/>
                </a:lnTo>
                <a:lnTo>
                  <a:pt x="1178" y="538"/>
                </a:lnTo>
                <a:lnTo>
                  <a:pt x="1186" y="532"/>
                </a:lnTo>
                <a:lnTo>
                  <a:pt x="1198" y="528"/>
                </a:lnTo>
                <a:lnTo>
                  <a:pt x="1206" y="526"/>
                </a:lnTo>
                <a:lnTo>
                  <a:pt x="1216" y="524"/>
                </a:lnTo>
                <a:lnTo>
                  <a:pt x="1224" y="526"/>
                </a:lnTo>
                <a:lnTo>
                  <a:pt x="1240" y="532"/>
                </a:lnTo>
                <a:lnTo>
                  <a:pt x="1254" y="540"/>
                </a:lnTo>
                <a:lnTo>
                  <a:pt x="1268" y="548"/>
                </a:lnTo>
                <a:lnTo>
                  <a:pt x="1284" y="554"/>
                </a:lnTo>
                <a:lnTo>
                  <a:pt x="1292" y="556"/>
                </a:lnTo>
                <a:lnTo>
                  <a:pt x="1302" y="554"/>
                </a:lnTo>
                <a:lnTo>
                  <a:pt x="1312" y="552"/>
                </a:lnTo>
                <a:lnTo>
                  <a:pt x="1322" y="546"/>
                </a:lnTo>
                <a:lnTo>
                  <a:pt x="1328" y="540"/>
                </a:lnTo>
                <a:lnTo>
                  <a:pt x="1334" y="532"/>
                </a:lnTo>
                <a:lnTo>
                  <a:pt x="1336" y="522"/>
                </a:lnTo>
                <a:lnTo>
                  <a:pt x="1336" y="510"/>
                </a:lnTo>
                <a:lnTo>
                  <a:pt x="1334" y="484"/>
                </a:lnTo>
                <a:lnTo>
                  <a:pt x="1328" y="462"/>
                </a:lnTo>
                <a:lnTo>
                  <a:pt x="1198" y="238"/>
                </a:lnTo>
                <a:lnTo>
                  <a:pt x="924" y="238"/>
                </a:lnTo>
                <a:lnTo>
                  <a:pt x="902" y="230"/>
                </a:lnTo>
                <a:lnTo>
                  <a:pt x="898" y="228"/>
                </a:lnTo>
                <a:lnTo>
                  <a:pt x="896" y="226"/>
                </a:lnTo>
                <a:lnTo>
                  <a:pt x="894" y="226"/>
                </a:lnTo>
                <a:lnTo>
                  <a:pt x="892" y="224"/>
                </a:lnTo>
                <a:lnTo>
                  <a:pt x="890" y="224"/>
                </a:lnTo>
                <a:lnTo>
                  <a:pt x="888" y="222"/>
                </a:lnTo>
                <a:lnTo>
                  <a:pt x="886" y="220"/>
                </a:lnTo>
                <a:lnTo>
                  <a:pt x="884" y="220"/>
                </a:lnTo>
                <a:lnTo>
                  <a:pt x="882" y="218"/>
                </a:lnTo>
                <a:lnTo>
                  <a:pt x="880" y="216"/>
                </a:lnTo>
                <a:lnTo>
                  <a:pt x="878" y="214"/>
                </a:lnTo>
                <a:lnTo>
                  <a:pt x="876" y="212"/>
                </a:lnTo>
                <a:lnTo>
                  <a:pt x="874" y="210"/>
                </a:lnTo>
                <a:lnTo>
                  <a:pt x="874" y="208"/>
                </a:lnTo>
                <a:lnTo>
                  <a:pt x="872" y="206"/>
                </a:lnTo>
                <a:lnTo>
                  <a:pt x="870" y="204"/>
                </a:lnTo>
                <a:lnTo>
                  <a:pt x="870" y="202"/>
                </a:lnTo>
                <a:lnTo>
                  <a:pt x="868" y="200"/>
                </a:lnTo>
                <a:lnTo>
                  <a:pt x="868" y="198"/>
                </a:lnTo>
                <a:lnTo>
                  <a:pt x="868" y="194"/>
                </a:lnTo>
                <a:lnTo>
                  <a:pt x="870" y="182"/>
                </a:lnTo>
                <a:lnTo>
                  <a:pt x="872" y="172"/>
                </a:lnTo>
                <a:lnTo>
                  <a:pt x="876" y="164"/>
                </a:lnTo>
                <a:lnTo>
                  <a:pt x="880" y="158"/>
                </a:lnTo>
                <a:lnTo>
                  <a:pt x="894" y="148"/>
                </a:lnTo>
                <a:lnTo>
                  <a:pt x="908" y="138"/>
                </a:lnTo>
                <a:lnTo>
                  <a:pt x="922" y="130"/>
                </a:lnTo>
                <a:lnTo>
                  <a:pt x="936" y="120"/>
                </a:lnTo>
                <a:lnTo>
                  <a:pt x="940" y="114"/>
                </a:lnTo>
                <a:lnTo>
                  <a:pt x="944" y="106"/>
                </a:lnTo>
                <a:lnTo>
                  <a:pt x="948" y="96"/>
                </a:lnTo>
                <a:lnTo>
                  <a:pt x="948" y="84"/>
                </a:lnTo>
                <a:lnTo>
                  <a:pt x="948" y="74"/>
                </a:lnTo>
                <a:lnTo>
                  <a:pt x="944" y="64"/>
                </a:lnTo>
                <a:lnTo>
                  <a:pt x="940" y="54"/>
                </a:lnTo>
                <a:lnTo>
                  <a:pt x="932" y="46"/>
                </a:lnTo>
                <a:lnTo>
                  <a:pt x="924" y="38"/>
                </a:lnTo>
                <a:lnTo>
                  <a:pt x="916" y="30"/>
                </a:lnTo>
                <a:lnTo>
                  <a:pt x="894" y="18"/>
                </a:lnTo>
                <a:lnTo>
                  <a:pt x="870" y="10"/>
                </a:lnTo>
                <a:lnTo>
                  <a:pt x="846" y="4"/>
                </a:lnTo>
                <a:lnTo>
                  <a:pt x="824" y="2"/>
                </a:lnTo>
                <a:lnTo>
                  <a:pt x="804" y="0"/>
                </a:lnTo>
                <a:lnTo>
                  <a:pt x="786" y="2"/>
                </a:lnTo>
                <a:lnTo>
                  <a:pt x="762" y="4"/>
                </a:lnTo>
                <a:lnTo>
                  <a:pt x="738" y="10"/>
                </a:lnTo>
                <a:lnTo>
                  <a:pt x="714" y="18"/>
                </a:lnTo>
                <a:lnTo>
                  <a:pt x="694" y="30"/>
                </a:lnTo>
                <a:lnTo>
                  <a:pt x="684" y="38"/>
                </a:lnTo>
                <a:lnTo>
                  <a:pt x="676" y="46"/>
                </a:lnTo>
                <a:lnTo>
                  <a:pt x="670" y="54"/>
                </a:lnTo>
                <a:lnTo>
                  <a:pt x="664" y="64"/>
                </a:lnTo>
                <a:lnTo>
                  <a:pt x="662" y="74"/>
                </a:lnTo>
                <a:lnTo>
                  <a:pt x="660" y="84"/>
                </a:lnTo>
                <a:lnTo>
                  <a:pt x="662" y="96"/>
                </a:lnTo>
                <a:lnTo>
                  <a:pt x="664" y="106"/>
                </a:lnTo>
                <a:lnTo>
                  <a:pt x="668" y="114"/>
                </a:lnTo>
                <a:lnTo>
                  <a:pt x="674" y="120"/>
                </a:lnTo>
                <a:lnTo>
                  <a:pt x="686" y="130"/>
                </a:lnTo>
                <a:lnTo>
                  <a:pt x="700" y="138"/>
                </a:lnTo>
                <a:lnTo>
                  <a:pt x="716" y="148"/>
                </a:lnTo>
                <a:lnTo>
                  <a:pt x="728" y="158"/>
                </a:lnTo>
                <a:lnTo>
                  <a:pt x="734" y="164"/>
                </a:lnTo>
                <a:lnTo>
                  <a:pt x="736" y="172"/>
                </a:lnTo>
                <a:lnTo>
                  <a:pt x="740" y="182"/>
                </a:lnTo>
                <a:lnTo>
                  <a:pt x="740" y="194"/>
                </a:lnTo>
                <a:lnTo>
                  <a:pt x="740" y="198"/>
                </a:lnTo>
                <a:lnTo>
                  <a:pt x="740" y="200"/>
                </a:lnTo>
                <a:lnTo>
                  <a:pt x="740" y="202"/>
                </a:lnTo>
                <a:lnTo>
                  <a:pt x="738" y="204"/>
                </a:lnTo>
                <a:lnTo>
                  <a:pt x="738" y="206"/>
                </a:lnTo>
                <a:lnTo>
                  <a:pt x="736" y="206"/>
                </a:lnTo>
                <a:lnTo>
                  <a:pt x="736" y="208"/>
                </a:lnTo>
                <a:lnTo>
                  <a:pt x="734" y="210"/>
                </a:lnTo>
                <a:lnTo>
                  <a:pt x="734" y="212"/>
                </a:lnTo>
                <a:lnTo>
                  <a:pt x="732" y="212"/>
                </a:lnTo>
                <a:lnTo>
                  <a:pt x="730" y="214"/>
                </a:lnTo>
                <a:lnTo>
                  <a:pt x="730" y="216"/>
                </a:lnTo>
                <a:lnTo>
                  <a:pt x="726" y="218"/>
                </a:lnTo>
                <a:lnTo>
                  <a:pt x="724" y="220"/>
                </a:lnTo>
                <a:lnTo>
                  <a:pt x="722" y="220"/>
                </a:lnTo>
                <a:lnTo>
                  <a:pt x="720" y="222"/>
                </a:lnTo>
                <a:lnTo>
                  <a:pt x="718" y="224"/>
                </a:lnTo>
                <a:lnTo>
                  <a:pt x="716" y="224"/>
                </a:lnTo>
                <a:lnTo>
                  <a:pt x="714" y="226"/>
                </a:lnTo>
                <a:lnTo>
                  <a:pt x="712" y="226"/>
                </a:lnTo>
                <a:lnTo>
                  <a:pt x="710" y="228"/>
                </a:lnTo>
                <a:lnTo>
                  <a:pt x="708" y="230"/>
                </a:lnTo>
                <a:lnTo>
                  <a:pt x="706" y="230"/>
                </a:lnTo>
                <a:lnTo>
                  <a:pt x="684" y="238"/>
                </a:lnTo>
                <a:lnTo>
                  <a:pt x="400" y="238"/>
                </a:lnTo>
                <a:lnTo>
                  <a:pt x="398" y="236"/>
                </a:lnTo>
                <a:lnTo>
                  <a:pt x="0" y="926"/>
                </a:lnTo>
                <a:lnTo>
                  <a:pt x="400" y="1618"/>
                </a:lnTo>
                <a:lnTo>
                  <a:pt x="1198" y="1618"/>
                </a:lnTo>
                <a:lnTo>
                  <a:pt x="1200" y="1618"/>
                </a:lnTo>
                <a:lnTo>
                  <a:pt x="1312" y="1426"/>
                </a:lnTo>
                <a:close/>
              </a:path>
            </a:pathLst>
          </a:custGeom>
          <a:solidFill>
            <a:srgbClr val="4AA5F1"/>
          </a:solidFill>
          <a:ln w="38100" cap="flat" cmpd="sng">
            <a:solidFill>
              <a:srgbClr val="4AA5F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6FACE6ED-4569-41F3-834A-D346DD5D13DE}"/>
              </a:ext>
            </a:extLst>
          </p:cNvPr>
          <p:cNvSpPr/>
          <p:nvPr/>
        </p:nvSpPr>
        <p:spPr>
          <a:xfrm>
            <a:off x="1289004" y="4313645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827583E-0A9D-4FD4-8889-DDBCF82D3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26" name="Freeform 3">
            <a:extLst>
              <a:ext uri="{FF2B5EF4-FFF2-40B4-BE49-F238E27FC236}">
                <a16:creationId xmlns:a16="http://schemas.microsoft.com/office/drawing/2014/main" xmlns="" id="{4AC8FFC6-6693-424C-AC97-3EB5E81E68D5}"/>
              </a:ext>
            </a:extLst>
          </p:cNvPr>
          <p:cNvSpPr>
            <a:spLocks/>
          </p:cNvSpPr>
          <p:nvPr/>
        </p:nvSpPr>
        <p:spPr bwMode="auto">
          <a:xfrm>
            <a:off x="3381422" y="4452967"/>
            <a:ext cx="2511786" cy="1799839"/>
          </a:xfrm>
          <a:custGeom>
            <a:avLst/>
            <a:gdLst>
              <a:gd name="T0" fmla="*/ 1983738 w 1632"/>
              <a:gd name="T1" fmla="*/ 473414 h 1386"/>
              <a:gd name="T2" fmla="*/ 2010981 w 1632"/>
              <a:gd name="T3" fmla="*/ 446149 h 1386"/>
              <a:gd name="T4" fmla="*/ 2020887 w 1632"/>
              <a:gd name="T5" fmla="*/ 374270 h 1386"/>
              <a:gd name="T6" fmla="*/ 1983738 w 1632"/>
              <a:gd name="T7" fmla="*/ 267690 h 1386"/>
              <a:gd name="T8" fmla="*/ 1944113 w 1632"/>
              <a:gd name="T9" fmla="*/ 213160 h 1386"/>
              <a:gd name="T10" fmla="*/ 1862386 w 1632"/>
              <a:gd name="T11" fmla="*/ 158631 h 1386"/>
              <a:gd name="T12" fmla="*/ 1825237 w 1632"/>
              <a:gd name="T13" fmla="*/ 158631 h 1386"/>
              <a:gd name="T14" fmla="*/ 1788089 w 1632"/>
              <a:gd name="T15" fmla="*/ 183417 h 1386"/>
              <a:gd name="T16" fmla="*/ 1775706 w 1632"/>
              <a:gd name="T17" fmla="*/ 242904 h 1386"/>
              <a:gd name="T18" fmla="*/ 1760846 w 1632"/>
              <a:gd name="T19" fmla="*/ 302390 h 1386"/>
              <a:gd name="T20" fmla="*/ 1733604 w 1632"/>
              <a:gd name="T21" fmla="*/ 322219 h 1386"/>
              <a:gd name="T22" fmla="*/ 1703885 w 1632"/>
              <a:gd name="T23" fmla="*/ 319740 h 1386"/>
              <a:gd name="T24" fmla="*/ 1485946 w 1632"/>
              <a:gd name="T25" fmla="*/ 0 h 1386"/>
              <a:gd name="T26" fmla="*/ 1102077 w 1632"/>
              <a:gd name="T27" fmla="*/ 22307 h 1386"/>
              <a:gd name="T28" fmla="*/ 1069881 w 1632"/>
              <a:gd name="T29" fmla="*/ 59487 h 1386"/>
              <a:gd name="T30" fmla="*/ 1079788 w 1632"/>
              <a:gd name="T31" fmla="*/ 96666 h 1386"/>
              <a:gd name="T32" fmla="*/ 1136749 w 1632"/>
              <a:gd name="T33" fmla="*/ 138802 h 1386"/>
              <a:gd name="T34" fmla="*/ 1168944 w 1632"/>
              <a:gd name="T35" fmla="*/ 180938 h 1386"/>
              <a:gd name="T36" fmla="*/ 1163991 w 1632"/>
              <a:gd name="T37" fmla="*/ 223075 h 1386"/>
              <a:gd name="T38" fmla="*/ 1129319 w 1632"/>
              <a:gd name="T39" fmla="*/ 262732 h 1386"/>
              <a:gd name="T40" fmla="*/ 1015397 w 1632"/>
              <a:gd name="T41" fmla="*/ 299912 h 1386"/>
              <a:gd name="T42" fmla="*/ 938623 w 1632"/>
              <a:gd name="T43" fmla="*/ 294954 h 1386"/>
              <a:gd name="T44" fmla="*/ 842036 w 1632"/>
              <a:gd name="T45" fmla="*/ 255297 h 1386"/>
              <a:gd name="T46" fmla="*/ 814794 w 1632"/>
              <a:gd name="T47" fmla="*/ 210682 h 1386"/>
              <a:gd name="T48" fmla="*/ 817270 w 1632"/>
              <a:gd name="T49" fmla="*/ 171024 h 1386"/>
              <a:gd name="T50" fmla="*/ 861849 w 1632"/>
              <a:gd name="T51" fmla="*/ 128888 h 1386"/>
              <a:gd name="T52" fmla="*/ 906427 w 1632"/>
              <a:gd name="T53" fmla="*/ 86751 h 1386"/>
              <a:gd name="T54" fmla="*/ 908904 w 1632"/>
              <a:gd name="T55" fmla="*/ 49572 h 1386"/>
              <a:gd name="T56" fmla="*/ 851943 w 1632"/>
              <a:gd name="T57" fmla="*/ 9914 h 1386"/>
              <a:gd name="T58" fmla="*/ 307096 w 1632"/>
              <a:gd name="T59" fmla="*/ 332133 h 1386"/>
              <a:gd name="T60" fmla="*/ 299666 w 1632"/>
              <a:gd name="T61" fmla="*/ 416406 h 1386"/>
              <a:gd name="T62" fmla="*/ 326908 w 1632"/>
              <a:gd name="T63" fmla="*/ 441192 h 1386"/>
              <a:gd name="T64" fmla="*/ 381393 w 1632"/>
              <a:gd name="T65" fmla="*/ 436235 h 1386"/>
              <a:gd name="T66" fmla="*/ 445784 w 1632"/>
              <a:gd name="T67" fmla="*/ 406492 h 1386"/>
              <a:gd name="T68" fmla="*/ 482933 w 1632"/>
              <a:gd name="T69" fmla="*/ 416406 h 1386"/>
              <a:gd name="T70" fmla="*/ 515128 w 1632"/>
              <a:gd name="T71" fmla="*/ 456064 h 1386"/>
              <a:gd name="T72" fmla="*/ 512651 w 1632"/>
              <a:gd name="T73" fmla="*/ 545294 h 1386"/>
              <a:gd name="T74" fmla="*/ 482933 w 1632"/>
              <a:gd name="T75" fmla="*/ 622130 h 1386"/>
              <a:gd name="T76" fmla="*/ 408635 w 1632"/>
              <a:gd name="T77" fmla="*/ 706403 h 1386"/>
              <a:gd name="T78" fmla="*/ 341768 w 1632"/>
              <a:gd name="T79" fmla="*/ 733668 h 1386"/>
              <a:gd name="T80" fmla="*/ 304619 w 1632"/>
              <a:gd name="T81" fmla="*/ 726232 h 1386"/>
              <a:gd name="T82" fmla="*/ 274900 w 1632"/>
              <a:gd name="T83" fmla="*/ 689053 h 1386"/>
              <a:gd name="T84" fmla="*/ 267470 w 1632"/>
              <a:gd name="T85" fmla="*/ 607259 h 1386"/>
              <a:gd name="T86" fmla="*/ 235275 w 1632"/>
              <a:gd name="T87" fmla="*/ 570080 h 1386"/>
              <a:gd name="T88" fmla="*/ 200603 w 1632"/>
              <a:gd name="T89" fmla="*/ 572558 h 1386"/>
              <a:gd name="T90" fmla="*/ 4953 w 1632"/>
              <a:gd name="T91" fmla="*/ 852641 h 1386"/>
              <a:gd name="T92" fmla="*/ 1485946 w 1632"/>
              <a:gd name="T93" fmla="*/ 1717675 h 1386"/>
              <a:gd name="T94" fmla="*/ 1805425 w 1632"/>
              <a:gd name="T95" fmla="*/ 555208 h 1386"/>
              <a:gd name="T96" fmla="*/ 1802948 w 1632"/>
              <a:gd name="T97" fmla="*/ 473414 h 1386"/>
              <a:gd name="T98" fmla="*/ 1835144 w 1632"/>
              <a:gd name="T99" fmla="*/ 448628 h 1386"/>
              <a:gd name="T100" fmla="*/ 1879722 w 1632"/>
              <a:gd name="T101" fmla="*/ 451107 h 1386"/>
              <a:gd name="T102" fmla="*/ 1951543 w 1632"/>
              <a:gd name="T103" fmla="*/ 483328 h 138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1632" h="1386">
                <a:moveTo>
                  <a:pt x="1576" y="390"/>
                </a:moveTo>
                <a:lnTo>
                  <a:pt x="1576" y="390"/>
                </a:lnTo>
                <a:lnTo>
                  <a:pt x="1588" y="388"/>
                </a:lnTo>
                <a:lnTo>
                  <a:pt x="1602" y="382"/>
                </a:lnTo>
                <a:lnTo>
                  <a:pt x="1610" y="376"/>
                </a:lnTo>
                <a:lnTo>
                  <a:pt x="1618" y="368"/>
                </a:lnTo>
                <a:lnTo>
                  <a:pt x="1624" y="360"/>
                </a:lnTo>
                <a:lnTo>
                  <a:pt x="1628" y="350"/>
                </a:lnTo>
                <a:lnTo>
                  <a:pt x="1630" y="338"/>
                </a:lnTo>
                <a:lnTo>
                  <a:pt x="1632" y="328"/>
                </a:lnTo>
                <a:lnTo>
                  <a:pt x="1632" y="302"/>
                </a:lnTo>
                <a:lnTo>
                  <a:pt x="1626" y="278"/>
                </a:lnTo>
                <a:lnTo>
                  <a:pt x="1620" y="254"/>
                </a:lnTo>
                <a:lnTo>
                  <a:pt x="1612" y="234"/>
                </a:lnTo>
                <a:lnTo>
                  <a:pt x="1602" y="216"/>
                </a:lnTo>
                <a:lnTo>
                  <a:pt x="1594" y="202"/>
                </a:lnTo>
                <a:lnTo>
                  <a:pt x="1584" y="188"/>
                </a:lnTo>
                <a:lnTo>
                  <a:pt x="1570" y="172"/>
                </a:lnTo>
                <a:lnTo>
                  <a:pt x="1556" y="158"/>
                </a:lnTo>
                <a:lnTo>
                  <a:pt x="1540" y="146"/>
                </a:lnTo>
                <a:lnTo>
                  <a:pt x="1522" y="136"/>
                </a:lnTo>
                <a:lnTo>
                  <a:pt x="1504" y="128"/>
                </a:lnTo>
                <a:lnTo>
                  <a:pt x="1496" y="126"/>
                </a:lnTo>
                <a:lnTo>
                  <a:pt x="1486" y="126"/>
                </a:lnTo>
                <a:lnTo>
                  <a:pt x="1474" y="128"/>
                </a:lnTo>
                <a:lnTo>
                  <a:pt x="1460" y="134"/>
                </a:lnTo>
                <a:lnTo>
                  <a:pt x="1452" y="140"/>
                </a:lnTo>
                <a:lnTo>
                  <a:pt x="1444" y="148"/>
                </a:lnTo>
                <a:lnTo>
                  <a:pt x="1440" y="154"/>
                </a:lnTo>
                <a:lnTo>
                  <a:pt x="1436" y="162"/>
                </a:lnTo>
                <a:lnTo>
                  <a:pt x="1434" y="178"/>
                </a:lnTo>
                <a:lnTo>
                  <a:pt x="1434" y="196"/>
                </a:lnTo>
                <a:lnTo>
                  <a:pt x="1434" y="212"/>
                </a:lnTo>
                <a:lnTo>
                  <a:pt x="1432" y="228"/>
                </a:lnTo>
                <a:lnTo>
                  <a:pt x="1428" y="236"/>
                </a:lnTo>
                <a:lnTo>
                  <a:pt x="1422" y="244"/>
                </a:lnTo>
                <a:lnTo>
                  <a:pt x="1416" y="250"/>
                </a:lnTo>
                <a:lnTo>
                  <a:pt x="1406" y="258"/>
                </a:lnTo>
                <a:lnTo>
                  <a:pt x="1400" y="260"/>
                </a:lnTo>
                <a:lnTo>
                  <a:pt x="1392" y="260"/>
                </a:lnTo>
                <a:lnTo>
                  <a:pt x="1384" y="260"/>
                </a:lnTo>
                <a:lnTo>
                  <a:pt x="1376" y="258"/>
                </a:lnTo>
                <a:lnTo>
                  <a:pt x="1360" y="248"/>
                </a:lnTo>
                <a:lnTo>
                  <a:pt x="1344" y="236"/>
                </a:lnTo>
                <a:lnTo>
                  <a:pt x="1330" y="224"/>
                </a:lnTo>
                <a:lnTo>
                  <a:pt x="1200" y="0"/>
                </a:lnTo>
                <a:lnTo>
                  <a:pt x="936" y="0"/>
                </a:lnTo>
                <a:lnTo>
                  <a:pt x="914" y="8"/>
                </a:lnTo>
                <a:lnTo>
                  <a:pt x="890" y="18"/>
                </a:lnTo>
                <a:lnTo>
                  <a:pt x="880" y="24"/>
                </a:lnTo>
                <a:lnTo>
                  <a:pt x="872" y="32"/>
                </a:lnTo>
                <a:lnTo>
                  <a:pt x="866" y="40"/>
                </a:lnTo>
                <a:lnTo>
                  <a:pt x="864" y="48"/>
                </a:lnTo>
                <a:lnTo>
                  <a:pt x="866" y="60"/>
                </a:lnTo>
                <a:lnTo>
                  <a:pt x="868" y="70"/>
                </a:lnTo>
                <a:lnTo>
                  <a:pt x="872" y="78"/>
                </a:lnTo>
                <a:lnTo>
                  <a:pt x="876" y="84"/>
                </a:lnTo>
                <a:lnTo>
                  <a:pt x="890" y="96"/>
                </a:lnTo>
                <a:lnTo>
                  <a:pt x="904" y="104"/>
                </a:lnTo>
                <a:lnTo>
                  <a:pt x="918" y="112"/>
                </a:lnTo>
                <a:lnTo>
                  <a:pt x="932" y="122"/>
                </a:lnTo>
                <a:lnTo>
                  <a:pt x="936" y="130"/>
                </a:lnTo>
                <a:lnTo>
                  <a:pt x="940" y="138"/>
                </a:lnTo>
                <a:lnTo>
                  <a:pt x="944" y="146"/>
                </a:lnTo>
                <a:lnTo>
                  <a:pt x="944" y="158"/>
                </a:lnTo>
                <a:lnTo>
                  <a:pt x="944" y="170"/>
                </a:lnTo>
                <a:lnTo>
                  <a:pt x="940" y="180"/>
                </a:lnTo>
                <a:lnTo>
                  <a:pt x="936" y="190"/>
                </a:lnTo>
                <a:lnTo>
                  <a:pt x="928" y="198"/>
                </a:lnTo>
                <a:lnTo>
                  <a:pt x="920" y="206"/>
                </a:lnTo>
                <a:lnTo>
                  <a:pt x="912" y="212"/>
                </a:lnTo>
                <a:lnTo>
                  <a:pt x="890" y="224"/>
                </a:lnTo>
                <a:lnTo>
                  <a:pt x="866" y="232"/>
                </a:lnTo>
                <a:lnTo>
                  <a:pt x="842" y="238"/>
                </a:lnTo>
                <a:lnTo>
                  <a:pt x="820" y="242"/>
                </a:lnTo>
                <a:lnTo>
                  <a:pt x="800" y="242"/>
                </a:lnTo>
                <a:lnTo>
                  <a:pt x="782" y="242"/>
                </a:lnTo>
                <a:lnTo>
                  <a:pt x="758" y="238"/>
                </a:lnTo>
                <a:lnTo>
                  <a:pt x="734" y="232"/>
                </a:lnTo>
                <a:lnTo>
                  <a:pt x="710" y="224"/>
                </a:lnTo>
                <a:lnTo>
                  <a:pt x="690" y="212"/>
                </a:lnTo>
                <a:lnTo>
                  <a:pt x="680" y="206"/>
                </a:lnTo>
                <a:lnTo>
                  <a:pt x="672" y="198"/>
                </a:lnTo>
                <a:lnTo>
                  <a:pt x="666" y="190"/>
                </a:lnTo>
                <a:lnTo>
                  <a:pt x="660" y="180"/>
                </a:lnTo>
                <a:lnTo>
                  <a:pt x="658" y="170"/>
                </a:lnTo>
                <a:lnTo>
                  <a:pt x="656" y="158"/>
                </a:lnTo>
                <a:lnTo>
                  <a:pt x="658" y="146"/>
                </a:lnTo>
                <a:lnTo>
                  <a:pt x="660" y="138"/>
                </a:lnTo>
                <a:lnTo>
                  <a:pt x="664" y="130"/>
                </a:lnTo>
                <a:lnTo>
                  <a:pt x="670" y="122"/>
                </a:lnTo>
                <a:lnTo>
                  <a:pt x="682" y="112"/>
                </a:lnTo>
                <a:lnTo>
                  <a:pt x="696" y="104"/>
                </a:lnTo>
                <a:lnTo>
                  <a:pt x="712" y="96"/>
                </a:lnTo>
                <a:lnTo>
                  <a:pt x="724" y="84"/>
                </a:lnTo>
                <a:lnTo>
                  <a:pt x="730" y="78"/>
                </a:lnTo>
                <a:lnTo>
                  <a:pt x="732" y="70"/>
                </a:lnTo>
                <a:lnTo>
                  <a:pt x="736" y="60"/>
                </a:lnTo>
                <a:lnTo>
                  <a:pt x="736" y="48"/>
                </a:lnTo>
                <a:lnTo>
                  <a:pt x="734" y="40"/>
                </a:lnTo>
                <a:lnTo>
                  <a:pt x="728" y="32"/>
                </a:lnTo>
                <a:lnTo>
                  <a:pt x="720" y="24"/>
                </a:lnTo>
                <a:lnTo>
                  <a:pt x="710" y="18"/>
                </a:lnTo>
                <a:lnTo>
                  <a:pt x="688" y="8"/>
                </a:lnTo>
                <a:lnTo>
                  <a:pt x="666" y="0"/>
                </a:lnTo>
                <a:lnTo>
                  <a:pt x="402" y="0"/>
                </a:lnTo>
                <a:lnTo>
                  <a:pt x="248" y="268"/>
                </a:lnTo>
                <a:lnTo>
                  <a:pt x="242" y="290"/>
                </a:lnTo>
                <a:lnTo>
                  <a:pt x="240" y="314"/>
                </a:lnTo>
                <a:lnTo>
                  <a:pt x="240" y="326"/>
                </a:lnTo>
                <a:lnTo>
                  <a:pt x="242" y="336"/>
                </a:lnTo>
                <a:lnTo>
                  <a:pt x="248" y="344"/>
                </a:lnTo>
                <a:lnTo>
                  <a:pt x="254" y="350"/>
                </a:lnTo>
                <a:lnTo>
                  <a:pt x="264" y="356"/>
                </a:lnTo>
                <a:lnTo>
                  <a:pt x="274" y="358"/>
                </a:lnTo>
                <a:lnTo>
                  <a:pt x="284" y="358"/>
                </a:lnTo>
                <a:lnTo>
                  <a:pt x="292" y="358"/>
                </a:lnTo>
                <a:lnTo>
                  <a:pt x="308" y="352"/>
                </a:lnTo>
                <a:lnTo>
                  <a:pt x="322" y="344"/>
                </a:lnTo>
                <a:lnTo>
                  <a:pt x="336" y="336"/>
                </a:lnTo>
                <a:lnTo>
                  <a:pt x="352" y="330"/>
                </a:lnTo>
                <a:lnTo>
                  <a:pt x="360" y="328"/>
                </a:lnTo>
                <a:lnTo>
                  <a:pt x="370" y="328"/>
                </a:lnTo>
                <a:lnTo>
                  <a:pt x="378" y="332"/>
                </a:lnTo>
                <a:lnTo>
                  <a:pt x="390" y="336"/>
                </a:lnTo>
                <a:lnTo>
                  <a:pt x="398" y="342"/>
                </a:lnTo>
                <a:lnTo>
                  <a:pt x="406" y="350"/>
                </a:lnTo>
                <a:lnTo>
                  <a:pt x="412" y="358"/>
                </a:lnTo>
                <a:lnTo>
                  <a:pt x="416" y="368"/>
                </a:lnTo>
                <a:lnTo>
                  <a:pt x="418" y="380"/>
                </a:lnTo>
                <a:lnTo>
                  <a:pt x="420" y="392"/>
                </a:lnTo>
                <a:lnTo>
                  <a:pt x="418" y="416"/>
                </a:lnTo>
                <a:lnTo>
                  <a:pt x="414" y="440"/>
                </a:lnTo>
                <a:lnTo>
                  <a:pt x="408" y="464"/>
                </a:lnTo>
                <a:lnTo>
                  <a:pt x="400" y="486"/>
                </a:lnTo>
                <a:lnTo>
                  <a:pt x="390" y="502"/>
                </a:lnTo>
                <a:lnTo>
                  <a:pt x="380" y="518"/>
                </a:lnTo>
                <a:lnTo>
                  <a:pt x="366" y="536"/>
                </a:lnTo>
                <a:lnTo>
                  <a:pt x="348" y="554"/>
                </a:lnTo>
                <a:lnTo>
                  <a:pt x="330" y="570"/>
                </a:lnTo>
                <a:lnTo>
                  <a:pt x="308" y="584"/>
                </a:lnTo>
                <a:lnTo>
                  <a:pt x="298" y="588"/>
                </a:lnTo>
                <a:lnTo>
                  <a:pt x="288" y="592"/>
                </a:lnTo>
                <a:lnTo>
                  <a:pt x="276" y="592"/>
                </a:lnTo>
                <a:lnTo>
                  <a:pt x="266" y="592"/>
                </a:lnTo>
                <a:lnTo>
                  <a:pt x="256" y="590"/>
                </a:lnTo>
                <a:lnTo>
                  <a:pt x="246" y="586"/>
                </a:lnTo>
                <a:lnTo>
                  <a:pt x="236" y="578"/>
                </a:lnTo>
                <a:lnTo>
                  <a:pt x="230" y="572"/>
                </a:lnTo>
                <a:lnTo>
                  <a:pt x="224" y="564"/>
                </a:lnTo>
                <a:lnTo>
                  <a:pt x="222" y="556"/>
                </a:lnTo>
                <a:lnTo>
                  <a:pt x="218" y="540"/>
                </a:lnTo>
                <a:lnTo>
                  <a:pt x="218" y="522"/>
                </a:lnTo>
                <a:lnTo>
                  <a:pt x="218" y="506"/>
                </a:lnTo>
                <a:lnTo>
                  <a:pt x="216" y="490"/>
                </a:lnTo>
                <a:lnTo>
                  <a:pt x="212" y="482"/>
                </a:lnTo>
                <a:lnTo>
                  <a:pt x="206" y="474"/>
                </a:lnTo>
                <a:lnTo>
                  <a:pt x="200" y="468"/>
                </a:lnTo>
                <a:lnTo>
                  <a:pt x="190" y="460"/>
                </a:lnTo>
                <a:lnTo>
                  <a:pt x="182" y="458"/>
                </a:lnTo>
                <a:lnTo>
                  <a:pt x="172" y="458"/>
                </a:lnTo>
                <a:lnTo>
                  <a:pt x="162" y="462"/>
                </a:lnTo>
                <a:lnTo>
                  <a:pt x="152" y="466"/>
                </a:lnTo>
                <a:lnTo>
                  <a:pt x="132" y="480"/>
                </a:lnTo>
                <a:lnTo>
                  <a:pt x="116" y="496"/>
                </a:lnTo>
                <a:lnTo>
                  <a:pt x="4" y="688"/>
                </a:lnTo>
                <a:lnTo>
                  <a:pt x="2" y="688"/>
                </a:lnTo>
                <a:lnTo>
                  <a:pt x="0" y="694"/>
                </a:lnTo>
                <a:lnTo>
                  <a:pt x="400" y="1386"/>
                </a:lnTo>
                <a:lnTo>
                  <a:pt x="1200" y="1386"/>
                </a:lnTo>
                <a:lnTo>
                  <a:pt x="1600" y="694"/>
                </a:lnTo>
                <a:lnTo>
                  <a:pt x="1598" y="688"/>
                </a:lnTo>
                <a:lnTo>
                  <a:pt x="1458" y="448"/>
                </a:lnTo>
                <a:lnTo>
                  <a:pt x="1454" y="426"/>
                </a:lnTo>
                <a:lnTo>
                  <a:pt x="1452" y="402"/>
                </a:lnTo>
                <a:lnTo>
                  <a:pt x="1454" y="392"/>
                </a:lnTo>
                <a:lnTo>
                  <a:pt x="1456" y="382"/>
                </a:lnTo>
                <a:lnTo>
                  <a:pt x="1460" y="374"/>
                </a:lnTo>
                <a:lnTo>
                  <a:pt x="1466" y="368"/>
                </a:lnTo>
                <a:lnTo>
                  <a:pt x="1482" y="362"/>
                </a:lnTo>
                <a:lnTo>
                  <a:pt x="1496" y="360"/>
                </a:lnTo>
                <a:lnTo>
                  <a:pt x="1508" y="360"/>
                </a:lnTo>
                <a:lnTo>
                  <a:pt x="1518" y="364"/>
                </a:lnTo>
                <a:lnTo>
                  <a:pt x="1536" y="374"/>
                </a:lnTo>
                <a:lnTo>
                  <a:pt x="1556" y="384"/>
                </a:lnTo>
                <a:lnTo>
                  <a:pt x="1566" y="388"/>
                </a:lnTo>
                <a:lnTo>
                  <a:pt x="1576" y="390"/>
                </a:lnTo>
                <a:close/>
              </a:path>
            </a:pathLst>
          </a:custGeom>
          <a:solidFill>
            <a:srgbClr val="FDB82B"/>
          </a:solidFill>
          <a:ln w="38100" cap="flat" cmpd="sng">
            <a:solidFill>
              <a:srgbClr val="FDB82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8" name="Oval 26">
            <a:extLst>
              <a:ext uri="{FF2B5EF4-FFF2-40B4-BE49-F238E27FC236}">
                <a16:creationId xmlns:a16="http://schemas.microsoft.com/office/drawing/2014/main" xmlns="" id="{FC649344-BF4B-484A-A574-7163FB9A311B}"/>
              </a:ext>
            </a:extLst>
          </p:cNvPr>
          <p:cNvSpPr/>
          <p:nvPr/>
        </p:nvSpPr>
        <p:spPr>
          <a:xfrm>
            <a:off x="3483004" y="5770786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9" name="Freeform 6">
            <a:extLst>
              <a:ext uri="{FF2B5EF4-FFF2-40B4-BE49-F238E27FC236}">
                <a16:creationId xmlns:a16="http://schemas.microsoft.com/office/drawing/2014/main" xmlns="" id="{4AAEDFCB-00E5-45D6-B3A4-2C829AD5BF0A}"/>
              </a:ext>
            </a:extLst>
          </p:cNvPr>
          <p:cNvSpPr>
            <a:spLocks/>
          </p:cNvSpPr>
          <p:nvPr/>
        </p:nvSpPr>
        <p:spPr bwMode="auto">
          <a:xfrm>
            <a:off x="5251288" y="3555879"/>
            <a:ext cx="2462458" cy="1793186"/>
          </a:xfrm>
          <a:custGeom>
            <a:avLst/>
            <a:gdLst>
              <a:gd name="T0" fmla="*/ 1124331 w 1600"/>
              <a:gd name="T1" fmla="*/ 4953 h 1382"/>
              <a:gd name="T2" fmla="*/ 1104519 w 1600"/>
              <a:gd name="T3" fmla="*/ 12383 h 1382"/>
              <a:gd name="T4" fmla="*/ 1094613 w 1600"/>
              <a:gd name="T5" fmla="*/ 17336 h 1382"/>
              <a:gd name="T6" fmla="*/ 1084707 w 1600"/>
              <a:gd name="T7" fmla="*/ 22289 h 1382"/>
              <a:gd name="T8" fmla="*/ 1077278 w 1600"/>
              <a:gd name="T9" fmla="*/ 27243 h 1382"/>
              <a:gd name="T10" fmla="*/ 1067372 w 1600"/>
              <a:gd name="T11" fmla="*/ 34672 h 1382"/>
              <a:gd name="T12" fmla="*/ 1062419 w 1600"/>
              <a:gd name="T13" fmla="*/ 42102 h 1382"/>
              <a:gd name="T14" fmla="*/ 1059942 w 1600"/>
              <a:gd name="T15" fmla="*/ 49532 h 1382"/>
              <a:gd name="T16" fmla="*/ 1057466 w 1600"/>
              <a:gd name="T17" fmla="*/ 56962 h 1382"/>
              <a:gd name="T18" fmla="*/ 1059942 w 1600"/>
              <a:gd name="T19" fmla="*/ 71821 h 1382"/>
              <a:gd name="T20" fmla="*/ 1059942 w 1600"/>
              <a:gd name="T21" fmla="*/ 79251 h 1382"/>
              <a:gd name="T22" fmla="*/ 1072325 w 1600"/>
              <a:gd name="T23" fmla="*/ 101540 h 1382"/>
              <a:gd name="T24" fmla="*/ 1121855 w 1600"/>
              <a:gd name="T25" fmla="*/ 136213 h 1382"/>
              <a:gd name="T26" fmla="*/ 1131761 w 1600"/>
              <a:gd name="T27" fmla="*/ 141166 h 1382"/>
              <a:gd name="T28" fmla="*/ 1144143 w 1600"/>
              <a:gd name="T29" fmla="*/ 153549 h 1382"/>
              <a:gd name="T30" fmla="*/ 1149096 w 1600"/>
              <a:gd name="T31" fmla="*/ 160978 h 1382"/>
              <a:gd name="T32" fmla="*/ 1156526 w 1600"/>
              <a:gd name="T33" fmla="*/ 180791 h 1382"/>
              <a:gd name="T34" fmla="*/ 1156526 w 1600"/>
              <a:gd name="T35" fmla="*/ 193174 h 1382"/>
              <a:gd name="T36" fmla="*/ 1126808 w 1600"/>
              <a:gd name="T37" fmla="*/ 252612 h 1382"/>
              <a:gd name="T38" fmla="*/ 978218 w 1600"/>
              <a:gd name="T39" fmla="*/ 297191 h 1382"/>
              <a:gd name="T40" fmla="*/ 842010 w 1600"/>
              <a:gd name="T41" fmla="*/ 260042 h 1382"/>
              <a:gd name="T42" fmla="*/ 799910 w 1600"/>
              <a:gd name="T43" fmla="*/ 193174 h 1382"/>
              <a:gd name="T44" fmla="*/ 802386 w 1600"/>
              <a:gd name="T45" fmla="*/ 183268 h 1382"/>
              <a:gd name="T46" fmla="*/ 804863 w 1600"/>
              <a:gd name="T47" fmla="*/ 170885 h 1382"/>
              <a:gd name="T48" fmla="*/ 812292 w 1600"/>
              <a:gd name="T49" fmla="*/ 153549 h 1382"/>
              <a:gd name="T50" fmla="*/ 819722 w 1600"/>
              <a:gd name="T51" fmla="*/ 146119 h 1382"/>
              <a:gd name="T52" fmla="*/ 832104 w 1600"/>
              <a:gd name="T53" fmla="*/ 136213 h 1382"/>
              <a:gd name="T54" fmla="*/ 869252 w 1600"/>
              <a:gd name="T55" fmla="*/ 113923 h 1382"/>
              <a:gd name="T56" fmla="*/ 896493 w 1600"/>
              <a:gd name="T57" fmla="*/ 79251 h 1382"/>
              <a:gd name="T58" fmla="*/ 898970 w 1600"/>
              <a:gd name="T59" fmla="*/ 71821 h 1382"/>
              <a:gd name="T60" fmla="*/ 898970 w 1600"/>
              <a:gd name="T61" fmla="*/ 56962 h 1382"/>
              <a:gd name="T62" fmla="*/ 898970 w 1600"/>
              <a:gd name="T63" fmla="*/ 49532 h 1382"/>
              <a:gd name="T64" fmla="*/ 894017 w 1600"/>
              <a:gd name="T65" fmla="*/ 42102 h 1382"/>
              <a:gd name="T66" fmla="*/ 889064 w 1600"/>
              <a:gd name="T67" fmla="*/ 34672 h 1382"/>
              <a:gd name="T68" fmla="*/ 879158 w 1600"/>
              <a:gd name="T69" fmla="*/ 27243 h 1382"/>
              <a:gd name="T70" fmla="*/ 871728 w 1600"/>
              <a:gd name="T71" fmla="*/ 22289 h 1382"/>
              <a:gd name="T72" fmla="*/ 861822 w 1600"/>
              <a:gd name="T73" fmla="*/ 17336 h 1382"/>
              <a:gd name="T74" fmla="*/ 851916 w 1600"/>
              <a:gd name="T75" fmla="*/ 12383 h 1382"/>
              <a:gd name="T76" fmla="*/ 834581 w 1600"/>
              <a:gd name="T77" fmla="*/ 4953 h 1382"/>
              <a:gd name="T78" fmla="*/ 497777 w 1600"/>
              <a:gd name="T79" fmla="*/ 2477 h 1382"/>
              <a:gd name="T80" fmla="*/ 324422 w 1600"/>
              <a:gd name="T81" fmla="*/ 371489 h 1382"/>
              <a:gd name="T82" fmla="*/ 373952 w 1600"/>
              <a:gd name="T83" fmla="*/ 398731 h 1382"/>
              <a:gd name="T84" fmla="*/ 470535 w 1600"/>
              <a:gd name="T85" fmla="*/ 361582 h 1382"/>
              <a:gd name="T86" fmla="*/ 525018 w 1600"/>
              <a:gd name="T87" fmla="*/ 388825 h 1382"/>
              <a:gd name="T88" fmla="*/ 537401 w 1600"/>
              <a:gd name="T89" fmla="*/ 500272 h 1382"/>
              <a:gd name="T90" fmla="*/ 475488 w 1600"/>
              <a:gd name="T91" fmla="*/ 619148 h 1382"/>
              <a:gd name="T92" fmla="*/ 366522 w 1600"/>
              <a:gd name="T93" fmla="*/ 688493 h 1382"/>
              <a:gd name="T94" fmla="*/ 307086 w 1600"/>
              <a:gd name="T95" fmla="*/ 661250 h 1382"/>
              <a:gd name="T96" fmla="*/ 289751 w 1600"/>
              <a:gd name="T97" fmla="*/ 562186 h 1382"/>
              <a:gd name="T98" fmla="*/ 250127 w 1600"/>
              <a:gd name="T99" fmla="*/ 522561 h 1382"/>
              <a:gd name="T100" fmla="*/ 4953 w 1600"/>
              <a:gd name="T101" fmla="*/ 854424 h 1382"/>
              <a:gd name="T102" fmla="*/ 180785 w 1600"/>
              <a:gd name="T103" fmla="*/ 1151615 h 1382"/>
              <a:gd name="T104" fmla="*/ 245174 w 1600"/>
              <a:gd name="T105" fmla="*/ 1181334 h 1382"/>
              <a:gd name="T106" fmla="*/ 282321 w 1600"/>
              <a:gd name="T107" fmla="*/ 1141709 h 1382"/>
              <a:gd name="T108" fmla="*/ 299657 w 1600"/>
              <a:gd name="T109" fmla="*/ 1042645 h 1382"/>
              <a:gd name="T110" fmla="*/ 354140 w 1600"/>
              <a:gd name="T111" fmla="*/ 1015403 h 1382"/>
              <a:gd name="T112" fmla="*/ 460629 w 1600"/>
              <a:gd name="T113" fmla="*/ 1072364 h 1382"/>
              <a:gd name="T114" fmla="*/ 525018 w 1600"/>
              <a:gd name="T115" fmla="*/ 1173905 h 1382"/>
              <a:gd name="T116" fmla="*/ 529971 w 1600"/>
              <a:gd name="T117" fmla="*/ 1305164 h 1382"/>
              <a:gd name="T118" fmla="*/ 465582 w 1600"/>
              <a:gd name="T119" fmla="*/ 1342313 h 1382"/>
              <a:gd name="T120" fmla="*/ 381381 w 1600"/>
              <a:gd name="T121" fmla="*/ 1307641 h 1382"/>
              <a:gd name="T122" fmla="*/ 326898 w 1600"/>
              <a:gd name="T123" fmla="*/ 1322500 h 1382"/>
              <a:gd name="T124" fmla="*/ 497777 w 1600"/>
              <a:gd name="T125" fmla="*/ 1711325 h 138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00" h="1382">
                <a:moveTo>
                  <a:pt x="1200" y="2"/>
                </a:moveTo>
                <a:lnTo>
                  <a:pt x="912" y="2"/>
                </a:lnTo>
                <a:lnTo>
                  <a:pt x="908" y="4"/>
                </a:lnTo>
                <a:lnTo>
                  <a:pt x="906" y="4"/>
                </a:lnTo>
                <a:lnTo>
                  <a:pt x="894" y="8"/>
                </a:lnTo>
                <a:lnTo>
                  <a:pt x="892" y="10"/>
                </a:lnTo>
                <a:lnTo>
                  <a:pt x="890" y="10"/>
                </a:lnTo>
                <a:lnTo>
                  <a:pt x="886" y="12"/>
                </a:lnTo>
                <a:lnTo>
                  <a:pt x="884" y="14"/>
                </a:lnTo>
                <a:lnTo>
                  <a:pt x="882" y="14"/>
                </a:lnTo>
                <a:lnTo>
                  <a:pt x="880" y="16"/>
                </a:lnTo>
                <a:lnTo>
                  <a:pt x="876" y="18"/>
                </a:lnTo>
                <a:lnTo>
                  <a:pt x="874" y="18"/>
                </a:lnTo>
                <a:lnTo>
                  <a:pt x="870" y="22"/>
                </a:lnTo>
                <a:lnTo>
                  <a:pt x="866" y="26"/>
                </a:lnTo>
                <a:lnTo>
                  <a:pt x="864" y="26"/>
                </a:lnTo>
                <a:lnTo>
                  <a:pt x="862" y="28"/>
                </a:lnTo>
                <a:lnTo>
                  <a:pt x="862" y="30"/>
                </a:lnTo>
                <a:lnTo>
                  <a:pt x="860" y="32"/>
                </a:lnTo>
                <a:lnTo>
                  <a:pt x="858" y="34"/>
                </a:lnTo>
                <a:lnTo>
                  <a:pt x="856" y="36"/>
                </a:lnTo>
                <a:lnTo>
                  <a:pt x="856" y="38"/>
                </a:lnTo>
                <a:lnTo>
                  <a:pt x="856" y="40"/>
                </a:lnTo>
                <a:lnTo>
                  <a:pt x="854" y="42"/>
                </a:lnTo>
                <a:lnTo>
                  <a:pt x="854" y="46"/>
                </a:lnTo>
                <a:lnTo>
                  <a:pt x="854" y="52"/>
                </a:lnTo>
                <a:lnTo>
                  <a:pt x="854" y="54"/>
                </a:lnTo>
                <a:lnTo>
                  <a:pt x="856" y="58"/>
                </a:lnTo>
                <a:lnTo>
                  <a:pt x="856" y="60"/>
                </a:lnTo>
                <a:lnTo>
                  <a:pt x="856" y="64"/>
                </a:lnTo>
                <a:lnTo>
                  <a:pt x="858" y="70"/>
                </a:lnTo>
                <a:lnTo>
                  <a:pt x="862" y="76"/>
                </a:lnTo>
                <a:lnTo>
                  <a:pt x="866" y="82"/>
                </a:lnTo>
                <a:lnTo>
                  <a:pt x="878" y="92"/>
                </a:lnTo>
                <a:lnTo>
                  <a:pt x="890" y="100"/>
                </a:lnTo>
                <a:lnTo>
                  <a:pt x="904" y="108"/>
                </a:lnTo>
                <a:lnTo>
                  <a:pt x="906" y="110"/>
                </a:lnTo>
                <a:lnTo>
                  <a:pt x="908" y="110"/>
                </a:lnTo>
                <a:lnTo>
                  <a:pt x="912" y="114"/>
                </a:lnTo>
                <a:lnTo>
                  <a:pt x="914" y="114"/>
                </a:lnTo>
                <a:lnTo>
                  <a:pt x="918" y="118"/>
                </a:lnTo>
                <a:lnTo>
                  <a:pt x="920" y="120"/>
                </a:lnTo>
                <a:lnTo>
                  <a:pt x="924" y="124"/>
                </a:lnTo>
                <a:lnTo>
                  <a:pt x="928" y="130"/>
                </a:lnTo>
                <a:lnTo>
                  <a:pt x="930" y="138"/>
                </a:lnTo>
                <a:lnTo>
                  <a:pt x="932" y="138"/>
                </a:lnTo>
                <a:lnTo>
                  <a:pt x="934" y="146"/>
                </a:lnTo>
                <a:lnTo>
                  <a:pt x="934" y="148"/>
                </a:lnTo>
                <a:lnTo>
                  <a:pt x="934" y="156"/>
                </a:lnTo>
                <a:lnTo>
                  <a:pt x="934" y="168"/>
                </a:lnTo>
                <a:lnTo>
                  <a:pt x="930" y="178"/>
                </a:lnTo>
                <a:lnTo>
                  <a:pt x="926" y="188"/>
                </a:lnTo>
                <a:lnTo>
                  <a:pt x="918" y="196"/>
                </a:lnTo>
                <a:lnTo>
                  <a:pt x="910" y="204"/>
                </a:lnTo>
                <a:lnTo>
                  <a:pt x="902" y="210"/>
                </a:lnTo>
                <a:lnTo>
                  <a:pt x="880" y="222"/>
                </a:lnTo>
                <a:lnTo>
                  <a:pt x="856" y="230"/>
                </a:lnTo>
                <a:lnTo>
                  <a:pt x="832" y="236"/>
                </a:lnTo>
                <a:lnTo>
                  <a:pt x="810" y="240"/>
                </a:lnTo>
                <a:lnTo>
                  <a:pt x="790" y="240"/>
                </a:lnTo>
                <a:lnTo>
                  <a:pt x="770" y="240"/>
                </a:lnTo>
                <a:lnTo>
                  <a:pt x="748" y="236"/>
                </a:lnTo>
                <a:lnTo>
                  <a:pt x="724" y="230"/>
                </a:lnTo>
                <a:lnTo>
                  <a:pt x="700" y="222"/>
                </a:lnTo>
                <a:lnTo>
                  <a:pt x="680" y="210"/>
                </a:lnTo>
                <a:lnTo>
                  <a:pt x="670" y="204"/>
                </a:lnTo>
                <a:lnTo>
                  <a:pt x="662" y="196"/>
                </a:lnTo>
                <a:lnTo>
                  <a:pt x="656" y="188"/>
                </a:lnTo>
                <a:lnTo>
                  <a:pt x="650" y="178"/>
                </a:lnTo>
                <a:lnTo>
                  <a:pt x="648" y="168"/>
                </a:lnTo>
                <a:lnTo>
                  <a:pt x="646" y="156"/>
                </a:lnTo>
                <a:lnTo>
                  <a:pt x="648" y="148"/>
                </a:lnTo>
                <a:lnTo>
                  <a:pt x="648" y="146"/>
                </a:lnTo>
                <a:lnTo>
                  <a:pt x="650" y="138"/>
                </a:lnTo>
                <a:lnTo>
                  <a:pt x="652" y="130"/>
                </a:lnTo>
                <a:lnTo>
                  <a:pt x="656" y="124"/>
                </a:lnTo>
                <a:lnTo>
                  <a:pt x="660" y="120"/>
                </a:lnTo>
                <a:lnTo>
                  <a:pt x="662" y="118"/>
                </a:lnTo>
                <a:lnTo>
                  <a:pt x="666" y="114"/>
                </a:lnTo>
                <a:lnTo>
                  <a:pt x="668" y="114"/>
                </a:lnTo>
                <a:lnTo>
                  <a:pt x="672" y="110"/>
                </a:lnTo>
                <a:lnTo>
                  <a:pt x="674" y="110"/>
                </a:lnTo>
                <a:lnTo>
                  <a:pt x="676" y="108"/>
                </a:lnTo>
                <a:lnTo>
                  <a:pt x="690" y="100"/>
                </a:lnTo>
                <a:lnTo>
                  <a:pt x="702" y="92"/>
                </a:lnTo>
                <a:lnTo>
                  <a:pt x="714" y="82"/>
                </a:lnTo>
                <a:lnTo>
                  <a:pt x="718" y="76"/>
                </a:lnTo>
                <a:lnTo>
                  <a:pt x="722" y="70"/>
                </a:lnTo>
                <a:lnTo>
                  <a:pt x="724" y="64"/>
                </a:lnTo>
                <a:lnTo>
                  <a:pt x="724" y="60"/>
                </a:lnTo>
                <a:lnTo>
                  <a:pt x="726" y="58"/>
                </a:lnTo>
                <a:lnTo>
                  <a:pt x="726" y="54"/>
                </a:lnTo>
                <a:lnTo>
                  <a:pt x="726" y="52"/>
                </a:lnTo>
                <a:lnTo>
                  <a:pt x="726" y="46"/>
                </a:lnTo>
                <a:lnTo>
                  <a:pt x="726" y="42"/>
                </a:lnTo>
                <a:lnTo>
                  <a:pt x="726" y="40"/>
                </a:lnTo>
                <a:lnTo>
                  <a:pt x="724" y="38"/>
                </a:lnTo>
                <a:lnTo>
                  <a:pt x="724" y="36"/>
                </a:lnTo>
                <a:lnTo>
                  <a:pt x="722" y="34"/>
                </a:lnTo>
                <a:lnTo>
                  <a:pt x="722" y="32"/>
                </a:lnTo>
                <a:lnTo>
                  <a:pt x="720" y="30"/>
                </a:lnTo>
                <a:lnTo>
                  <a:pt x="718" y="28"/>
                </a:lnTo>
                <a:lnTo>
                  <a:pt x="716" y="26"/>
                </a:lnTo>
                <a:lnTo>
                  <a:pt x="714" y="26"/>
                </a:lnTo>
                <a:lnTo>
                  <a:pt x="710" y="22"/>
                </a:lnTo>
                <a:lnTo>
                  <a:pt x="706" y="18"/>
                </a:lnTo>
                <a:lnTo>
                  <a:pt x="704" y="18"/>
                </a:lnTo>
                <a:lnTo>
                  <a:pt x="702" y="16"/>
                </a:lnTo>
                <a:lnTo>
                  <a:pt x="700" y="14"/>
                </a:lnTo>
                <a:lnTo>
                  <a:pt x="696" y="14"/>
                </a:lnTo>
                <a:lnTo>
                  <a:pt x="694" y="12"/>
                </a:lnTo>
                <a:lnTo>
                  <a:pt x="692" y="10"/>
                </a:lnTo>
                <a:lnTo>
                  <a:pt x="688" y="10"/>
                </a:lnTo>
                <a:lnTo>
                  <a:pt x="686" y="8"/>
                </a:lnTo>
                <a:lnTo>
                  <a:pt x="674" y="4"/>
                </a:lnTo>
                <a:lnTo>
                  <a:pt x="668" y="2"/>
                </a:lnTo>
                <a:lnTo>
                  <a:pt x="402" y="2"/>
                </a:lnTo>
                <a:lnTo>
                  <a:pt x="264" y="238"/>
                </a:lnTo>
                <a:lnTo>
                  <a:pt x="260" y="260"/>
                </a:lnTo>
                <a:lnTo>
                  <a:pt x="260" y="282"/>
                </a:lnTo>
                <a:lnTo>
                  <a:pt x="260" y="292"/>
                </a:lnTo>
                <a:lnTo>
                  <a:pt x="262" y="300"/>
                </a:lnTo>
                <a:lnTo>
                  <a:pt x="268" y="308"/>
                </a:lnTo>
                <a:lnTo>
                  <a:pt x="274" y="314"/>
                </a:lnTo>
                <a:lnTo>
                  <a:pt x="284" y="318"/>
                </a:lnTo>
                <a:lnTo>
                  <a:pt x="294" y="322"/>
                </a:lnTo>
                <a:lnTo>
                  <a:pt x="302" y="322"/>
                </a:lnTo>
                <a:lnTo>
                  <a:pt x="312" y="322"/>
                </a:lnTo>
                <a:lnTo>
                  <a:pt x="326" y="316"/>
                </a:lnTo>
                <a:lnTo>
                  <a:pt x="342" y="308"/>
                </a:lnTo>
                <a:lnTo>
                  <a:pt x="356" y="298"/>
                </a:lnTo>
                <a:lnTo>
                  <a:pt x="372" y="292"/>
                </a:lnTo>
                <a:lnTo>
                  <a:pt x="380" y="292"/>
                </a:lnTo>
                <a:lnTo>
                  <a:pt x="388" y="292"/>
                </a:lnTo>
                <a:lnTo>
                  <a:pt x="398" y="294"/>
                </a:lnTo>
                <a:lnTo>
                  <a:pt x="408" y="300"/>
                </a:lnTo>
                <a:lnTo>
                  <a:pt x="418" y="306"/>
                </a:lnTo>
                <a:lnTo>
                  <a:pt x="424" y="314"/>
                </a:lnTo>
                <a:lnTo>
                  <a:pt x="430" y="322"/>
                </a:lnTo>
                <a:lnTo>
                  <a:pt x="434" y="332"/>
                </a:lnTo>
                <a:lnTo>
                  <a:pt x="438" y="344"/>
                </a:lnTo>
                <a:lnTo>
                  <a:pt x="438" y="354"/>
                </a:lnTo>
                <a:lnTo>
                  <a:pt x="438" y="380"/>
                </a:lnTo>
                <a:lnTo>
                  <a:pt x="434" y="404"/>
                </a:lnTo>
                <a:lnTo>
                  <a:pt x="426" y="428"/>
                </a:lnTo>
                <a:lnTo>
                  <a:pt x="418" y="448"/>
                </a:lnTo>
                <a:lnTo>
                  <a:pt x="410" y="466"/>
                </a:lnTo>
                <a:lnTo>
                  <a:pt x="398" y="482"/>
                </a:lnTo>
                <a:lnTo>
                  <a:pt x="384" y="500"/>
                </a:lnTo>
                <a:lnTo>
                  <a:pt x="368" y="518"/>
                </a:lnTo>
                <a:lnTo>
                  <a:pt x="348" y="534"/>
                </a:lnTo>
                <a:lnTo>
                  <a:pt x="328" y="548"/>
                </a:lnTo>
                <a:lnTo>
                  <a:pt x="318" y="552"/>
                </a:lnTo>
                <a:lnTo>
                  <a:pt x="306" y="554"/>
                </a:lnTo>
                <a:lnTo>
                  <a:pt x="296" y="556"/>
                </a:lnTo>
                <a:lnTo>
                  <a:pt x="284" y="556"/>
                </a:lnTo>
                <a:lnTo>
                  <a:pt x="274" y="554"/>
                </a:lnTo>
                <a:lnTo>
                  <a:pt x="264" y="548"/>
                </a:lnTo>
                <a:lnTo>
                  <a:pt x="256" y="542"/>
                </a:lnTo>
                <a:lnTo>
                  <a:pt x="248" y="534"/>
                </a:lnTo>
                <a:lnTo>
                  <a:pt x="244" y="528"/>
                </a:lnTo>
                <a:lnTo>
                  <a:pt x="240" y="520"/>
                </a:lnTo>
                <a:lnTo>
                  <a:pt x="238" y="504"/>
                </a:lnTo>
                <a:lnTo>
                  <a:pt x="238" y="486"/>
                </a:lnTo>
                <a:lnTo>
                  <a:pt x="238" y="470"/>
                </a:lnTo>
                <a:lnTo>
                  <a:pt x="234" y="454"/>
                </a:lnTo>
                <a:lnTo>
                  <a:pt x="232" y="446"/>
                </a:lnTo>
                <a:lnTo>
                  <a:pt x="226" y="438"/>
                </a:lnTo>
                <a:lnTo>
                  <a:pt x="218" y="430"/>
                </a:lnTo>
                <a:lnTo>
                  <a:pt x="210" y="424"/>
                </a:lnTo>
                <a:lnTo>
                  <a:pt x="202" y="422"/>
                </a:lnTo>
                <a:lnTo>
                  <a:pt x="194" y="422"/>
                </a:lnTo>
                <a:lnTo>
                  <a:pt x="184" y="424"/>
                </a:lnTo>
                <a:lnTo>
                  <a:pt x="174" y="428"/>
                </a:lnTo>
                <a:lnTo>
                  <a:pt x="156" y="440"/>
                </a:lnTo>
                <a:lnTo>
                  <a:pt x="140" y="454"/>
                </a:lnTo>
                <a:lnTo>
                  <a:pt x="4" y="690"/>
                </a:lnTo>
                <a:lnTo>
                  <a:pt x="0" y="690"/>
                </a:lnTo>
                <a:lnTo>
                  <a:pt x="2" y="694"/>
                </a:lnTo>
                <a:lnTo>
                  <a:pt x="4" y="694"/>
                </a:lnTo>
                <a:lnTo>
                  <a:pt x="132" y="918"/>
                </a:lnTo>
                <a:lnTo>
                  <a:pt x="146" y="930"/>
                </a:lnTo>
                <a:lnTo>
                  <a:pt x="160" y="942"/>
                </a:lnTo>
                <a:lnTo>
                  <a:pt x="176" y="950"/>
                </a:lnTo>
                <a:lnTo>
                  <a:pt x="184" y="954"/>
                </a:lnTo>
                <a:lnTo>
                  <a:pt x="192" y="954"/>
                </a:lnTo>
                <a:lnTo>
                  <a:pt x="198" y="954"/>
                </a:lnTo>
                <a:lnTo>
                  <a:pt x="202" y="952"/>
                </a:lnTo>
                <a:lnTo>
                  <a:pt x="212" y="944"/>
                </a:lnTo>
                <a:lnTo>
                  <a:pt x="220" y="938"/>
                </a:lnTo>
                <a:lnTo>
                  <a:pt x="224" y="930"/>
                </a:lnTo>
                <a:lnTo>
                  <a:pt x="228" y="922"/>
                </a:lnTo>
                <a:lnTo>
                  <a:pt x="230" y="906"/>
                </a:lnTo>
                <a:lnTo>
                  <a:pt x="230" y="890"/>
                </a:lnTo>
                <a:lnTo>
                  <a:pt x="230" y="872"/>
                </a:lnTo>
                <a:lnTo>
                  <a:pt x="234" y="856"/>
                </a:lnTo>
                <a:lnTo>
                  <a:pt x="236" y="848"/>
                </a:lnTo>
                <a:lnTo>
                  <a:pt x="242" y="842"/>
                </a:lnTo>
                <a:lnTo>
                  <a:pt x="248" y="834"/>
                </a:lnTo>
                <a:lnTo>
                  <a:pt x="258" y="828"/>
                </a:lnTo>
                <a:lnTo>
                  <a:pt x="272" y="822"/>
                </a:lnTo>
                <a:lnTo>
                  <a:pt x="286" y="820"/>
                </a:lnTo>
                <a:lnTo>
                  <a:pt x="296" y="820"/>
                </a:lnTo>
                <a:lnTo>
                  <a:pt x="304" y="822"/>
                </a:lnTo>
                <a:lnTo>
                  <a:pt x="322" y="828"/>
                </a:lnTo>
                <a:lnTo>
                  <a:pt x="340" y="838"/>
                </a:lnTo>
                <a:lnTo>
                  <a:pt x="358" y="852"/>
                </a:lnTo>
                <a:lnTo>
                  <a:pt x="372" y="866"/>
                </a:lnTo>
                <a:lnTo>
                  <a:pt x="386" y="882"/>
                </a:lnTo>
                <a:lnTo>
                  <a:pt x="398" y="896"/>
                </a:lnTo>
                <a:lnTo>
                  <a:pt x="406" y="910"/>
                </a:lnTo>
                <a:lnTo>
                  <a:pt x="414" y="928"/>
                </a:lnTo>
                <a:lnTo>
                  <a:pt x="424" y="948"/>
                </a:lnTo>
                <a:lnTo>
                  <a:pt x="430" y="972"/>
                </a:lnTo>
                <a:lnTo>
                  <a:pt x="434" y="996"/>
                </a:lnTo>
                <a:lnTo>
                  <a:pt x="436" y="1022"/>
                </a:lnTo>
                <a:lnTo>
                  <a:pt x="434" y="1032"/>
                </a:lnTo>
                <a:lnTo>
                  <a:pt x="432" y="1044"/>
                </a:lnTo>
                <a:lnTo>
                  <a:pt x="428" y="1054"/>
                </a:lnTo>
                <a:lnTo>
                  <a:pt x="422" y="1062"/>
                </a:lnTo>
                <a:lnTo>
                  <a:pt x="414" y="1070"/>
                </a:lnTo>
                <a:lnTo>
                  <a:pt x="404" y="1076"/>
                </a:lnTo>
                <a:lnTo>
                  <a:pt x="390" y="1082"/>
                </a:lnTo>
                <a:lnTo>
                  <a:pt x="376" y="1084"/>
                </a:lnTo>
                <a:lnTo>
                  <a:pt x="366" y="1084"/>
                </a:lnTo>
                <a:lnTo>
                  <a:pt x="354" y="1080"/>
                </a:lnTo>
                <a:lnTo>
                  <a:pt x="336" y="1070"/>
                </a:lnTo>
                <a:lnTo>
                  <a:pt x="318" y="1060"/>
                </a:lnTo>
                <a:lnTo>
                  <a:pt x="308" y="1056"/>
                </a:lnTo>
                <a:lnTo>
                  <a:pt x="296" y="1054"/>
                </a:lnTo>
                <a:lnTo>
                  <a:pt x="284" y="1056"/>
                </a:lnTo>
                <a:lnTo>
                  <a:pt x="270" y="1062"/>
                </a:lnTo>
                <a:lnTo>
                  <a:pt x="264" y="1068"/>
                </a:lnTo>
                <a:lnTo>
                  <a:pt x="258" y="1076"/>
                </a:lnTo>
                <a:lnTo>
                  <a:pt x="256" y="1086"/>
                </a:lnTo>
                <a:lnTo>
                  <a:pt x="256" y="1096"/>
                </a:lnTo>
                <a:lnTo>
                  <a:pt x="258" y="1120"/>
                </a:lnTo>
                <a:lnTo>
                  <a:pt x="262" y="1142"/>
                </a:lnTo>
                <a:lnTo>
                  <a:pt x="402" y="1382"/>
                </a:lnTo>
                <a:lnTo>
                  <a:pt x="1200" y="1382"/>
                </a:lnTo>
                <a:lnTo>
                  <a:pt x="1600" y="690"/>
                </a:lnTo>
                <a:lnTo>
                  <a:pt x="1200" y="0"/>
                </a:lnTo>
                <a:lnTo>
                  <a:pt x="1200" y="2"/>
                </a:lnTo>
                <a:close/>
              </a:path>
            </a:pathLst>
          </a:custGeom>
          <a:solidFill>
            <a:srgbClr val="B4B4B7"/>
          </a:solidFill>
          <a:ln w="38100" cap="flat" cmpd="sng">
            <a:solidFill>
              <a:srgbClr val="B4B4B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0" name="Freeform 7">
            <a:extLst>
              <a:ext uri="{FF2B5EF4-FFF2-40B4-BE49-F238E27FC236}">
                <a16:creationId xmlns:a16="http://schemas.microsoft.com/office/drawing/2014/main" xmlns="" id="{0614FFD4-67EC-4F0B-BA67-C0A8EA602F61}"/>
              </a:ext>
            </a:extLst>
          </p:cNvPr>
          <p:cNvSpPr>
            <a:spLocks/>
          </p:cNvSpPr>
          <p:nvPr/>
        </p:nvSpPr>
        <p:spPr bwMode="auto">
          <a:xfrm>
            <a:off x="3375638" y="834399"/>
            <a:ext cx="2519679" cy="1799839"/>
          </a:xfrm>
          <a:custGeom>
            <a:avLst/>
            <a:gdLst>
              <a:gd name="T0" fmla="*/ 245350 w 1636"/>
              <a:gd name="T1" fmla="*/ 1122809 h 1386"/>
              <a:gd name="T2" fmla="*/ 265176 w 1636"/>
              <a:gd name="T3" fmla="*/ 1075716 h 1386"/>
              <a:gd name="T4" fmla="*/ 265176 w 1636"/>
              <a:gd name="T5" fmla="*/ 1033579 h 1386"/>
              <a:gd name="T6" fmla="*/ 287481 w 1636"/>
              <a:gd name="T7" fmla="*/ 991443 h 1386"/>
              <a:gd name="T8" fmla="*/ 322177 w 1636"/>
              <a:gd name="T9" fmla="*/ 974093 h 1386"/>
              <a:gd name="T10" fmla="*/ 374221 w 1636"/>
              <a:gd name="T11" fmla="*/ 984007 h 1386"/>
              <a:gd name="T12" fmla="*/ 463439 w 1636"/>
              <a:gd name="T13" fmla="*/ 1065801 h 1386"/>
              <a:gd name="T14" fmla="*/ 503092 w 1636"/>
              <a:gd name="T15" fmla="*/ 1145117 h 1386"/>
              <a:gd name="T16" fmla="*/ 513005 w 1636"/>
              <a:gd name="T17" fmla="*/ 1216996 h 1386"/>
              <a:gd name="T18" fmla="*/ 500614 w 1636"/>
              <a:gd name="T19" fmla="*/ 1278961 h 1386"/>
              <a:gd name="T20" fmla="*/ 475831 w 1636"/>
              <a:gd name="T21" fmla="*/ 1301269 h 1386"/>
              <a:gd name="T22" fmla="*/ 428743 w 1636"/>
              <a:gd name="T23" fmla="*/ 1311183 h 1386"/>
              <a:gd name="T24" fmla="*/ 354395 w 1636"/>
              <a:gd name="T25" fmla="*/ 1274004 h 1386"/>
              <a:gd name="T26" fmla="*/ 307307 w 1636"/>
              <a:gd name="T27" fmla="*/ 1283919 h 1386"/>
              <a:gd name="T28" fmla="*/ 292438 w 1636"/>
              <a:gd name="T29" fmla="*/ 1311183 h 1386"/>
              <a:gd name="T30" fmla="*/ 297394 w 1636"/>
              <a:gd name="T31" fmla="*/ 1365713 h 1386"/>
              <a:gd name="T32" fmla="*/ 495657 w 1636"/>
              <a:gd name="T33" fmla="*/ 1712718 h 1386"/>
              <a:gd name="T34" fmla="*/ 822791 w 1636"/>
              <a:gd name="T35" fmla="*/ 1717675 h 1386"/>
              <a:gd name="T36" fmla="*/ 899617 w 1636"/>
              <a:gd name="T37" fmla="*/ 1680496 h 1386"/>
              <a:gd name="T38" fmla="*/ 909531 w 1636"/>
              <a:gd name="T39" fmla="*/ 1643317 h 1386"/>
              <a:gd name="T40" fmla="*/ 879791 w 1636"/>
              <a:gd name="T41" fmla="*/ 1598702 h 1386"/>
              <a:gd name="T42" fmla="*/ 820312 w 1636"/>
              <a:gd name="T43" fmla="*/ 1556566 h 1386"/>
              <a:gd name="T44" fmla="*/ 810399 w 1636"/>
              <a:gd name="T45" fmla="*/ 1521865 h 1386"/>
              <a:gd name="T46" fmla="*/ 830225 w 1636"/>
              <a:gd name="T47" fmla="*/ 1472293 h 1386"/>
              <a:gd name="T48" fmla="*/ 907052 w 1636"/>
              <a:gd name="T49" fmla="*/ 1430157 h 1386"/>
              <a:gd name="T50" fmla="*/ 988836 w 1636"/>
              <a:gd name="T51" fmla="*/ 1417763 h 1386"/>
              <a:gd name="T52" fmla="*/ 1100358 w 1636"/>
              <a:gd name="T53" fmla="*/ 1440071 h 1386"/>
              <a:gd name="T54" fmla="*/ 1157359 w 1636"/>
              <a:gd name="T55" fmla="*/ 1484686 h 1386"/>
              <a:gd name="T56" fmla="*/ 1167272 w 1636"/>
              <a:gd name="T57" fmla="*/ 1521865 h 1386"/>
              <a:gd name="T58" fmla="*/ 1152402 w 1636"/>
              <a:gd name="T59" fmla="*/ 1566480 h 1386"/>
              <a:gd name="T60" fmla="*/ 1083010 w 1636"/>
              <a:gd name="T61" fmla="*/ 1613573 h 1386"/>
              <a:gd name="T62" fmla="*/ 1068141 w 1636"/>
              <a:gd name="T63" fmla="*/ 1658188 h 1386"/>
              <a:gd name="T64" fmla="*/ 1087967 w 1636"/>
              <a:gd name="T65" fmla="*/ 1687932 h 1386"/>
              <a:gd name="T66" fmla="*/ 1479536 w 1636"/>
              <a:gd name="T67" fmla="*/ 1717675 h 1386"/>
              <a:gd name="T68" fmla="*/ 1489449 w 1636"/>
              <a:gd name="T69" fmla="*/ 1707761 h 1386"/>
              <a:gd name="T70" fmla="*/ 1660451 w 1636"/>
              <a:gd name="T71" fmla="*/ 1410328 h 1386"/>
              <a:gd name="T72" fmla="*/ 1727365 w 1636"/>
              <a:gd name="T73" fmla="*/ 1368191 h 1386"/>
              <a:gd name="T74" fmla="*/ 1759582 w 1636"/>
              <a:gd name="T75" fmla="*/ 1380584 h 1386"/>
              <a:gd name="T76" fmla="*/ 1781887 w 1636"/>
              <a:gd name="T77" fmla="*/ 1427678 h 1386"/>
              <a:gd name="T78" fmla="*/ 1789322 w 1636"/>
              <a:gd name="T79" fmla="*/ 1499558 h 1386"/>
              <a:gd name="T80" fmla="*/ 1816583 w 1636"/>
              <a:gd name="T81" fmla="*/ 1526822 h 1386"/>
              <a:gd name="T82" fmla="*/ 1866148 w 1636"/>
              <a:gd name="T83" fmla="*/ 1534258 h 1386"/>
              <a:gd name="T84" fmla="*/ 1942975 w 1636"/>
              <a:gd name="T85" fmla="*/ 1489643 h 1386"/>
              <a:gd name="T86" fmla="*/ 1995019 w 1636"/>
              <a:gd name="T87" fmla="*/ 1425199 h 1386"/>
              <a:gd name="T88" fmla="*/ 2022280 w 1636"/>
              <a:gd name="T89" fmla="*/ 1355798 h 1386"/>
              <a:gd name="T90" fmla="*/ 2024759 w 1636"/>
              <a:gd name="T91" fmla="*/ 1271526 h 1386"/>
              <a:gd name="T92" fmla="*/ 1990063 w 1636"/>
              <a:gd name="T93" fmla="*/ 1226911 h 1386"/>
              <a:gd name="T94" fmla="*/ 1945454 w 1636"/>
              <a:gd name="T95" fmla="*/ 1219475 h 1386"/>
              <a:gd name="T96" fmla="*/ 1871105 w 1636"/>
              <a:gd name="T97" fmla="*/ 1254175 h 1386"/>
              <a:gd name="T98" fmla="*/ 1824018 w 1636"/>
              <a:gd name="T99" fmla="*/ 1244261 h 1386"/>
              <a:gd name="T100" fmla="*/ 1806670 w 1636"/>
              <a:gd name="T101" fmla="*/ 1216996 h 1386"/>
              <a:gd name="T102" fmla="*/ 1814105 w 1636"/>
              <a:gd name="T103" fmla="*/ 1147595 h 1386"/>
              <a:gd name="T104" fmla="*/ 1960323 w 1636"/>
              <a:gd name="T105" fmla="*/ 827855 h 1386"/>
              <a:gd name="T106" fmla="*/ 399004 w 1636"/>
              <a:gd name="T107" fmla="*/ 163588 h 1386"/>
              <a:gd name="T108" fmla="*/ 163567 w 1636"/>
              <a:gd name="T109" fmla="*/ 1117852 h 1386"/>
              <a:gd name="T110" fmla="*/ 218089 w 1636"/>
              <a:gd name="T111" fmla="*/ 1140159 h 138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36" h="1386">
                <a:moveTo>
                  <a:pt x="184" y="918"/>
                </a:moveTo>
                <a:lnTo>
                  <a:pt x="184" y="918"/>
                </a:lnTo>
                <a:lnTo>
                  <a:pt x="192" y="912"/>
                </a:lnTo>
                <a:lnTo>
                  <a:pt x="198" y="906"/>
                </a:lnTo>
                <a:lnTo>
                  <a:pt x="204" y="900"/>
                </a:lnTo>
                <a:lnTo>
                  <a:pt x="208" y="894"/>
                </a:lnTo>
                <a:lnTo>
                  <a:pt x="212" y="882"/>
                </a:lnTo>
                <a:lnTo>
                  <a:pt x="214" y="868"/>
                </a:lnTo>
                <a:lnTo>
                  <a:pt x="212" y="850"/>
                </a:lnTo>
                <a:lnTo>
                  <a:pt x="214" y="834"/>
                </a:lnTo>
                <a:lnTo>
                  <a:pt x="216" y="820"/>
                </a:lnTo>
                <a:lnTo>
                  <a:pt x="220" y="812"/>
                </a:lnTo>
                <a:lnTo>
                  <a:pt x="224" y="806"/>
                </a:lnTo>
                <a:lnTo>
                  <a:pt x="232" y="800"/>
                </a:lnTo>
                <a:lnTo>
                  <a:pt x="240" y="794"/>
                </a:lnTo>
                <a:lnTo>
                  <a:pt x="250" y="788"/>
                </a:lnTo>
                <a:lnTo>
                  <a:pt x="260" y="786"/>
                </a:lnTo>
                <a:lnTo>
                  <a:pt x="270" y="786"/>
                </a:lnTo>
                <a:lnTo>
                  <a:pt x="282" y="786"/>
                </a:lnTo>
                <a:lnTo>
                  <a:pt x="292" y="790"/>
                </a:lnTo>
                <a:lnTo>
                  <a:pt x="302" y="794"/>
                </a:lnTo>
                <a:lnTo>
                  <a:pt x="324" y="808"/>
                </a:lnTo>
                <a:lnTo>
                  <a:pt x="344" y="824"/>
                </a:lnTo>
                <a:lnTo>
                  <a:pt x="360" y="842"/>
                </a:lnTo>
                <a:lnTo>
                  <a:pt x="374" y="860"/>
                </a:lnTo>
                <a:lnTo>
                  <a:pt x="384" y="876"/>
                </a:lnTo>
                <a:lnTo>
                  <a:pt x="396" y="898"/>
                </a:lnTo>
                <a:lnTo>
                  <a:pt x="406" y="924"/>
                </a:lnTo>
                <a:lnTo>
                  <a:pt x="412" y="954"/>
                </a:lnTo>
                <a:lnTo>
                  <a:pt x="414" y="968"/>
                </a:lnTo>
                <a:lnTo>
                  <a:pt x="414" y="982"/>
                </a:lnTo>
                <a:lnTo>
                  <a:pt x="414" y="1004"/>
                </a:lnTo>
                <a:lnTo>
                  <a:pt x="412" y="1014"/>
                </a:lnTo>
                <a:lnTo>
                  <a:pt x="408" y="1022"/>
                </a:lnTo>
                <a:lnTo>
                  <a:pt x="404" y="1032"/>
                </a:lnTo>
                <a:lnTo>
                  <a:pt x="398" y="1038"/>
                </a:lnTo>
                <a:lnTo>
                  <a:pt x="392" y="1046"/>
                </a:lnTo>
                <a:lnTo>
                  <a:pt x="384" y="1050"/>
                </a:lnTo>
                <a:lnTo>
                  <a:pt x="374" y="1056"/>
                </a:lnTo>
                <a:lnTo>
                  <a:pt x="364" y="1058"/>
                </a:lnTo>
                <a:lnTo>
                  <a:pt x="354" y="1058"/>
                </a:lnTo>
                <a:lnTo>
                  <a:pt x="346" y="1058"/>
                </a:lnTo>
                <a:lnTo>
                  <a:pt x="330" y="1052"/>
                </a:lnTo>
                <a:lnTo>
                  <a:pt x="316" y="1042"/>
                </a:lnTo>
                <a:lnTo>
                  <a:pt x="302" y="1034"/>
                </a:lnTo>
                <a:lnTo>
                  <a:pt x="286" y="1028"/>
                </a:lnTo>
                <a:lnTo>
                  <a:pt x="278" y="1028"/>
                </a:lnTo>
                <a:lnTo>
                  <a:pt x="268" y="1028"/>
                </a:lnTo>
                <a:lnTo>
                  <a:pt x="258" y="1032"/>
                </a:lnTo>
                <a:lnTo>
                  <a:pt x="248" y="1036"/>
                </a:lnTo>
                <a:lnTo>
                  <a:pt x="242" y="1042"/>
                </a:lnTo>
                <a:lnTo>
                  <a:pt x="238" y="1048"/>
                </a:lnTo>
                <a:lnTo>
                  <a:pt x="236" y="1058"/>
                </a:lnTo>
                <a:lnTo>
                  <a:pt x="234" y="1068"/>
                </a:lnTo>
                <a:lnTo>
                  <a:pt x="236" y="1086"/>
                </a:lnTo>
                <a:lnTo>
                  <a:pt x="240" y="1102"/>
                </a:lnTo>
                <a:lnTo>
                  <a:pt x="398" y="1378"/>
                </a:lnTo>
                <a:lnTo>
                  <a:pt x="402" y="1378"/>
                </a:lnTo>
                <a:lnTo>
                  <a:pt x="402" y="1380"/>
                </a:lnTo>
                <a:lnTo>
                  <a:pt x="400" y="1382"/>
                </a:lnTo>
                <a:lnTo>
                  <a:pt x="402" y="1386"/>
                </a:lnTo>
                <a:lnTo>
                  <a:pt x="664" y="1386"/>
                </a:lnTo>
                <a:lnTo>
                  <a:pt x="686" y="1380"/>
                </a:lnTo>
                <a:lnTo>
                  <a:pt x="708" y="1368"/>
                </a:lnTo>
                <a:lnTo>
                  <a:pt x="718" y="1362"/>
                </a:lnTo>
                <a:lnTo>
                  <a:pt x="726" y="1356"/>
                </a:lnTo>
                <a:lnTo>
                  <a:pt x="732" y="1346"/>
                </a:lnTo>
                <a:lnTo>
                  <a:pt x="734" y="1338"/>
                </a:lnTo>
                <a:lnTo>
                  <a:pt x="734" y="1326"/>
                </a:lnTo>
                <a:lnTo>
                  <a:pt x="730" y="1316"/>
                </a:lnTo>
                <a:lnTo>
                  <a:pt x="728" y="1308"/>
                </a:lnTo>
                <a:lnTo>
                  <a:pt x="722" y="1302"/>
                </a:lnTo>
                <a:lnTo>
                  <a:pt x="710" y="1290"/>
                </a:lnTo>
                <a:lnTo>
                  <a:pt x="694" y="1282"/>
                </a:lnTo>
                <a:lnTo>
                  <a:pt x="680" y="1274"/>
                </a:lnTo>
                <a:lnTo>
                  <a:pt x="668" y="1264"/>
                </a:lnTo>
                <a:lnTo>
                  <a:pt x="662" y="1256"/>
                </a:lnTo>
                <a:lnTo>
                  <a:pt x="658" y="1248"/>
                </a:lnTo>
                <a:lnTo>
                  <a:pt x="656" y="1240"/>
                </a:lnTo>
                <a:lnTo>
                  <a:pt x="654" y="1228"/>
                </a:lnTo>
                <a:lnTo>
                  <a:pt x="656" y="1216"/>
                </a:lnTo>
                <a:lnTo>
                  <a:pt x="658" y="1206"/>
                </a:lnTo>
                <a:lnTo>
                  <a:pt x="664" y="1198"/>
                </a:lnTo>
                <a:lnTo>
                  <a:pt x="670" y="1188"/>
                </a:lnTo>
                <a:lnTo>
                  <a:pt x="678" y="1180"/>
                </a:lnTo>
                <a:lnTo>
                  <a:pt x="688" y="1174"/>
                </a:lnTo>
                <a:lnTo>
                  <a:pt x="708" y="1162"/>
                </a:lnTo>
                <a:lnTo>
                  <a:pt x="732" y="1154"/>
                </a:lnTo>
                <a:lnTo>
                  <a:pt x="756" y="1148"/>
                </a:lnTo>
                <a:lnTo>
                  <a:pt x="780" y="1144"/>
                </a:lnTo>
                <a:lnTo>
                  <a:pt x="798" y="1144"/>
                </a:lnTo>
                <a:lnTo>
                  <a:pt x="818" y="1144"/>
                </a:lnTo>
                <a:lnTo>
                  <a:pt x="840" y="1148"/>
                </a:lnTo>
                <a:lnTo>
                  <a:pt x="864" y="1154"/>
                </a:lnTo>
                <a:lnTo>
                  <a:pt x="888" y="1162"/>
                </a:lnTo>
                <a:lnTo>
                  <a:pt x="910" y="1174"/>
                </a:lnTo>
                <a:lnTo>
                  <a:pt x="918" y="1180"/>
                </a:lnTo>
                <a:lnTo>
                  <a:pt x="926" y="1188"/>
                </a:lnTo>
                <a:lnTo>
                  <a:pt x="934" y="1198"/>
                </a:lnTo>
                <a:lnTo>
                  <a:pt x="938" y="1206"/>
                </a:lnTo>
                <a:lnTo>
                  <a:pt x="942" y="1216"/>
                </a:lnTo>
                <a:lnTo>
                  <a:pt x="942" y="1228"/>
                </a:lnTo>
                <a:lnTo>
                  <a:pt x="942" y="1240"/>
                </a:lnTo>
                <a:lnTo>
                  <a:pt x="938" y="1248"/>
                </a:lnTo>
                <a:lnTo>
                  <a:pt x="934" y="1256"/>
                </a:lnTo>
                <a:lnTo>
                  <a:pt x="930" y="1264"/>
                </a:lnTo>
                <a:lnTo>
                  <a:pt x="916" y="1274"/>
                </a:lnTo>
                <a:lnTo>
                  <a:pt x="902" y="1282"/>
                </a:lnTo>
                <a:lnTo>
                  <a:pt x="888" y="1290"/>
                </a:lnTo>
                <a:lnTo>
                  <a:pt x="874" y="1302"/>
                </a:lnTo>
                <a:lnTo>
                  <a:pt x="870" y="1308"/>
                </a:lnTo>
                <a:lnTo>
                  <a:pt x="866" y="1316"/>
                </a:lnTo>
                <a:lnTo>
                  <a:pt x="864" y="1326"/>
                </a:lnTo>
                <a:lnTo>
                  <a:pt x="862" y="1338"/>
                </a:lnTo>
                <a:lnTo>
                  <a:pt x="864" y="1346"/>
                </a:lnTo>
                <a:lnTo>
                  <a:pt x="870" y="1356"/>
                </a:lnTo>
                <a:lnTo>
                  <a:pt x="878" y="1362"/>
                </a:lnTo>
                <a:lnTo>
                  <a:pt x="888" y="1368"/>
                </a:lnTo>
                <a:lnTo>
                  <a:pt x="912" y="1380"/>
                </a:lnTo>
                <a:lnTo>
                  <a:pt x="934" y="1386"/>
                </a:lnTo>
                <a:lnTo>
                  <a:pt x="1194" y="1386"/>
                </a:lnTo>
                <a:lnTo>
                  <a:pt x="1198" y="1380"/>
                </a:lnTo>
                <a:lnTo>
                  <a:pt x="1198" y="1378"/>
                </a:lnTo>
                <a:lnTo>
                  <a:pt x="1202" y="1378"/>
                </a:lnTo>
                <a:lnTo>
                  <a:pt x="1204" y="1372"/>
                </a:lnTo>
                <a:lnTo>
                  <a:pt x="1240" y="1310"/>
                </a:lnTo>
                <a:lnTo>
                  <a:pt x="1340" y="1138"/>
                </a:lnTo>
                <a:lnTo>
                  <a:pt x="1356" y="1124"/>
                </a:lnTo>
                <a:lnTo>
                  <a:pt x="1376" y="1112"/>
                </a:lnTo>
                <a:lnTo>
                  <a:pt x="1384" y="1108"/>
                </a:lnTo>
                <a:lnTo>
                  <a:pt x="1394" y="1104"/>
                </a:lnTo>
                <a:lnTo>
                  <a:pt x="1402" y="1104"/>
                </a:lnTo>
                <a:lnTo>
                  <a:pt x="1410" y="1108"/>
                </a:lnTo>
                <a:lnTo>
                  <a:pt x="1420" y="1114"/>
                </a:lnTo>
                <a:lnTo>
                  <a:pt x="1426" y="1122"/>
                </a:lnTo>
                <a:lnTo>
                  <a:pt x="1432" y="1128"/>
                </a:lnTo>
                <a:lnTo>
                  <a:pt x="1436" y="1136"/>
                </a:lnTo>
                <a:lnTo>
                  <a:pt x="1438" y="1152"/>
                </a:lnTo>
                <a:lnTo>
                  <a:pt x="1438" y="1170"/>
                </a:lnTo>
                <a:lnTo>
                  <a:pt x="1438" y="1186"/>
                </a:lnTo>
                <a:lnTo>
                  <a:pt x="1440" y="1202"/>
                </a:lnTo>
                <a:lnTo>
                  <a:pt x="1444" y="1210"/>
                </a:lnTo>
                <a:lnTo>
                  <a:pt x="1448" y="1218"/>
                </a:lnTo>
                <a:lnTo>
                  <a:pt x="1456" y="1226"/>
                </a:lnTo>
                <a:lnTo>
                  <a:pt x="1466" y="1232"/>
                </a:lnTo>
                <a:lnTo>
                  <a:pt x="1476" y="1236"/>
                </a:lnTo>
                <a:lnTo>
                  <a:pt x="1486" y="1240"/>
                </a:lnTo>
                <a:lnTo>
                  <a:pt x="1496" y="1240"/>
                </a:lnTo>
                <a:lnTo>
                  <a:pt x="1506" y="1238"/>
                </a:lnTo>
                <a:lnTo>
                  <a:pt x="1518" y="1234"/>
                </a:lnTo>
                <a:lnTo>
                  <a:pt x="1528" y="1230"/>
                </a:lnTo>
                <a:lnTo>
                  <a:pt x="1550" y="1218"/>
                </a:lnTo>
                <a:lnTo>
                  <a:pt x="1568" y="1202"/>
                </a:lnTo>
                <a:lnTo>
                  <a:pt x="1586" y="1184"/>
                </a:lnTo>
                <a:lnTo>
                  <a:pt x="1600" y="1166"/>
                </a:lnTo>
                <a:lnTo>
                  <a:pt x="1610" y="1150"/>
                </a:lnTo>
                <a:lnTo>
                  <a:pt x="1618" y="1132"/>
                </a:lnTo>
                <a:lnTo>
                  <a:pt x="1628" y="1112"/>
                </a:lnTo>
                <a:lnTo>
                  <a:pt x="1632" y="1094"/>
                </a:lnTo>
                <a:lnTo>
                  <a:pt x="1636" y="1076"/>
                </a:lnTo>
                <a:lnTo>
                  <a:pt x="1636" y="1060"/>
                </a:lnTo>
                <a:lnTo>
                  <a:pt x="1636" y="1042"/>
                </a:lnTo>
                <a:lnTo>
                  <a:pt x="1634" y="1026"/>
                </a:lnTo>
                <a:lnTo>
                  <a:pt x="1628" y="1012"/>
                </a:lnTo>
                <a:lnTo>
                  <a:pt x="1618" y="1000"/>
                </a:lnTo>
                <a:lnTo>
                  <a:pt x="1606" y="990"/>
                </a:lnTo>
                <a:lnTo>
                  <a:pt x="1596" y="986"/>
                </a:lnTo>
                <a:lnTo>
                  <a:pt x="1586" y="984"/>
                </a:lnTo>
                <a:lnTo>
                  <a:pt x="1578" y="982"/>
                </a:lnTo>
                <a:lnTo>
                  <a:pt x="1570" y="984"/>
                </a:lnTo>
                <a:lnTo>
                  <a:pt x="1554" y="990"/>
                </a:lnTo>
                <a:lnTo>
                  <a:pt x="1540" y="998"/>
                </a:lnTo>
                <a:lnTo>
                  <a:pt x="1524" y="1006"/>
                </a:lnTo>
                <a:lnTo>
                  <a:pt x="1510" y="1012"/>
                </a:lnTo>
                <a:lnTo>
                  <a:pt x="1500" y="1014"/>
                </a:lnTo>
                <a:lnTo>
                  <a:pt x="1492" y="1012"/>
                </a:lnTo>
                <a:lnTo>
                  <a:pt x="1482" y="1010"/>
                </a:lnTo>
                <a:lnTo>
                  <a:pt x="1472" y="1004"/>
                </a:lnTo>
                <a:lnTo>
                  <a:pt x="1464" y="1000"/>
                </a:lnTo>
                <a:lnTo>
                  <a:pt x="1460" y="992"/>
                </a:lnTo>
                <a:lnTo>
                  <a:pt x="1458" y="982"/>
                </a:lnTo>
                <a:lnTo>
                  <a:pt x="1458" y="972"/>
                </a:lnTo>
                <a:lnTo>
                  <a:pt x="1458" y="950"/>
                </a:lnTo>
                <a:lnTo>
                  <a:pt x="1462" y="928"/>
                </a:lnTo>
                <a:lnTo>
                  <a:pt x="1464" y="926"/>
                </a:lnTo>
                <a:lnTo>
                  <a:pt x="1466" y="920"/>
                </a:lnTo>
                <a:lnTo>
                  <a:pt x="1598" y="692"/>
                </a:lnTo>
                <a:lnTo>
                  <a:pt x="1582" y="668"/>
                </a:lnTo>
                <a:lnTo>
                  <a:pt x="1584" y="668"/>
                </a:lnTo>
                <a:lnTo>
                  <a:pt x="1198" y="0"/>
                </a:lnTo>
                <a:lnTo>
                  <a:pt x="398" y="0"/>
                </a:lnTo>
                <a:lnTo>
                  <a:pt x="322" y="132"/>
                </a:lnTo>
                <a:lnTo>
                  <a:pt x="0" y="690"/>
                </a:lnTo>
                <a:lnTo>
                  <a:pt x="116" y="888"/>
                </a:lnTo>
                <a:lnTo>
                  <a:pt x="132" y="902"/>
                </a:lnTo>
                <a:lnTo>
                  <a:pt x="150" y="914"/>
                </a:lnTo>
                <a:lnTo>
                  <a:pt x="160" y="918"/>
                </a:lnTo>
                <a:lnTo>
                  <a:pt x="168" y="920"/>
                </a:lnTo>
                <a:lnTo>
                  <a:pt x="176" y="920"/>
                </a:lnTo>
                <a:lnTo>
                  <a:pt x="184" y="918"/>
                </a:lnTo>
                <a:close/>
              </a:path>
            </a:pathLst>
          </a:custGeom>
          <a:solidFill>
            <a:srgbClr val="179A9D"/>
          </a:solidFill>
          <a:ln w="38100" cap="flat" cmpd="sng">
            <a:solidFill>
              <a:srgbClr val="179A9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1" name="Freeform 8">
            <a:extLst>
              <a:ext uri="{FF2B5EF4-FFF2-40B4-BE49-F238E27FC236}">
                <a16:creationId xmlns:a16="http://schemas.microsoft.com/office/drawing/2014/main" xmlns="" id="{162B8001-5BF2-476A-B573-2FD2AB3330C6}"/>
              </a:ext>
            </a:extLst>
          </p:cNvPr>
          <p:cNvSpPr>
            <a:spLocks/>
          </p:cNvSpPr>
          <p:nvPr/>
        </p:nvSpPr>
        <p:spPr bwMode="auto">
          <a:xfrm>
            <a:off x="5254903" y="1734865"/>
            <a:ext cx="2462458" cy="2107574"/>
          </a:xfrm>
          <a:custGeom>
            <a:avLst/>
            <a:gdLst>
              <a:gd name="T0" fmla="*/ 324422 w 1600"/>
              <a:gd name="T1" fmla="*/ 322016 h 1624"/>
              <a:gd name="T2" fmla="*/ 354140 w 1600"/>
              <a:gd name="T3" fmla="*/ 391373 h 1624"/>
              <a:gd name="T4" fmla="*/ 463106 w 1600"/>
              <a:gd name="T5" fmla="*/ 359172 h 1624"/>
              <a:gd name="T6" fmla="*/ 525018 w 1600"/>
              <a:gd name="T7" fmla="*/ 378988 h 1624"/>
              <a:gd name="T8" fmla="*/ 532448 w 1600"/>
              <a:gd name="T9" fmla="*/ 527611 h 1624"/>
              <a:gd name="T10" fmla="*/ 455676 w 1600"/>
              <a:gd name="T11" fmla="*/ 648986 h 1624"/>
              <a:gd name="T12" fmla="*/ 339281 w 1600"/>
              <a:gd name="T13" fmla="*/ 691096 h 1624"/>
              <a:gd name="T14" fmla="*/ 294704 w 1600"/>
              <a:gd name="T15" fmla="*/ 629170 h 1624"/>
              <a:gd name="T16" fmla="*/ 260033 w 1600"/>
              <a:gd name="T17" fmla="*/ 532565 h 1624"/>
              <a:gd name="T18" fmla="*/ 173355 w 1600"/>
              <a:gd name="T19" fmla="*/ 569721 h 1624"/>
              <a:gd name="T20" fmla="*/ 173355 w 1600"/>
              <a:gd name="T21" fmla="*/ 1156781 h 1624"/>
              <a:gd name="T22" fmla="*/ 264986 w 1600"/>
              <a:gd name="T23" fmla="*/ 1198891 h 1624"/>
              <a:gd name="T24" fmla="*/ 299657 w 1600"/>
              <a:gd name="T25" fmla="*/ 1122102 h 1624"/>
              <a:gd name="T26" fmla="*/ 331851 w 1600"/>
              <a:gd name="T27" fmla="*/ 1045314 h 1624"/>
              <a:gd name="T28" fmla="*/ 435864 w 1600"/>
              <a:gd name="T29" fmla="*/ 1062653 h 1624"/>
              <a:gd name="T30" fmla="*/ 534924 w 1600"/>
              <a:gd name="T31" fmla="*/ 1193937 h 1624"/>
              <a:gd name="T32" fmla="*/ 532448 w 1600"/>
              <a:gd name="T33" fmla="*/ 1335128 h 1624"/>
              <a:gd name="T34" fmla="*/ 465582 w 1600"/>
              <a:gd name="T35" fmla="*/ 1362376 h 1624"/>
              <a:gd name="T36" fmla="*/ 356616 w 1600"/>
              <a:gd name="T37" fmla="*/ 1330174 h 1624"/>
              <a:gd name="T38" fmla="*/ 329375 w 1600"/>
              <a:gd name="T39" fmla="*/ 1406963 h 1624"/>
              <a:gd name="T40" fmla="*/ 827151 w 1600"/>
              <a:gd name="T41" fmla="*/ 1716593 h 1624"/>
              <a:gd name="T42" fmla="*/ 849440 w 1600"/>
              <a:gd name="T43" fmla="*/ 1724025 h 1624"/>
              <a:gd name="T44" fmla="*/ 861822 w 1600"/>
              <a:gd name="T45" fmla="*/ 1731456 h 1624"/>
              <a:gd name="T46" fmla="*/ 871728 w 1600"/>
              <a:gd name="T47" fmla="*/ 1736410 h 1624"/>
              <a:gd name="T48" fmla="*/ 884111 w 1600"/>
              <a:gd name="T49" fmla="*/ 1746318 h 1624"/>
              <a:gd name="T50" fmla="*/ 891540 w 1600"/>
              <a:gd name="T51" fmla="*/ 1751272 h 1624"/>
              <a:gd name="T52" fmla="*/ 896493 w 1600"/>
              <a:gd name="T53" fmla="*/ 1761180 h 1624"/>
              <a:gd name="T54" fmla="*/ 898970 w 1600"/>
              <a:gd name="T55" fmla="*/ 1771088 h 1624"/>
              <a:gd name="T56" fmla="*/ 898970 w 1600"/>
              <a:gd name="T57" fmla="*/ 1778520 h 1624"/>
              <a:gd name="T58" fmla="*/ 896493 w 1600"/>
              <a:gd name="T59" fmla="*/ 1793382 h 1624"/>
              <a:gd name="T60" fmla="*/ 871728 w 1600"/>
              <a:gd name="T61" fmla="*/ 1828061 h 1624"/>
              <a:gd name="T62" fmla="*/ 832104 w 1600"/>
              <a:gd name="T63" fmla="*/ 1850354 h 1624"/>
              <a:gd name="T64" fmla="*/ 817245 w 1600"/>
              <a:gd name="T65" fmla="*/ 1862739 h 1624"/>
              <a:gd name="T66" fmla="*/ 807339 w 1600"/>
              <a:gd name="T67" fmla="*/ 1875124 h 1624"/>
              <a:gd name="T68" fmla="*/ 802386 w 1600"/>
              <a:gd name="T69" fmla="*/ 1894941 h 1624"/>
              <a:gd name="T70" fmla="*/ 804863 w 1600"/>
              <a:gd name="T71" fmla="*/ 1934574 h 1624"/>
              <a:gd name="T72" fmla="*/ 926211 w 1600"/>
              <a:gd name="T73" fmla="*/ 2006408 h 1624"/>
              <a:gd name="T74" fmla="*/ 1089660 w 1600"/>
              <a:gd name="T75" fmla="*/ 1989069 h 1624"/>
              <a:gd name="T76" fmla="*/ 1156526 w 1600"/>
              <a:gd name="T77" fmla="*/ 1907326 h 1624"/>
              <a:gd name="T78" fmla="*/ 1154049 w 1600"/>
              <a:gd name="T79" fmla="*/ 1885033 h 1624"/>
              <a:gd name="T80" fmla="*/ 1144143 w 1600"/>
              <a:gd name="T81" fmla="*/ 1867693 h 1624"/>
              <a:gd name="T82" fmla="*/ 1136714 w 1600"/>
              <a:gd name="T83" fmla="*/ 1860262 h 1624"/>
              <a:gd name="T84" fmla="*/ 1121855 w 1600"/>
              <a:gd name="T85" fmla="*/ 1850354 h 1624"/>
              <a:gd name="T86" fmla="*/ 1067372 w 1600"/>
              <a:gd name="T87" fmla="*/ 1808244 h 1624"/>
              <a:gd name="T88" fmla="*/ 1059942 w 1600"/>
              <a:gd name="T89" fmla="*/ 1793382 h 1624"/>
              <a:gd name="T90" fmla="*/ 1057466 w 1600"/>
              <a:gd name="T91" fmla="*/ 1780997 h 1624"/>
              <a:gd name="T92" fmla="*/ 1057466 w 1600"/>
              <a:gd name="T93" fmla="*/ 1771088 h 1624"/>
              <a:gd name="T94" fmla="*/ 1059942 w 1600"/>
              <a:gd name="T95" fmla="*/ 1761180 h 1624"/>
              <a:gd name="T96" fmla="*/ 1064895 w 1600"/>
              <a:gd name="T97" fmla="*/ 1753749 h 1624"/>
              <a:gd name="T98" fmla="*/ 1072325 w 1600"/>
              <a:gd name="T99" fmla="*/ 1746318 h 1624"/>
              <a:gd name="T100" fmla="*/ 1082231 w 1600"/>
              <a:gd name="T101" fmla="*/ 1736410 h 1624"/>
              <a:gd name="T102" fmla="*/ 1094613 w 1600"/>
              <a:gd name="T103" fmla="*/ 1731456 h 1624"/>
              <a:gd name="T104" fmla="*/ 1104519 w 1600"/>
              <a:gd name="T105" fmla="*/ 1726502 h 1624"/>
              <a:gd name="T106" fmla="*/ 1129284 w 1600"/>
              <a:gd name="T107" fmla="*/ 1716593 h 1624"/>
              <a:gd name="T108" fmla="*/ 1485900 w 1600"/>
              <a:gd name="T109" fmla="*/ 0 h 162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00" h="1624">
                <a:moveTo>
                  <a:pt x="1200" y="0"/>
                </a:moveTo>
                <a:lnTo>
                  <a:pt x="402" y="0"/>
                </a:lnTo>
                <a:lnTo>
                  <a:pt x="400" y="6"/>
                </a:lnTo>
                <a:lnTo>
                  <a:pt x="400" y="8"/>
                </a:lnTo>
                <a:lnTo>
                  <a:pt x="266" y="240"/>
                </a:lnTo>
                <a:lnTo>
                  <a:pt x="262" y="260"/>
                </a:lnTo>
                <a:lnTo>
                  <a:pt x="262" y="282"/>
                </a:lnTo>
                <a:lnTo>
                  <a:pt x="264" y="290"/>
                </a:lnTo>
                <a:lnTo>
                  <a:pt x="266" y="298"/>
                </a:lnTo>
                <a:lnTo>
                  <a:pt x="270" y="306"/>
                </a:lnTo>
                <a:lnTo>
                  <a:pt x="276" y="310"/>
                </a:lnTo>
                <a:lnTo>
                  <a:pt x="286" y="316"/>
                </a:lnTo>
                <a:lnTo>
                  <a:pt x="296" y="318"/>
                </a:lnTo>
                <a:lnTo>
                  <a:pt x="306" y="320"/>
                </a:lnTo>
                <a:lnTo>
                  <a:pt x="314" y="318"/>
                </a:lnTo>
                <a:lnTo>
                  <a:pt x="330" y="312"/>
                </a:lnTo>
                <a:lnTo>
                  <a:pt x="344" y="304"/>
                </a:lnTo>
                <a:lnTo>
                  <a:pt x="358" y="296"/>
                </a:lnTo>
                <a:lnTo>
                  <a:pt x="374" y="290"/>
                </a:lnTo>
                <a:lnTo>
                  <a:pt x="382" y="288"/>
                </a:lnTo>
                <a:lnTo>
                  <a:pt x="392" y="290"/>
                </a:lnTo>
                <a:lnTo>
                  <a:pt x="400" y="292"/>
                </a:lnTo>
                <a:lnTo>
                  <a:pt x="412" y="296"/>
                </a:lnTo>
                <a:lnTo>
                  <a:pt x="418" y="302"/>
                </a:lnTo>
                <a:lnTo>
                  <a:pt x="424" y="306"/>
                </a:lnTo>
                <a:lnTo>
                  <a:pt x="434" y="320"/>
                </a:lnTo>
                <a:lnTo>
                  <a:pt x="438" y="336"/>
                </a:lnTo>
                <a:lnTo>
                  <a:pt x="442" y="352"/>
                </a:lnTo>
                <a:lnTo>
                  <a:pt x="442" y="370"/>
                </a:lnTo>
                <a:lnTo>
                  <a:pt x="438" y="390"/>
                </a:lnTo>
                <a:lnTo>
                  <a:pt x="434" y="408"/>
                </a:lnTo>
                <a:lnTo>
                  <a:pt x="430" y="426"/>
                </a:lnTo>
                <a:lnTo>
                  <a:pt x="420" y="450"/>
                </a:lnTo>
                <a:lnTo>
                  <a:pt x="410" y="472"/>
                </a:lnTo>
                <a:lnTo>
                  <a:pt x="398" y="488"/>
                </a:lnTo>
                <a:lnTo>
                  <a:pt x="384" y="506"/>
                </a:lnTo>
                <a:lnTo>
                  <a:pt x="368" y="524"/>
                </a:lnTo>
                <a:lnTo>
                  <a:pt x="348" y="540"/>
                </a:lnTo>
                <a:lnTo>
                  <a:pt x="328" y="552"/>
                </a:lnTo>
                <a:lnTo>
                  <a:pt x="318" y="556"/>
                </a:lnTo>
                <a:lnTo>
                  <a:pt x="306" y="560"/>
                </a:lnTo>
                <a:lnTo>
                  <a:pt x="296" y="562"/>
                </a:lnTo>
                <a:lnTo>
                  <a:pt x="284" y="562"/>
                </a:lnTo>
                <a:lnTo>
                  <a:pt x="274" y="558"/>
                </a:lnTo>
                <a:lnTo>
                  <a:pt x="264" y="554"/>
                </a:lnTo>
                <a:lnTo>
                  <a:pt x="256" y="548"/>
                </a:lnTo>
                <a:lnTo>
                  <a:pt x="248" y="540"/>
                </a:lnTo>
                <a:lnTo>
                  <a:pt x="244" y="532"/>
                </a:lnTo>
                <a:lnTo>
                  <a:pt x="240" y="524"/>
                </a:lnTo>
                <a:lnTo>
                  <a:pt x="238" y="508"/>
                </a:lnTo>
                <a:lnTo>
                  <a:pt x="238" y="492"/>
                </a:lnTo>
                <a:lnTo>
                  <a:pt x="238" y="474"/>
                </a:lnTo>
                <a:lnTo>
                  <a:pt x="234" y="458"/>
                </a:lnTo>
                <a:lnTo>
                  <a:pt x="232" y="450"/>
                </a:lnTo>
                <a:lnTo>
                  <a:pt x="226" y="444"/>
                </a:lnTo>
                <a:lnTo>
                  <a:pt x="218" y="436"/>
                </a:lnTo>
                <a:lnTo>
                  <a:pt x="210" y="430"/>
                </a:lnTo>
                <a:lnTo>
                  <a:pt x="202" y="426"/>
                </a:lnTo>
                <a:lnTo>
                  <a:pt x="192" y="426"/>
                </a:lnTo>
                <a:lnTo>
                  <a:pt x="184" y="430"/>
                </a:lnTo>
                <a:lnTo>
                  <a:pt x="174" y="434"/>
                </a:lnTo>
                <a:lnTo>
                  <a:pt x="156" y="446"/>
                </a:lnTo>
                <a:lnTo>
                  <a:pt x="140" y="460"/>
                </a:lnTo>
                <a:lnTo>
                  <a:pt x="40" y="632"/>
                </a:lnTo>
                <a:lnTo>
                  <a:pt x="4" y="694"/>
                </a:lnTo>
                <a:lnTo>
                  <a:pt x="0" y="694"/>
                </a:lnTo>
                <a:lnTo>
                  <a:pt x="2" y="696"/>
                </a:lnTo>
                <a:lnTo>
                  <a:pt x="4" y="696"/>
                </a:lnTo>
                <a:lnTo>
                  <a:pt x="140" y="934"/>
                </a:lnTo>
                <a:lnTo>
                  <a:pt x="158" y="948"/>
                </a:lnTo>
                <a:lnTo>
                  <a:pt x="176" y="962"/>
                </a:lnTo>
                <a:lnTo>
                  <a:pt x="186" y="968"/>
                </a:lnTo>
                <a:lnTo>
                  <a:pt x="196" y="970"/>
                </a:lnTo>
                <a:lnTo>
                  <a:pt x="206" y="970"/>
                </a:lnTo>
                <a:lnTo>
                  <a:pt x="214" y="968"/>
                </a:lnTo>
                <a:lnTo>
                  <a:pt x="224" y="960"/>
                </a:lnTo>
                <a:lnTo>
                  <a:pt x="230" y="954"/>
                </a:lnTo>
                <a:lnTo>
                  <a:pt x="236" y="946"/>
                </a:lnTo>
                <a:lnTo>
                  <a:pt x="240" y="938"/>
                </a:lnTo>
                <a:lnTo>
                  <a:pt x="242" y="922"/>
                </a:lnTo>
                <a:lnTo>
                  <a:pt x="242" y="906"/>
                </a:lnTo>
                <a:lnTo>
                  <a:pt x="242" y="888"/>
                </a:lnTo>
                <a:lnTo>
                  <a:pt x="244" y="872"/>
                </a:lnTo>
                <a:lnTo>
                  <a:pt x="248" y="864"/>
                </a:lnTo>
                <a:lnTo>
                  <a:pt x="252" y="858"/>
                </a:lnTo>
                <a:lnTo>
                  <a:pt x="260" y="850"/>
                </a:lnTo>
                <a:lnTo>
                  <a:pt x="268" y="844"/>
                </a:lnTo>
                <a:lnTo>
                  <a:pt x="278" y="838"/>
                </a:lnTo>
                <a:lnTo>
                  <a:pt x="290" y="836"/>
                </a:lnTo>
                <a:lnTo>
                  <a:pt x="300" y="836"/>
                </a:lnTo>
                <a:lnTo>
                  <a:pt x="310" y="836"/>
                </a:lnTo>
                <a:lnTo>
                  <a:pt x="322" y="840"/>
                </a:lnTo>
                <a:lnTo>
                  <a:pt x="332" y="844"/>
                </a:lnTo>
                <a:lnTo>
                  <a:pt x="352" y="858"/>
                </a:lnTo>
                <a:lnTo>
                  <a:pt x="372" y="874"/>
                </a:lnTo>
                <a:lnTo>
                  <a:pt x="390" y="892"/>
                </a:lnTo>
                <a:lnTo>
                  <a:pt x="404" y="910"/>
                </a:lnTo>
                <a:lnTo>
                  <a:pt x="414" y="926"/>
                </a:lnTo>
                <a:lnTo>
                  <a:pt x="422" y="944"/>
                </a:lnTo>
                <a:lnTo>
                  <a:pt x="432" y="964"/>
                </a:lnTo>
                <a:lnTo>
                  <a:pt x="438" y="988"/>
                </a:lnTo>
                <a:lnTo>
                  <a:pt x="442" y="1012"/>
                </a:lnTo>
                <a:lnTo>
                  <a:pt x="444" y="1038"/>
                </a:lnTo>
                <a:lnTo>
                  <a:pt x="442" y="1048"/>
                </a:lnTo>
                <a:lnTo>
                  <a:pt x="440" y="1060"/>
                </a:lnTo>
                <a:lnTo>
                  <a:pt x="436" y="1070"/>
                </a:lnTo>
                <a:lnTo>
                  <a:pt x="430" y="1078"/>
                </a:lnTo>
                <a:lnTo>
                  <a:pt x="422" y="1086"/>
                </a:lnTo>
                <a:lnTo>
                  <a:pt x="412" y="1092"/>
                </a:lnTo>
                <a:lnTo>
                  <a:pt x="402" y="1098"/>
                </a:lnTo>
                <a:lnTo>
                  <a:pt x="392" y="1100"/>
                </a:lnTo>
                <a:lnTo>
                  <a:pt x="384" y="1100"/>
                </a:lnTo>
                <a:lnTo>
                  <a:pt x="376" y="1100"/>
                </a:lnTo>
                <a:lnTo>
                  <a:pt x="360" y="1094"/>
                </a:lnTo>
                <a:lnTo>
                  <a:pt x="346" y="1084"/>
                </a:lnTo>
                <a:lnTo>
                  <a:pt x="330" y="1076"/>
                </a:lnTo>
                <a:lnTo>
                  <a:pt x="316" y="1070"/>
                </a:lnTo>
                <a:lnTo>
                  <a:pt x="306" y="1070"/>
                </a:lnTo>
                <a:lnTo>
                  <a:pt x="298" y="1070"/>
                </a:lnTo>
                <a:lnTo>
                  <a:pt x="288" y="1074"/>
                </a:lnTo>
                <a:lnTo>
                  <a:pt x="278" y="1078"/>
                </a:lnTo>
                <a:lnTo>
                  <a:pt x="272" y="1084"/>
                </a:lnTo>
                <a:lnTo>
                  <a:pt x="266" y="1092"/>
                </a:lnTo>
                <a:lnTo>
                  <a:pt x="264" y="1102"/>
                </a:lnTo>
                <a:lnTo>
                  <a:pt x="264" y="1114"/>
                </a:lnTo>
                <a:lnTo>
                  <a:pt x="266" y="1136"/>
                </a:lnTo>
                <a:lnTo>
                  <a:pt x="270" y="1158"/>
                </a:lnTo>
                <a:lnTo>
                  <a:pt x="402" y="1386"/>
                </a:lnTo>
                <a:lnTo>
                  <a:pt x="668" y="1386"/>
                </a:lnTo>
                <a:lnTo>
                  <a:pt x="674" y="1388"/>
                </a:lnTo>
                <a:lnTo>
                  <a:pt x="686" y="1392"/>
                </a:lnTo>
                <a:lnTo>
                  <a:pt x="688" y="1394"/>
                </a:lnTo>
                <a:lnTo>
                  <a:pt x="692" y="1394"/>
                </a:lnTo>
                <a:lnTo>
                  <a:pt x="694" y="1396"/>
                </a:lnTo>
                <a:lnTo>
                  <a:pt x="696" y="1398"/>
                </a:lnTo>
                <a:lnTo>
                  <a:pt x="700" y="1398"/>
                </a:lnTo>
                <a:lnTo>
                  <a:pt x="702" y="1400"/>
                </a:lnTo>
                <a:lnTo>
                  <a:pt x="704" y="1402"/>
                </a:lnTo>
                <a:lnTo>
                  <a:pt x="706" y="1402"/>
                </a:lnTo>
                <a:lnTo>
                  <a:pt x="710" y="1406"/>
                </a:lnTo>
                <a:lnTo>
                  <a:pt x="714" y="1410"/>
                </a:lnTo>
                <a:lnTo>
                  <a:pt x="716" y="1410"/>
                </a:lnTo>
                <a:lnTo>
                  <a:pt x="718" y="1412"/>
                </a:lnTo>
                <a:lnTo>
                  <a:pt x="720" y="1414"/>
                </a:lnTo>
                <a:lnTo>
                  <a:pt x="722" y="1416"/>
                </a:lnTo>
                <a:lnTo>
                  <a:pt x="722" y="1418"/>
                </a:lnTo>
                <a:lnTo>
                  <a:pt x="724" y="1420"/>
                </a:lnTo>
                <a:lnTo>
                  <a:pt x="724" y="1422"/>
                </a:lnTo>
                <a:lnTo>
                  <a:pt x="726" y="1424"/>
                </a:lnTo>
                <a:lnTo>
                  <a:pt x="726" y="1426"/>
                </a:lnTo>
                <a:lnTo>
                  <a:pt x="726" y="1430"/>
                </a:lnTo>
                <a:lnTo>
                  <a:pt x="726" y="1436"/>
                </a:lnTo>
                <a:lnTo>
                  <a:pt x="726" y="1438"/>
                </a:lnTo>
                <a:lnTo>
                  <a:pt x="726" y="1442"/>
                </a:lnTo>
                <a:lnTo>
                  <a:pt x="724" y="1444"/>
                </a:lnTo>
                <a:lnTo>
                  <a:pt x="724" y="1448"/>
                </a:lnTo>
                <a:lnTo>
                  <a:pt x="720" y="1458"/>
                </a:lnTo>
                <a:lnTo>
                  <a:pt x="716" y="1464"/>
                </a:lnTo>
                <a:lnTo>
                  <a:pt x="710" y="1470"/>
                </a:lnTo>
                <a:lnTo>
                  <a:pt x="704" y="1476"/>
                </a:lnTo>
                <a:lnTo>
                  <a:pt x="690" y="1484"/>
                </a:lnTo>
                <a:lnTo>
                  <a:pt x="676" y="1492"/>
                </a:lnTo>
                <a:lnTo>
                  <a:pt x="674" y="1494"/>
                </a:lnTo>
                <a:lnTo>
                  <a:pt x="672" y="1494"/>
                </a:lnTo>
                <a:lnTo>
                  <a:pt x="668" y="1498"/>
                </a:lnTo>
                <a:lnTo>
                  <a:pt x="666" y="1498"/>
                </a:lnTo>
                <a:lnTo>
                  <a:pt x="662" y="1502"/>
                </a:lnTo>
                <a:lnTo>
                  <a:pt x="660" y="1504"/>
                </a:lnTo>
                <a:lnTo>
                  <a:pt x="656" y="1508"/>
                </a:lnTo>
                <a:lnTo>
                  <a:pt x="652" y="1514"/>
                </a:lnTo>
                <a:lnTo>
                  <a:pt x="650" y="1522"/>
                </a:lnTo>
                <a:lnTo>
                  <a:pt x="648" y="1530"/>
                </a:lnTo>
                <a:lnTo>
                  <a:pt x="648" y="1532"/>
                </a:lnTo>
                <a:lnTo>
                  <a:pt x="646" y="1540"/>
                </a:lnTo>
                <a:lnTo>
                  <a:pt x="648" y="1552"/>
                </a:lnTo>
                <a:lnTo>
                  <a:pt x="650" y="1562"/>
                </a:lnTo>
                <a:lnTo>
                  <a:pt x="656" y="1572"/>
                </a:lnTo>
                <a:lnTo>
                  <a:pt x="662" y="1580"/>
                </a:lnTo>
                <a:lnTo>
                  <a:pt x="670" y="1588"/>
                </a:lnTo>
                <a:lnTo>
                  <a:pt x="680" y="1594"/>
                </a:lnTo>
                <a:lnTo>
                  <a:pt x="700" y="1606"/>
                </a:lnTo>
                <a:lnTo>
                  <a:pt x="724" y="1614"/>
                </a:lnTo>
                <a:lnTo>
                  <a:pt x="748" y="1620"/>
                </a:lnTo>
                <a:lnTo>
                  <a:pt x="770" y="1624"/>
                </a:lnTo>
                <a:lnTo>
                  <a:pt x="790" y="1624"/>
                </a:lnTo>
                <a:lnTo>
                  <a:pt x="810" y="1624"/>
                </a:lnTo>
                <a:lnTo>
                  <a:pt x="832" y="1620"/>
                </a:lnTo>
                <a:lnTo>
                  <a:pt x="856" y="1614"/>
                </a:lnTo>
                <a:lnTo>
                  <a:pt x="880" y="1606"/>
                </a:lnTo>
                <a:lnTo>
                  <a:pt x="902" y="1594"/>
                </a:lnTo>
                <a:lnTo>
                  <a:pt x="910" y="1588"/>
                </a:lnTo>
                <a:lnTo>
                  <a:pt x="918" y="1580"/>
                </a:lnTo>
                <a:lnTo>
                  <a:pt x="926" y="1572"/>
                </a:lnTo>
                <a:lnTo>
                  <a:pt x="930" y="1562"/>
                </a:lnTo>
                <a:lnTo>
                  <a:pt x="934" y="1552"/>
                </a:lnTo>
                <a:lnTo>
                  <a:pt x="934" y="1540"/>
                </a:lnTo>
                <a:lnTo>
                  <a:pt x="934" y="1532"/>
                </a:lnTo>
                <a:lnTo>
                  <a:pt x="934" y="1530"/>
                </a:lnTo>
                <a:lnTo>
                  <a:pt x="932" y="1522"/>
                </a:lnTo>
                <a:lnTo>
                  <a:pt x="930" y="1522"/>
                </a:lnTo>
                <a:lnTo>
                  <a:pt x="928" y="1514"/>
                </a:lnTo>
                <a:lnTo>
                  <a:pt x="924" y="1508"/>
                </a:lnTo>
                <a:lnTo>
                  <a:pt x="920" y="1504"/>
                </a:lnTo>
                <a:lnTo>
                  <a:pt x="918" y="1502"/>
                </a:lnTo>
                <a:lnTo>
                  <a:pt x="914" y="1498"/>
                </a:lnTo>
                <a:lnTo>
                  <a:pt x="912" y="1498"/>
                </a:lnTo>
                <a:lnTo>
                  <a:pt x="908" y="1494"/>
                </a:lnTo>
                <a:lnTo>
                  <a:pt x="906" y="1494"/>
                </a:lnTo>
                <a:lnTo>
                  <a:pt x="904" y="1492"/>
                </a:lnTo>
                <a:lnTo>
                  <a:pt x="890" y="1484"/>
                </a:lnTo>
                <a:lnTo>
                  <a:pt x="878" y="1476"/>
                </a:lnTo>
                <a:lnTo>
                  <a:pt x="866" y="1466"/>
                </a:lnTo>
                <a:lnTo>
                  <a:pt x="862" y="1460"/>
                </a:lnTo>
                <a:lnTo>
                  <a:pt x="858" y="1454"/>
                </a:lnTo>
                <a:lnTo>
                  <a:pt x="856" y="1448"/>
                </a:lnTo>
                <a:lnTo>
                  <a:pt x="856" y="1444"/>
                </a:lnTo>
                <a:lnTo>
                  <a:pt x="856" y="1442"/>
                </a:lnTo>
                <a:lnTo>
                  <a:pt x="854" y="1438"/>
                </a:lnTo>
                <a:lnTo>
                  <a:pt x="854" y="1436"/>
                </a:lnTo>
                <a:lnTo>
                  <a:pt x="854" y="1430"/>
                </a:lnTo>
                <a:lnTo>
                  <a:pt x="854" y="1426"/>
                </a:lnTo>
                <a:lnTo>
                  <a:pt x="856" y="1424"/>
                </a:lnTo>
                <a:lnTo>
                  <a:pt x="856" y="1422"/>
                </a:lnTo>
                <a:lnTo>
                  <a:pt x="856" y="1420"/>
                </a:lnTo>
                <a:lnTo>
                  <a:pt x="858" y="1418"/>
                </a:lnTo>
                <a:lnTo>
                  <a:pt x="860" y="1416"/>
                </a:lnTo>
                <a:lnTo>
                  <a:pt x="862" y="1414"/>
                </a:lnTo>
                <a:lnTo>
                  <a:pt x="862" y="1412"/>
                </a:lnTo>
                <a:lnTo>
                  <a:pt x="864" y="1410"/>
                </a:lnTo>
                <a:lnTo>
                  <a:pt x="866" y="1410"/>
                </a:lnTo>
                <a:lnTo>
                  <a:pt x="870" y="1406"/>
                </a:lnTo>
                <a:lnTo>
                  <a:pt x="874" y="1402"/>
                </a:lnTo>
                <a:lnTo>
                  <a:pt x="876" y="1402"/>
                </a:lnTo>
                <a:lnTo>
                  <a:pt x="880" y="1400"/>
                </a:lnTo>
                <a:lnTo>
                  <a:pt x="882" y="1398"/>
                </a:lnTo>
                <a:lnTo>
                  <a:pt x="884" y="1398"/>
                </a:lnTo>
                <a:lnTo>
                  <a:pt x="886" y="1396"/>
                </a:lnTo>
                <a:lnTo>
                  <a:pt x="890" y="1394"/>
                </a:lnTo>
                <a:lnTo>
                  <a:pt x="892" y="1394"/>
                </a:lnTo>
                <a:lnTo>
                  <a:pt x="894" y="1392"/>
                </a:lnTo>
                <a:lnTo>
                  <a:pt x="906" y="1388"/>
                </a:lnTo>
                <a:lnTo>
                  <a:pt x="908" y="1388"/>
                </a:lnTo>
                <a:lnTo>
                  <a:pt x="912" y="1386"/>
                </a:lnTo>
                <a:lnTo>
                  <a:pt x="1200" y="1386"/>
                </a:lnTo>
                <a:lnTo>
                  <a:pt x="1200" y="1384"/>
                </a:lnTo>
                <a:lnTo>
                  <a:pt x="1600" y="694"/>
                </a:lnTo>
                <a:lnTo>
                  <a:pt x="1200" y="0"/>
                </a:lnTo>
                <a:close/>
              </a:path>
            </a:pathLst>
          </a:custGeom>
          <a:solidFill>
            <a:srgbClr val="D0E6A7"/>
          </a:solidFill>
          <a:ln w="38100" cap="flat" cmpd="sng">
            <a:solidFill>
              <a:srgbClr val="D0E6A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2" name="Oval 1">
            <a:extLst>
              <a:ext uri="{FF2B5EF4-FFF2-40B4-BE49-F238E27FC236}">
                <a16:creationId xmlns:a16="http://schemas.microsoft.com/office/drawing/2014/main" xmlns="" id="{C25887CD-434C-460C-A628-D4DB841C2C4B}"/>
              </a:ext>
            </a:extLst>
          </p:cNvPr>
          <p:cNvSpPr/>
          <p:nvPr/>
        </p:nvSpPr>
        <p:spPr>
          <a:xfrm>
            <a:off x="3483004" y="954329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xmlns="" id="{60DB79E3-4A9C-4316-9010-B7D7F7843A57}"/>
              </a:ext>
            </a:extLst>
          </p:cNvPr>
          <p:cNvSpPr/>
          <p:nvPr/>
        </p:nvSpPr>
        <p:spPr>
          <a:xfrm>
            <a:off x="7452790" y="2384342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4" name="Oval 23">
            <a:extLst>
              <a:ext uri="{FF2B5EF4-FFF2-40B4-BE49-F238E27FC236}">
                <a16:creationId xmlns:a16="http://schemas.microsoft.com/office/drawing/2014/main" xmlns="" id="{80EA259F-D778-45F0-A6A7-CDC26105F087}"/>
              </a:ext>
            </a:extLst>
          </p:cNvPr>
          <p:cNvSpPr/>
          <p:nvPr/>
        </p:nvSpPr>
        <p:spPr>
          <a:xfrm>
            <a:off x="7452790" y="4286349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5" name="CaixaDeTexto 44">
            <a:extLst>
              <a:ext uri="{FF2B5EF4-FFF2-40B4-BE49-F238E27FC236}">
                <a16:creationId xmlns:a16="http://schemas.microsoft.com/office/drawing/2014/main" xmlns="" id="{081F862F-6508-4796-91B6-294D9ACC9AA5}"/>
              </a:ext>
            </a:extLst>
          </p:cNvPr>
          <p:cNvSpPr txBox="1"/>
          <p:nvPr/>
        </p:nvSpPr>
        <p:spPr>
          <a:xfrm>
            <a:off x="3947784" y="914624"/>
            <a:ext cx="171099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b="1" dirty="0">
                <a:solidFill>
                  <a:srgbClr val="FFFFFF"/>
                </a:solidFill>
                <a:latin typeface="Candara"/>
              </a:rPr>
              <a:t>O caso de Pernambuco: 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resultados positivos em </a:t>
            </a:r>
            <a:r>
              <a:rPr lang="pt-BR" b="1" dirty="0">
                <a:solidFill>
                  <a:srgbClr val="FFFFFF"/>
                </a:solidFill>
                <a:latin typeface="Candara"/>
              </a:rPr>
              <a:t>aprendizagem e fluxo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.</a:t>
            </a:r>
          </a:p>
        </p:txBody>
      </p:sp>
      <p:sp>
        <p:nvSpPr>
          <p:cNvPr id="36" name="CaixaDeTexto 45">
            <a:extLst>
              <a:ext uri="{FF2B5EF4-FFF2-40B4-BE49-F238E27FC236}">
                <a16:creationId xmlns:a16="http://schemas.microsoft.com/office/drawing/2014/main" xmlns="" id="{98D607F3-0ED7-4053-896D-41ECB177A58D}"/>
              </a:ext>
            </a:extLst>
          </p:cNvPr>
          <p:cNvSpPr txBox="1"/>
          <p:nvPr/>
        </p:nvSpPr>
        <p:spPr>
          <a:xfrm>
            <a:off x="5884668" y="1766446"/>
            <a:ext cx="176256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O caso de Pernambuco: resultados positivos na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diminuição das desigualdades sociais.</a:t>
            </a:r>
          </a:p>
        </p:txBody>
      </p:sp>
      <p:sp>
        <p:nvSpPr>
          <p:cNvPr id="37" name="CaixaDeTexto 51">
            <a:extLst>
              <a:ext uri="{FF2B5EF4-FFF2-40B4-BE49-F238E27FC236}">
                <a16:creationId xmlns:a16="http://schemas.microsoft.com/office/drawing/2014/main" xmlns="" id="{EE4A1514-2B4D-4F51-82C1-D9ED23B6E12E}"/>
              </a:ext>
            </a:extLst>
          </p:cNvPr>
          <p:cNvSpPr txBox="1"/>
          <p:nvPr/>
        </p:nvSpPr>
        <p:spPr>
          <a:xfrm>
            <a:off x="5951798" y="3842439"/>
            <a:ext cx="162830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Política de fomento às escolas integrais e os seus resultados iniciais.  </a:t>
            </a:r>
          </a:p>
        </p:txBody>
      </p:sp>
      <p:sp>
        <p:nvSpPr>
          <p:cNvPr id="38" name="CaixaDeTexto 51">
            <a:extLst>
              <a:ext uri="{FF2B5EF4-FFF2-40B4-BE49-F238E27FC236}">
                <a16:creationId xmlns:a16="http://schemas.microsoft.com/office/drawing/2014/main" xmlns="" id="{8C86D736-957C-411B-A775-080E8FDADCE5}"/>
              </a:ext>
            </a:extLst>
          </p:cNvPr>
          <p:cNvSpPr txBox="1"/>
          <p:nvPr/>
        </p:nvSpPr>
        <p:spPr>
          <a:xfrm>
            <a:off x="3898558" y="4687692"/>
            <a:ext cx="191959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chemeClr val="tx2"/>
                </a:solidFill>
                <a:latin typeface="Candara"/>
              </a:rPr>
              <a:t>É possível expandir as escolas integrais, de forma </a:t>
            </a:r>
            <a:r>
              <a:rPr lang="pt-BR" b="1" dirty="0">
                <a:solidFill>
                  <a:schemeClr val="tx2"/>
                </a:solidFill>
                <a:latin typeface="Candara"/>
              </a:rPr>
              <a:t>eficiente</a:t>
            </a:r>
            <a:r>
              <a:rPr lang="pt-BR" dirty="0">
                <a:solidFill>
                  <a:schemeClr val="tx2"/>
                </a:solidFill>
                <a:latin typeface="Candara"/>
              </a:rPr>
              <a:t> e priorizando as comunidades </a:t>
            </a:r>
            <a:r>
              <a:rPr lang="pt-BR" b="1" dirty="0">
                <a:solidFill>
                  <a:schemeClr val="tx2"/>
                </a:solidFill>
                <a:latin typeface="Candara"/>
              </a:rPr>
              <a:t>vulneráveis </a:t>
            </a:r>
          </a:p>
          <a:p>
            <a:endParaRPr lang="pt-BR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xmlns="" id="{D0C5603E-4FEB-44ED-A600-E0D7F6214432}"/>
              </a:ext>
            </a:extLst>
          </p:cNvPr>
          <p:cNvSpPr/>
          <p:nvPr/>
        </p:nvSpPr>
        <p:spPr>
          <a:xfrm>
            <a:off x="1868244" y="3942717"/>
            <a:ext cx="17109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FFFFFF"/>
                </a:solidFill>
                <a:latin typeface="+mj-lt"/>
              </a:rPr>
              <a:t>Os estudantes demonstram </a:t>
            </a:r>
            <a:r>
              <a:rPr lang="pt-BR" b="1" dirty="0">
                <a:solidFill>
                  <a:srgbClr val="FFFFFF"/>
                </a:solidFill>
                <a:latin typeface="+mj-lt"/>
              </a:rPr>
              <a:t>satisfação com as escolas integrais</a:t>
            </a:r>
          </a:p>
        </p:txBody>
      </p:sp>
    </p:spTree>
    <p:extLst>
      <p:ext uri="{BB962C8B-B14F-4D97-AF65-F5344CB8AC3E}">
        <p14:creationId xmlns:p14="http://schemas.microsoft.com/office/powerpoint/2010/main" val="16676139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to 34" hidden="1">
            <a:extLst>
              <a:ext uri="{FF2B5EF4-FFF2-40B4-BE49-F238E27FC236}">
                <a16:creationId xmlns:a16="http://schemas.microsoft.com/office/drawing/2014/main" xmlns="" id="{EEA4D82C-C521-4513-90BD-8220943FB4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7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35" name="Objeto 34" hidden="1">
                        <a:extLst>
                          <a:ext uri="{FF2B5EF4-FFF2-40B4-BE49-F238E27FC236}">
                            <a16:creationId xmlns:a16="http://schemas.microsoft.com/office/drawing/2014/main" xmlns="" id="{EEA4D82C-C521-4513-90BD-8220943FB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7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tângulo 76">
            <a:extLst>
              <a:ext uri="{FF2B5EF4-FFF2-40B4-BE49-F238E27FC236}">
                <a16:creationId xmlns:a16="http://schemas.microsoft.com/office/drawing/2014/main" xmlns="" id="{B3568F32-3F6C-46DC-8889-9DA0251472C6}"/>
              </a:ext>
            </a:extLst>
          </p:cNvPr>
          <p:cNvSpPr/>
          <p:nvPr/>
        </p:nvSpPr>
        <p:spPr>
          <a:xfrm>
            <a:off x="4638534" y="1943668"/>
            <a:ext cx="4050288" cy="44346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sz="1568" b="1" dirty="0">
              <a:solidFill>
                <a:srgbClr val="FFFFFF"/>
              </a:solidFill>
            </a:endParaRPr>
          </a:p>
        </p:txBody>
      </p:sp>
      <p:sp>
        <p:nvSpPr>
          <p:cNvPr id="76" name="Retângulo 75">
            <a:extLst>
              <a:ext uri="{FF2B5EF4-FFF2-40B4-BE49-F238E27FC236}">
                <a16:creationId xmlns:a16="http://schemas.microsoft.com/office/drawing/2014/main" xmlns="" id="{DC1CB267-69EE-4EFF-B1B8-8848AA6F9D1E}"/>
              </a:ext>
            </a:extLst>
          </p:cNvPr>
          <p:cNvSpPr/>
          <p:nvPr/>
        </p:nvSpPr>
        <p:spPr>
          <a:xfrm>
            <a:off x="338653" y="1962072"/>
            <a:ext cx="4051246" cy="441629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pt-BR" sz="1568" b="1" dirty="0">
              <a:solidFill>
                <a:srgbClr val="FFFFFF"/>
              </a:solidFill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2502036C-82BB-4DE9-BF5E-FCD21F2442E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pt-BR" dirty="0"/>
              <a:t>A percepção dos estudantes dO eMti é mais positiva em comparação com seus pares das escolas EM TEMPO PARCIAL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xmlns="" id="{3C09B90B-2424-448E-B44B-53C9BA712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74064" y="6378367"/>
            <a:ext cx="2091002" cy="279622"/>
          </a:xfrm>
        </p:spPr>
        <p:txBody>
          <a:bodyPr/>
          <a:lstStyle/>
          <a:p>
            <a:fld id="{54E26E91-FA1B-6245-924D-A20CF7519F85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xmlns="" id="{A0E08A1F-0EA9-4CD4-B349-9E8F9EEC6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1" dirty="0"/>
              <a:t>Opiniões sobre a SUA escola, após 1 ano de implementação</a:t>
            </a:r>
          </a:p>
          <a:p>
            <a:endParaRPr lang="pt-BR" dirty="0"/>
          </a:p>
        </p:txBody>
      </p:sp>
      <p:sp>
        <p:nvSpPr>
          <p:cNvPr id="9" name="Oval 1">
            <a:extLst>
              <a:ext uri="{FF2B5EF4-FFF2-40B4-BE49-F238E27FC236}">
                <a16:creationId xmlns:a16="http://schemas.microsoft.com/office/drawing/2014/main" xmlns="" id="{6ACB53A9-0631-483E-88CF-BA4AB2474E59}"/>
              </a:ext>
            </a:extLst>
          </p:cNvPr>
          <p:cNvSpPr/>
          <p:nvPr/>
        </p:nvSpPr>
        <p:spPr>
          <a:xfrm>
            <a:off x="630817" y="2156547"/>
            <a:ext cx="521195" cy="521195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>
              <a:solidFill>
                <a:schemeClr val="accent1"/>
              </a:solidFill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xmlns="" id="{74210B91-6D7C-4144-AA5B-C6071D0F6A19}"/>
              </a:ext>
            </a:extLst>
          </p:cNvPr>
          <p:cNvSpPr/>
          <p:nvPr/>
        </p:nvSpPr>
        <p:spPr>
          <a:xfrm>
            <a:off x="2017320" y="2146901"/>
            <a:ext cx="521194" cy="521195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>
              <a:solidFill>
                <a:schemeClr val="accent1"/>
              </a:solidFill>
            </a:endParaRPr>
          </a:p>
        </p:txBody>
      </p:sp>
      <p:sp>
        <p:nvSpPr>
          <p:cNvPr id="14" name="Rectangle 23">
            <a:extLst>
              <a:ext uri="{FF2B5EF4-FFF2-40B4-BE49-F238E27FC236}">
                <a16:creationId xmlns:a16="http://schemas.microsoft.com/office/drawing/2014/main" xmlns="" id="{28AF70AA-8FC1-44D1-B276-332D8FDCC9FC}"/>
              </a:ext>
            </a:extLst>
          </p:cNvPr>
          <p:cNvSpPr/>
          <p:nvPr/>
        </p:nvSpPr>
        <p:spPr>
          <a:xfrm>
            <a:off x="338692" y="1368225"/>
            <a:ext cx="4051207" cy="597429"/>
          </a:xfrm>
          <a:prstGeom prst="rect">
            <a:avLst/>
          </a:prstGeom>
          <a:solidFill>
            <a:schemeClr val="tx2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>
              <a:solidFill>
                <a:schemeClr val="accent1"/>
              </a:solidFill>
            </a:endParaRPr>
          </a:p>
        </p:txBody>
      </p:sp>
      <p:sp>
        <p:nvSpPr>
          <p:cNvPr id="16" name="Rectangle 25">
            <a:extLst>
              <a:ext uri="{FF2B5EF4-FFF2-40B4-BE49-F238E27FC236}">
                <a16:creationId xmlns:a16="http://schemas.microsoft.com/office/drawing/2014/main" xmlns="" id="{4BD397FB-34DB-4879-8CFB-638DC183EC88}"/>
              </a:ext>
            </a:extLst>
          </p:cNvPr>
          <p:cNvSpPr/>
          <p:nvPr/>
        </p:nvSpPr>
        <p:spPr>
          <a:xfrm>
            <a:off x="4638828" y="1368225"/>
            <a:ext cx="4049993" cy="597429"/>
          </a:xfrm>
          <a:prstGeom prst="rect">
            <a:avLst/>
          </a:prstGeom>
          <a:solidFill>
            <a:schemeClr val="tx2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>
              <a:solidFill>
                <a:schemeClr val="accent1"/>
              </a:solidFill>
            </a:endParaRPr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xmlns="" id="{45D7DBBC-B5BD-4BF5-ABA5-19F184CB84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692" y="1413344"/>
            <a:ext cx="4051207" cy="45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pt-BR" sz="2352" b="1" dirty="0">
                <a:solidFill>
                  <a:srgbClr val="FFFFFF"/>
                </a:solidFill>
                <a:latin typeface="+mn-lt"/>
              </a:rPr>
              <a:t>Estudantes do integral</a:t>
            </a:r>
          </a:p>
        </p:txBody>
      </p:sp>
      <p:sp>
        <p:nvSpPr>
          <p:cNvPr id="19" name="Rectangle 37">
            <a:extLst>
              <a:ext uri="{FF2B5EF4-FFF2-40B4-BE49-F238E27FC236}">
                <a16:creationId xmlns:a16="http://schemas.microsoft.com/office/drawing/2014/main" xmlns="" id="{A993065D-208B-4861-BF5D-8D6299A91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0588" y="1427345"/>
            <a:ext cx="4207809" cy="454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pt-BR" sz="2352" b="1" dirty="0">
                <a:solidFill>
                  <a:srgbClr val="FFFFFF"/>
                </a:solidFill>
                <a:latin typeface="+mn-lt"/>
              </a:rPr>
              <a:t>Estudantes das escolas parciais</a:t>
            </a:r>
          </a:p>
        </p:txBody>
      </p:sp>
      <p:sp>
        <p:nvSpPr>
          <p:cNvPr id="20" name="Rectangle 38">
            <a:extLst>
              <a:ext uri="{FF2B5EF4-FFF2-40B4-BE49-F238E27FC236}">
                <a16:creationId xmlns:a16="http://schemas.microsoft.com/office/drawing/2014/main" xmlns="" id="{7101AF86-C288-4431-A5F8-4BF7AB78E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129" y="2638780"/>
            <a:ext cx="751252" cy="5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pt-BR" sz="3136" dirty="0">
                <a:solidFill>
                  <a:schemeClr val="accent1"/>
                </a:solidFill>
                <a:latin typeface="+mn-lt"/>
              </a:rPr>
              <a:t>59</a:t>
            </a:r>
            <a:r>
              <a:rPr lang="en-US" altLang="pt-BR" sz="2352" dirty="0">
                <a:solidFill>
                  <a:schemeClr val="accent1"/>
                </a:solidFill>
                <a:latin typeface="+mn-lt"/>
              </a:rPr>
              <a:t>%</a:t>
            </a:r>
            <a:endParaRPr lang="en-US" altLang="pt-BR" sz="3136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21" name="Rectangle 39">
            <a:extLst>
              <a:ext uri="{FF2B5EF4-FFF2-40B4-BE49-F238E27FC236}">
                <a16:creationId xmlns:a16="http://schemas.microsoft.com/office/drawing/2014/main" xmlns="" id="{13EE020F-C409-44EB-90BB-309082B1BD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576" y="3205728"/>
            <a:ext cx="1138654" cy="935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BR" altLang="pt-BR" sz="1372" i="1" dirty="0">
                <a:solidFill>
                  <a:schemeClr val="accent1"/>
                </a:solidFill>
                <a:latin typeface="+mn-lt"/>
              </a:rPr>
              <a:t>Se dizem satisfeitos com sua escola</a:t>
            </a:r>
          </a:p>
        </p:txBody>
      </p:sp>
      <p:sp>
        <p:nvSpPr>
          <p:cNvPr id="24" name="Rectangle 42">
            <a:extLst>
              <a:ext uri="{FF2B5EF4-FFF2-40B4-BE49-F238E27FC236}">
                <a16:creationId xmlns:a16="http://schemas.microsoft.com/office/drawing/2014/main" xmlns="" id="{843466BF-AE97-423F-BFC3-CDCD793EF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623" y="2629134"/>
            <a:ext cx="826660" cy="5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pt-BR" sz="3136" dirty="0">
                <a:solidFill>
                  <a:schemeClr val="accent1"/>
                </a:solidFill>
                <a:latin typeface="+mn-lt"/>
              </a:rPr>
              <a:t>68%</a:t>
            </a:r>
          </a:p>
        </p:txBody>
      </p:sp>
      <p:sp>
        <p:nvSpPr>
          <p:cNvPr id="25" name="Rectangle 43">
            <a:extLst>
              <a:ext uri="{FF2B5EF4-FFF2-40B4-BE49-F238E27FC236}">
                <a16:creationId xmlns:a16="http://schemas.microsoft.com/office/drawing/2014/main" xmlns="" id="{0D9D4581-7781-4FBA-A6FC-2963B1DD9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29525" y="3162073"/>
            <a:ext cx="1209181" cy="935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BR" altLang="pt-BR" sz="1372" i="1" dirty="0">
                <a:solidFill>
                  <a:schemeClr val="accent1"/>
                </a:solidFill>
                <a:latin typeface="+mn-lt"/>
              </a:rPr>
              <a:t>Sentem que fazem parte das decisões da sua escola</a:t>
            </a:r>
          </a:p>
        </p:txBody>
      </p:sp>
      <p:pic>
        <p:nvPicPr>
          <p:cNvPr id="31" name="Picture 15">
            <a:extLst>
              <a:ext uri="{FF2B5EF4-FFF2-40B4-BE49-F238E27FC236}">
                <a16:creationId xmlns:a16="http://schemas.microsoft.com/office/drawing/2014/main" xmlns="" id="{FCC23BDB-2EAF-4134-B074-94BDCA5DA63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056" y="2252466"/>
            <a:ext cx="309605" cy="294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AutoShape 12" descr="Image result for add icon vector">
            <a:extLst>
              <a:ext uri="{FF2B5EF4-FFF2-40B4-BE49-F238E27FC236}">
                <a16:creationId xmlns:a16="http://schemas.microsoft.com/office/drawing/2014/main" xmlns="" id="{130D2928-1344-49FE-B2E9-E8B07B907DB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31362" y="3211380"/>
            <a:ext cx="298715" cy="298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4" tIns="44807" rIns="89614" bIns="44807" numCol="1" anchor="t" anchorCtr="0" compatLnSpc="1">
            <a:prstTxWarp prst="textNoShape">
              <a:avLst/>
            </a:prstTxWarp>
          </a:bodyPr>
          <a:lstStyle/>
          <a:p>
            <a:endParaRPr lang="pt-BR" sz="1568" dirty="0"/>
          </a:p>
        </p:txBody>
      </p:sp>
      <p:sp>
        <p:nvSpPr>
          <p:cNvPr id="62" name="AutoShape 16" descr="Image result for add icon vector">
            <a:extLst>
              <a:ext uri="{FF2B5EF4-FFF2-40B4-BE49-F238E27FC236}">
                <a16:creationId xmlns:a16="http://schemas.microsoft.com/office/drawing/2014/main" xmlns="" id="{843B89E1-B0F4-48D0-8E22-5FB277A7620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80719" y="3360737"/>
            <a:ext cx="298715" cy="298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4" tIns="44807" rIns="89614" bIns="44807" numCol="1" anchor="t" anchorCtr="0" compatLnSpc="1">
            <a:prstTxWarp prst="textNoShape">
              <a:avLst/>
            </a:prstTxWarp>
          </a:bodyPr>
          <a:lstStyle/>
          <a:p>
            <a:endParaRPr lang="pt-BR" sz="1568" dirty="0"/>
          </a:p>
        </p:txBody>
      </p:sp>
      <p:sp>
        <p:nvSpPr>
          <p:cNvPr id="61" name="Rectangle 38">
            <a:extLst>
              <a:ext uri="{FF2B5EF4-FFF2-40B4-BE49-F238E27FC236}">
                <a16:creationId xmlns:a16="http://schemas.microsoft.com/office/drawing/2014/main" xmlns="" id="{12D77484-240C-45C5-9D24-0F1E762087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0887" y="2630203"/>
            <a:ext cx="770104" cy="5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pt-BR" sz="3136" dirty="0">
                <a:solidFill>
                  <a:schemeClr val="accent1"/>
                </a:solidFill>
                <a:latin typeface="+mn-lt"/>
              </a:rPr>
              <a:t>40</a:t>
            </a:r>
            <a:r>
              <a:rPr lang="en-US" altLang="pt-BR" sz="2352" dirty="0">
                <a:solidFill>
                  <a:schemeClr val="accent1"/>
                </a:solidFill>
                <a:latin typeface="+mn-lt"/>
              </a:rPr>
              <a:t>%</a:t>
            </a:r>
            <a:endParaRPr lang="en-US" altLang="pt-BR" sz="3136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5" name="Rectangle 39">
            <a:extLst>
              <a:ext uri="{FF2B5EF4-FFF2-40B4-BE49-F238E27FC236}">
                <a16:creationId xmlns:a16="http://schemas.microsoft.com/office/drawing/2014/main" xmlns="" id="{7F977833-5741-49B1-84DE-08590A676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9996" y="3146730"/>
            <a:ext cx="992605" cy="935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BR" altLang="pt-BR" sz="1372" i="1" dirty="0">
                <a:solidFill>
                  <a:schemeClr val="accent1"/>
                </a:solidFill>
                <a:latin typeface="+mn-lt"/>
              </a:rPr>
              <a:t>Se dizem satisfeitos com sua escola</a:t>
            </a:r>
          </a:p>
        </p:txBody>
      </p:sp>
      <p:sp>
        <p:nvSpPr>
          <p:cNvPr id="81" name="Rectangle 40">
            <a:extLst>
              <a:ext uri="{FF2B5EF4-FFF2-40B4-BE49-F238E27FC236}">
                <a16:creationId xmlns:a16="http://schemas.microsoft.com/office/drawing/2014/main" xmlns="" id="{56AC58FF-1481-40E0-A110-68610667F1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28175" y="4928785"/>
            <a:ext cx="667989" cy="5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BR" altLang="pt-BR" sz="3136" dirty="0">
                <a:solidFill>
                  <a:schemeClr val="accent1"/>
                </a:solidFill>
                <a:latin typeface="+mn-lt"/>
              </a:rPr>
              <a:t>2/3</a:t>
            </a:r>
          </a:p>
        </p:txBody>
      </p:sp>
      <p:sp>
        <p:nvSpPr>
          <p:cNvPr id="74" name="Rectangle 42">
            <a:extLst>
              <a:ext uri="{FF2B5EF4-FFF2-40B4-BE49-F238E27FC236}">
                <a16:creationId xmlns:a16="http://schemas.microsoft.com/office/drawing/2014/main" xmlns="" id="{B7E3C865-323F-4E74-94F3-613B688B07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4844" y="2626126"/>
            <a:ext cx="788956" cy="5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pt-BR" sz="3136" dirty="0">
                <a:solidFill>
                  <a:schemeClr val="accent1"/>
                </a:solidFill>
                <a:latin typeface="+mn-lt"/>
              </a:rPr>
              <a:t>47%</a:t>
            </a:r>
          </a:p>
        </p:txBody>
      </p:sp>
      <p:sp>
        <p:nvSpPr>
          <p:cNvPr id="79" name="Rectangle 43">
            <a:extLst>
              <a:ext uri="{FF2B5EF4-FFF2-40B4-BE49-F238E27FC236}">
                <a16:creationId xmlns:a16="http://schemas.microsoft.com/office/drawing/2014/main" xmlns="" id="{3A8C0A36-6C92-4A71-810E-F680D3EC27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747" y="3185040"/>
            <a:ext cx="1207664" cy="935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BR" altLang="pt-BR" sz="1372" i="1" dirty="0">
                <a:solidFill>
                  <a:schemeClr val="accent1"/>
                </a:solidFill>
                <a:latin typeface="+mn-lt"/>
              </a:rPr>
              <a:t>Sentem que fazem parte das decisões da sua escola</a:t>
            </a:r>
          </a:p>
        </p:txBody>
      </p:sp>
      <p:sp>
        <p:nvSpPr>
          <p:cNvPr id="85" name="Oval 20">
            <a:extLst>
              <a:ext uri="{FF2B5EF4-FFF2-40B4-BE49-F238E27FC236}">
                <a16:creationId xmlns:a16="http://schemas.microsoft.com/office/drawing/2014/main" xmlns="" id="{8EA9D280-2163-4D6F-9656-CFE8CF1D61B1}"/>
              </a:ext>
            </a:extLst>
          </p:cNvPr>
          <p:cNvSpPr/>
          <p:nvPr/>
        </p:nvSpPr>
        <p:spPr>
          <a:xfrm>
            <a:off x="3385884" y="2157246"/>
            <a:ext cx="521194" cy="521195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>
              <a:solidFill>
                <a:schemeClr val="accent1"/>
              </a:solidFill>
            </a:endParaRPr>
          </a:p>
        </p:txBody>
      </p:sp>
      <p:sp>
        <p:nvSpPr>
          <p:cNvPr id="86" name="Rectangle 42">
            <a:extLst>
              <a:ext uri="{FF2B5EF4-FFF2-40B4-BE49-F238E27FC236}">
                <a16:creationId xmlns:a16="http://schemas.microsoft.com/office/drawing/2014/main" xmlns="" id="{AFF0DA48-F97B-45A0-A491-2EFA8A1397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9188" y="2639479"/>
            <a:ext cx="801524" cy="5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pt-BR" sz="3136" dirty="0">
                <a:solidFill>
                  <a:schemeClr val="accent1"/>
                </a:solidFill>
                <a:latin typeface="+mn-lt"/>
              </a:rPr>
              <a:t>59%</a:t>
            </a:r>
          </a:p>
        </p:txBody>
      </p:sp>
      <p:sp>
        <p:nvSpPr>
          <p:cNvPr id="87" name="Rectangle 43">
            <a:extLst>
              <a:ext uri="{FF2B5EF4-FFF2-40B4-BE49-F238E27FC236}">
                <a16:creationId xmlns:a16="http://schemas.microsoft.com/office/drawing/2014/main" xmlns="" id="{786A58A6-57A4-4A95-BBEE-44C5A9C725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8090" y="3172418"/>
            <a:ext cx="1374172" cy="1146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BR" altLang="pt-BR" sz="1372" i="1" dirty="0">
                <a:solidFill>
                  <a:schemeClr val="accent1"/>
                </a:solidFill>
                <a:latin typeface="+mn-lt"/>
              </a:rPr>
              <a:t>Dizem que professores demonstram confiança na sua capacidade</a:t>
            </a:r>
          </a:p>
        </p:txBody>
      </p:sp>
      <p:sp>
        <p:nvSpPr>
          <p:cNvPr id="90" name="Rectangle 42">
            <a:extLst>
              <a:ext uri="{FF2B5EF4-FFF2-40B4-BE49-F238E27FC236}">
                <a16:creationId xmlns:a16="http://schemas.microsoft.com/office/drawing/2014/main" xmlns="" id="{B4AD61E3-6F88-4CBB-AE45-0A5E5F42B0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0049" y="2630072"/>
            <a:ext cx="814092" cy="5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pt-BR" sz="3136" dirty="0">
                <a:solidFill>
                  <a:schemeClr val="accent1"/>
                </a:solidFill>
                <a:latin typeface="+mn-lt"/>
              </a:rPr>
              <a:t>44%</a:t>
            </a:r>
          </a:p>
        </p:txBody>
      </p:sp>
      <p:sp>
        <p:nvSpPr>
          <p:cNvPr id="91" name="Rectangle 43">
            <a:extLst>
              <a:ext uri="{FF2B5EF4-FFF2-40B4-BE49-F238E27FC236}">
                <a16:creationId xmlns:a16="http://schemas.microsoft.com/office/drawing/2014/main" xmlns="" id="{B657F2F8-0951-4168-8BB6-4EA0EDB619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8951" y="3163010"/>
            <a:ext cx="1374172" cy="1146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BR" altLang="pt-BR" sz="1372" i="1" dirty="0">
                <a:solidFill>
                  <a:schemeClr val="accent1"/>
                </a:solidFill>
                <a:latin typeface="+mn-lt"/>
              </a:rPr>
              <a:t>Dizem que professores demonstram confiança na sua capacidade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xmlns="" id="{084C5A5E-629A-4DA5-8E99-FC23E75B47D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3286"/>
          <a:stretch/>
        </p:blipFill>
        <p:spPr>
          <a:xfrm>
            <a:off x="3441249" y="2240416"/>
            <a:ext cx="427029" cy="370291"/>
          </a:xfrm>
          <a:prstGeom prst="rect">
            <a:avLst/>
          </a:prstGeom>
        </p:spPr>
      </p:pic>
      <p:sp>
        <p:nvSpPr>
          <p:cNvPr id="96" name="Oval 1">
            <a:extLst>
              <a:ext uri="{FF2B5EF4-FFF2-40B4-BE49-F238E27FC236}">
                <a16:creationId xmlns:a16="http://schemas.microsoft.com/office/drawing/2014/main" xmlns="" id="{40EAE8CA-69CB-4F6C-B2AA-191E2392065B}"/>
              </a:ext>
            </a:extLst>
          </p:cNvPr>
          <p:cNvSpPr/>
          <p:nvPr/>
        </p:nvSpPr>
        <p:spPr>
          <a:xfrm>
            <a:off x="4858884" y="2162864"/>
            <a:ext cx="521195" cy="521195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>
              <a:solidFill>
                <a:schemeClr val="accent1"/>
              </a:solidFill>
            </a:endParaRPr>
          </a:p>
        </p:txBody>
      </p:sp>
      <p:sp>
        <p:nvSpPr>
          <p:cNvPr id="97" name="Oval 20">
            <a:extLst>
              <a:ext uri="{FF2B5EF4-FFF2-40B4-BE49-F238E27FC236}">
                <a16:creationId xmlns:a16="http://schemas.microsoft.com/office/drawing/2014/main" xmlns="" id="{9EDE5EA2-0CD4-48DC-AE7E-4EC9961A317E}"/>
              </a:ext>
            </a:extLst>
          </p:cNvPr>
          <p:cNvSpPr/>
          <p:nvPr/>
        </p:nvSpPr>
        <p:spPr>
          <a:xfrm>
            <a:off x="6245386" y="2153217"/>
            <a:ext cx="521194" cy="521195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>
              <a:solidFill>
                <a:schemeClr val="accent1"/>
              </a:solidFill>
            </a:endParaRPr>
          </a:p>
        </p:txBody>
      </p:sp>
      <p:pic>
        <p:nvPicPr>
          <p:cNvPr id="98" name="Picture 15">
            <a:extLst>
              <a:ext uri="{FF2B5EF4-FFF2-40B4-BE49-F238E27FC236}">
                <a16:creationId xmlns:a16="http://schemas.microsoft.com/office/drawing/2014/main" xmlns="" id="{F2980D68-3A7B-4DEB-BEE2-CCAA33363E2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3122" y="2258782"/>
            <a:ext cx="309605" cy="294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9" name="Oval 20">
            <a:extLst>
              <a:ext uri="{FF2B5EF4-FFF2-40B4-BE49-F238E27FC236}">
                <a16:creationId xmlns:a16="http://schemas.microsoft.com/office/drawing/2014/main" xmlns="" id="{CAF27514-78A8-4C54-93AD-43D4935187A5}"/>
              </a:ext>
            </a:extLst>
          </p:cNvPr>
          <p:cNvSpPr/>
          <p:nvPr/>
        </p:nvSpPr>
        <p:spPr>
          <a:xfrm>
            <a:off x="7613951" y="2163562"/>
            <a:ext cx="521194" cy="521195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>
              <a:solidFill>
                <a:schemeClr val="accent1"/>
              </a:solidFill>
            </a:endParaRPr>
          </a:p>
        </p:txBody>
      </p:sp>
      <p:pic>
        <p:nvPicPr>
          <p:cNvPr id="101" name="Imagem 100">
            <a:extLst>
              <a:ext uri="{FF2B5EF4-FFF2-40B4-BE49-F238E27FC236}">
                <a16:creationId xmlns:a16="http://schemas.microsoft.com/office/drawing/2014/main" xmlns="" id="{8F7FA70E-4E6B-49D7-9A80-393BB2D6374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3286"/>
          <a:stretch/>
        </p:blipFill>
        <p:spPr>
          <a:xfrm>
            <a:off x="7669316" y="2246732"/>
            <a:ext cx="427029" cy="370291"/>
          </a:xfrm>
          <a:prstGeom prst="rect">
            <a:avLst/>
          </a:prstGeom>
        </p:spPr>
      </p:pic>
      <p:sp>
        <p:nvSpPr>
          <p:cNvPr id="111" name="Hexagon 11">
            <a:extLst>
              <a:ext uri="{FF2B5EF4-FFF2-40B4-BE49-F238E27FC236}">
                <a16:creationId xmlns:a16="http://schemas.microsoft.com/office/drawing/2014/main" xmlns="" id="{2BDE4188-80A9-4EA2-89F2-4AB27A36B089}"/>
              </a:ext>
            </a:extLst>
          </p:cNvPr>
          <p:cNvSpPr/>
          <p:nvPr/>
        </p:nvSpPr>
        <p:spPr>
          <a:xfrm rot="5400000">
            <a:off x="365325" y="4385642"/>
            <a:ext cx="1887547" cy="1827569"/>
          </a:xfrm>
          <a:prstGeom prst="hexagon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/>
          </a:p>
        </p:txBody>
      </p:sp>
      <p:sp>
        <p:nvSpPr>
          <p:cNvPr id="112" name="TextBox 45">
            <a:extLst>
              <a:ext uri="{FF2B5EF4-FFF2-40B4-BE49-F238E27FC236}">
                <a16:creationId xmlns:a16="http://schemas.microsoft.com/office/drawing/2014/main" xmlns="" id="{E007B0EB-5358-4B68-B729-E9EE6E072D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783" y="4706023"/>
            <a:ext cx="1499981" cy="1122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pt-BR" altLang="pt-BR" sz="2744" b="1" i="1" dirty="0">
                <a:solidFill>
                  <a:srgbClr val="FFFFFF"/>
                </a:solidFill>
                <a:latin typeface="+mn-lt"/>
              </a:rPr>
              <a:t>79% </a:t>
            </a:r>
            <a:r>
              <a:rPr lang="pt-BR" altLang="pt-BR" sz="1568" b="1" i="1" dirty="0">
                <a:solidFill>
                  <a:srgbClr val="FFFFFF"/>
                </a:solidFill>
                <a:latin typeface="+mn-lt"/>
              </a:rPr>
              <a:t>recomendariam a escola para seus amigos</a:t>
            </a:r>
          </a:p>
        </p:txBody>
      </p:sp>
      <p:sp>
        <p:nvSpPr>
          <p:cNvPr id="113" name="Hexagon 46">
            <a:extLst>
              <a:ext uri="{FF2B5EF4-FFF2-40B4-BE49-F238E27FC236}">
                <a16:creationId xmlns:a16="http://schemas.microsoft.com/office/drawing/2014/main" xmlns="" id="{B3B03938-228F-4D64-AA87-0A361630A105}"/>
              </a:ext>
            </a:extLst>
          </p:cNvPr>
          <p:cNvSpPr/>
          <p:nvPr/>
        </p:nvSpPr>
        <p:spPr>
          <a:xfrm rot="5400000">
            <a:off x="2392878" y="4383106"/>
            <a:ext cx="1891075" cy="1827569"/>
          </a:xfrm>
          <a:prstGeom prst="hexagon">
            <a:avLst/>
          </a:prstGeom>
          <a:solidFill>
            <a:schemeClr val="tx2"/>
          </a:solidFill>
          <a:ln w="127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/>
          </a:p>
        </p:txBody>
      </p:sp>
      <p:sp>
        <p:nvSpPr>
          <p:cNvPr id="114" name="TextBox 48">
            <a:extLst>
              <a:ext uri="{FF2B5EF4-FFF2-40B4-BE49-F238E27FC236}">
                <a16:creationId xmlns:a16="http://schemas.microsoft.com/office/drawing/2014/main" xmlns="" id="{E9B50A99-683F-4C11-BC58-BAF813D171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3395" y="4491533"/>
            <a:ext cx="1827569" cy="1393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pt-BR" altLang="pt-BR" sz="3136" b="1" i="1" dirty="0">
                <a:solidFill>
                  <a:srgbClr val="FFFFFF"/>
                </a:solidFill>
                <a:latin typeface="+mn-lt"/>
              </a:rPr>
              <a:t>62%</a:t>
            </a:r>
            <a:r>
              <a:rPr lang="pt-BR" altLang="pt-BR" sz="2352" b="1" i="1" dirty="0">
                <a:solidFill>
                  <a:srgbClr val="FFFFFF"/>
                </a:solidFill>
                <a:latin typeface="+mn-lt"/>
              </a:rPr>
              <a:t> </a:t>
            </a:r>
          </a:p>
          <a:p>
            <a:pPr algn="ctr" eaLnBrk="1" hangingPunct="1">
              <a:lnSpc>
                <a:spcPct val="90000"/>
              </a:lnSpc>
            </a:pPr>
            <a:r>
              <a:rPr lang="pt-BR" altLang="pt-BR" sz="1568" b="1" i="1" dirty="0">
                <a:solidFill>
                  <a:srgbClr val="FFFFFF"/>
                </a:solidFill>
                <a:latin typeface="+mn-lt"/>
              </a:rPr>
              <a:t>consideram a qualidade dos professores melhor do que esperava</a:t>
            </a:r>
          </a:p>
        </p:txBody>
      </p:sp>
      <p:sp>
        <p:nvSpPr>
          <p:cNvPr id="133" name="Hexagon 11">
            <a:extLst>
              <a:ext uri="{FF2B5EF4-FFF2-40B4-BE49-F238E27FC236}">
                <a16:creationId xmlns:a16="http://schemas.microsoft.com/office/drawing/2014/main" xmlns="" id="{57DEA2EA-7918-43C2-AF2A-03FCBF328C04}"/>
              </a:ext>
            </a:extLst>
          </p:cNvPr>
          <p:cNvSpPr/>
          <p:nvPr/>
        </p:nvSpPr>
        <p:spPr>
          <a:xfrm rot="5400000">
            <a:off x="4669289" y="4393097"/>
            <a:ext cx="1887547" cy="1827569"/>
          </a:xfrm>
          <a:prstGeom prst="hexagon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/>
          </a:p>
        </p:txBody>
      </p:sp>
      <p:sp>
        <p:nvSpPr>
          <p:cNvPr id="134" name="TextBox 45">
            <a:extLst>
              <a:ext uri="{FF2B5EF4-FFF2-40B4-BE49-F238E27FC236}">
                <a16:creationId xmlns:a16="http://schemas.microsoft.com/office/drawing/2014/main" xmlns="" id="{0973FE5D-C0AC-46AC-9340-93D45BC028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79685" y="4529998"/>
            <a:ext cx="1666755" cy="1556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pt-BR" sz="2744" b="1" i="1" dirty="0">
                <a:solidFill>
                  <a:srgbClr val="FFFFFF"/>
                </a:solidFill>
                <a:latin typeface="+mn-lt"/>
              </a:rPr>
              <a:t>47% </a:t>
            </a:r>
          </a:p>
          <a:p>
            <a:pPr algn="ctr" eaLnBrk="1" hangingPunct="1">
              <a:lnSpc>
                <a:spcPct val="90000"/>
              </a:lnSpc>
            </a:pPr>
            <a:r>
              <a:rPr lang="pt-BR" altLang="pt-BR" sz="1568" b="1" i="1" dirty="0">
                <a:solidFill>
                  <a:srgbClr val="FFFFFF"/>
                </a:solidFill>
                <a:latin typeface="+mn-lt"/>
              </a:rPr>
              <a:t>dos alunos do 9º EF que conhecem o integral consideraria se matricular</a:t>
            </a:r>
            <a:endParaRPr lang="pt-BR" altLang="pt-BR" sz="1176" b="1" i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5" name="Hexagon 46">
            <a:extLst>
              <a:ext uri="{FF2B5EF4-FFF2-40B4-BE49-F238E27FC236}">
                <a16:creationId xmlns:a16="http://schemas.microsoft.com/office/drawing/2014/main" xmlns="" id="{333FC921-EB7D-44B8-95AC-7B7CF86AD8E9}"/>
              </a:ext>
            </a:extLst>
          </p:cNvPr>
          <p:cNvSpPr/>
          <p:nvPr/>
        </p:nvSpPr>
        <p:spPr>
          <a:xfrm rot="5400000">
            <a:off x="6701732" y="4386427"/>
            <a:ext cx="1885823" cy="1827723"/>
          </a:xfrm>
          <a:prstGeom prst="hexagon">
            <a:avLst/>
          </a:prstGeom>
          <a:solidFill>
            <a:schemeClr val="tx2"/>
          </a:solidFill>
          <a:ln w="127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/>
          </a:p>
        </p:txBody>
      </p:sp>
      <p:sp>
        <p:nvSpPr>
          <p:cNvPr id="136" name="TextBox 48">
            <a:extLst>
              <a:ext uri="{FF2B5EF4-FFF2-40B4-BE49-F238E27FC236}">
                <a16:creationId xmlns:a16="http://schemas.microsoft.com/office/drawing/2014/main" xmlns="" id="{B74EB56C-6071-4D37-9149-D7C676DFC3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77028" y="4460635"/>
            <a:ext cx="1924900" cy="1556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pt-BR" altLang="pt-BR" sz="2744" b="1" i="1" dirty="0">
                <a:solidFill>
                  <a:srgbClr val="FFFFFF"/>
                </a:solidFill>
                <a:latin typeface="+mn-lt"/>
              </a:rPr>
              <a:t>54% </a:t>
            </a:r>
          </a:p>
          <a:p>
            <a:pPr algn="ctr" eaLnBrk="1" hangingPunct="1">
              <a:lnSpc>
                <a:spcPct val="90000"/>
              </a:lnSpc>
            </a:pPr>
            <a:r>
              <a:rPr lang="pt-BR" altLang="pt-BR" sz="1568" b="1" i="1" dirty="0">
                <a:solidFill>
                  <a:srgbClr val="FFFFFF"/>
                </a:solidFill>
                <a:latin typeface="+mn-lt"/>
              </a:rPr>
              <a:t>dos alunos do 2º EM que conhecem alguém do integral tem impressões positivas</a:t>
            </a:r>
            <a:endParaRPr lang="pt-BR" altLang="pt-BR" sz="1176" b="1" i="1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xmlns="" id="{97CAEDE8-C97E-4899-9C12-A486CBB3E2A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3289"/>
          <a:stretch/>
        </p:blipFill>
        <p:spPr>
          <a:xfrm>
            <a:off x="2076715" y="2246732"/>
            <a:ext cx="402403" cy="348927"/>
          </a:xfrm>
          <a:prstGeom prst="rect">
            <a:avLst/>
          </a:prstGeom>
        </p:spPr>
      </p:pic>
      <p:pic>
        <p:nvPicPr>
          <p:cNvPr id="137" name="Imagem 136">
            <a:extLst>
              <a:ext uri="{FF2B5EF4-FFF2-40B4-BE49-F238E27FC236}">
                <a16:creationId xmlns:a16="http://schemas.microsoft.com/office/drawing/2014/main" xmlns="" id="{B869543B-41E4-49DC-85C5-065534FC2CD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3289"/>
          <a:stretch/>
        </p:blipFill>
        <p:spPr>
          <a:xfrm>
            <a:off x="6308120" y="2253116"/>
            <a:ext cx="402403" cy="348927"/>
          </a:xfrm>
          <a:prstGeom prst="rect">
            <a:avLst/>
          </a:prstGeom>
        </p:spPr>
      </p:pic>
      <p:sp>
        <p:nvSpPr>
          <p:cNvPr id="47" name="CaixaDeTexto 46">
            <a:extLst>
              <a:ext uri="{FF2B5EF4-FFF2-40B4-BE49-F238E27FC236}">
                <a16:creationId xmlns:a16="http://schemas.microsoft.com/office/drawing/2014/main" xmlns="" id="{ABFB11C1-61D3-4D92-8F8C-0DC770964C0A}"/>
              </a:ext>
            </a:extLst>
          </p:cNvPr>
          <p:cNvSpPr txBox="1"/>
          <p:nvPr/>
        </p:nvSpPr>
        <p:spPr>
          <a:xfrm>
            <a:off x="364059" y="6336791"/>
            <a:ext cx="77322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pt-BR" dirty="0">
                <a:solidFill>
                  <a:schemeClr val="tx2"/>
                </a:solidFill>
                <a:latin typeface="+mj-lt"/>
              </a:rPr>
              <a:t>Fonte: Pesquisa Plano CDE; Pesquisa realizada em 7 Estados com 205 participantes da etapa qualitativa e 2300 da quantitativa*</a:t>
            </a:r>
          </a:p>
          <a:p>
            <a:endParaRPr lang="pt-BR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3106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8" name="Rectangle 17"/>
          <p:cNvSpPr>
            <a:spLocks noGrp="1" noChangeArrowheads="1"/>
          </p:cNvSpPr>
          <p:nvPr>
            <p:ph type="ctrTitle"/>
          </p:nvPr>
        </p:nvSpPr>
        <p:spPr>
          <a:xfrm>
            <a:off x="363706" y="275358"/>
            <a:ext cx="8384509" cy="528182"/>
          </a:xfrm>
        </p:spPr>
        <p:txBody>
          <a:bodyPr>
            <a:normAutofit fontScale="90000"/>
          </a:bodyPr>
          <a:lstStyle/>
          <a:p>
            <a:r>
              <a:rPr lang="pt-BR" altLang="en-US" dirty="0"/>
              <a:t>As ESCOLAS INTEGRAIS PODEM RESIGNIFICAR O ENSINO MÉDIO PARA OS JOVENS  </a:t>
            </a:r>
            <a:endParaRPr lang="en-GB" alt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827583E-0A9D-4FD4-8889-DDBCF82D3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xmlns="" id="{8E031AAE-8F95-4A29-B56A-319B451D3D0F}"/>
              </a:ext>
            </a:extLst>
          </p:cNvPr>
          <p:cNvSpPr>
            <a:spLocks/>
          </p:cNvSpPr>
          <p:nvPr/>
        </p:nvSpPr>
        <p:spPr bwMode="auto">
          <a:xfrm>
            <a:off x="1526998" y="1772431"/>
            <a:ext cx="2482189" cy="1799839"/>
          </a:xfrm>
          <a:custGeom>
            <a:avLst/>
            <a:gdLst>
              <a:gd name="T0" fmla="*/ 859783 w 1612"/>
              <a:gd name="T1" fmla="*/ 1712718 h 1386"/>
              <a:gd name="T2" fmla="*/ 879605 w 1612"/>
              <a:gd name="T3" fmla="*/ 1705282 h 1386"/>
              <a:gd name="T4" fmla="*/ 884561 w 1612"/>
              <a:gd name="T5" fmla="*/ 1702803 h 1386"/>
              <a:gd name="T6" fmla="*/ 891994 w 1612"/>
              <a:gd name="T7" fmla="*/ 1697846 h 1386"/>
              <a:gd name="T8" fmla="*/ 896949 w 1612"/>
              <a:gd name="T9" fmla="*/ 1695368 h 1386"/>
              <a:gd name="T10" fmla="*/ 904383 w 1612"/>
              <a:gd name="T11" fmla="*/ 1687932 h 1386"/>
              <a:gd name="T12" fmla="*/ 909338 w 1612"/>
              <a:gd name="T13" fmla="*/ 1685453 h 1386"/>
              <a:gd name="T14" fmla="*/ 911816 w 1612"/>
              <a:gd name="T15" fmla="*/ 1678017 h 1386"/>
              <a:gd name="T16" fmla="*/ 914294 w 1612"/>
              <a:gd name="T17" fmla="*/ 1675539 h 1386"/>
              <a:gd name="T18" fmla="*/ 916771 w 1612"/>
              <a:gd name="T19" fmla="*/ 1668103 h 1386"/>
              <a:gd name="T20" fmla="*/ 916771 w 1612"/>
              <a:gd name="T21" fmla="*/ 1663146 h 1386"/>
              <a:gd name="T22" fmla="*/ 887038 w 1612"/>
              <a:gd name="T23" fmla="*/ 1606138 h 1386"/>
              <a:gd name="T24" fmla="*/ 822617 w 1612"/>
              <a:gd name="T25" fmla="*/ 1554087 h 1386"/>
              <a:gd name="T26" fmla="*/ 817661 w 1612"/>
              <a:gd name="T27" fmla="*/ 1526822 h 1386"/>
              <a:gd name="T28" fmla="*/ 837483 w 1612"/>
              <a:gd name="T29" fmla="*/ 1479729 h 1386"/>
              <a:gd name="T30" fmla="*/ 944027 w 1612"/>
              <a:gd name="T31" fmla="*/ 1427678 h 1386"/>
              <a:gd name="T32" fmla="*/ 1048093 w 1612"/>
              <a:gd name="T33" fmla="*/ 1427678 h 1386"/>
              <a:gd name="T34" fmla="*/ 1154636 w 1612"/>
              <a:gd name="T35" fmla="*/ 1479729 h 1386"/>
              <a:gd name="T36" fmla="*/ 1174458 w 1612"/>
              <a:gd name="T37" fmla="*/ 1526822 h 1386"/>
              <a:gd name="T38" fmla="*/ 1169503 w 1612"/>
              <a:gd name="T39" fmla="*/ 1554087 h 1386"/>
              <a:gd name="T40" fmla="*/ 1107559 w 1612"/>
              <a:gd name="T41" fmla="*/ 1606138 h 1386"/>
              <a:gd name="T42" fmla="*/ 1075348 w 1612"/>
              <a:gd name="T43" fmla="*/ 1663146 h 1386"/>
              <a:gd name="T44" fmla="*/ 1075348 w 1612"/>
              <a:gd name="T45" fmla="*/ 1668103 h 1386"/>
              <a:gd name="T46" fmla="*/ 1077826 w 1612"/>
              <a:gd name="T47" fmla="*/ 1675539 h 1386"/>
              <a:gd name="T48" fmla="*/ 1080304 w 1612"/>
              <a:gd name="T49" fmla="*/ 1678017 h 1386"/>
              <a:gd name="T50" fmla="*/ 1085259 w 1612"/>
              <a:gd name="T51" fmla="*/ 1685453 h 1386"/>
              <a:gd name="T52" fmla="*/ 1087737 w 1612"/>
              <a:gd name="T53" fmla="*/ 1687932 h 1386"/>
              <a:gd name="T54" fmla="*/ 1095170 w 1612"/>
              <a:gd name="T55" fmla="*/ 1695368 h 1386"/>
              <a:gd name="T56" fmla="*/ 1100126 w 1612"/>
              <a:gd name="T57" fmla="*/ 1697846 h 1386"/>
              <a:gd name="T58" fmla="*/ 1107559 w 1612"/>
              <a:gd name="T59" fmla="*/ 1702803 h 1386"/>
              <a:gd name="T60" fmla="*/ 1112514 w 1612"/>
              <a:gd name="T61" fmla="*/ 1705282 h 1386"/>
              <a:gd name="T62" fmla="*/ 1132337 w 1612"/>
              <a:gd name="T63" fmla="*/ 1712718 h 1386"/>
              <a:gd name="T64" fmla="*/ 1637800 w 1612"/>
              <a:gd name="T65" fmla="*/ 1452464 h 1386"/>
              <a:gd name="T66" fmla="*/ 1642755 w 1612"/>
              <a:gd name="T67" fmla="*/ 1368191 h 1386"/>
              <a:gd name="T68" fmla="*/ 1603111 w 1612"/>
              <a:gd name="T69" fmla="*/ 1338448 h 1386"/>
              <a:gd name="T70" fmla="*/ 1526300 w 1612"/>
              <a:gd name="T71" fmla="*/ 1368191 h 1386"/>
              <a:gd name="T72" fmla="*/ 1461879 w 1612"/>
              <a:gd name="T73" fmla="*/ 1365713 h 1386"/>
              <a:gd name="T74" fmla="*/ 1429668 w 1612"/>
              <a:gd name="T75" fmla="*/ 1326055 h 1386"/>
              <a:gd name="T76" fmla="*/ 1439579 w 1612"/>
              <a:gd name="T77" fmla="*/ 1207082 h 1386"/>
              <a:gd name="T78" fmla="*/ 1491612 w 1612"/>
              <a:gd name="T79" fmla="*/ 1117852 h 1386"/>
              <a:gd name="T80" fmla="*/ 1588245 w 1612"/>
              <a:gd name="T81" fmla="*/ 1050930 h 1386"/>
              <a:gd name="T82" fmla="*/ 1640277 w 1612"/>
              <a:gd name="T83" fmla="*/ 1058365 h 1386"/>
              <a:gd name="T84" fmla="*/ 1672488 w 1612"/>
              <a:gd name="T85" fmla="*/ 1115373 h 1386"/>
              <a:gd name="T86" fmla="*/ 1687355 w 1612"/>
              <a:gd name="T87" fmla="*/ 1194689 h 1386"/>
              <a:gd name="T88" fmla="*/ 1731955 w 1612"/>
              <a:gd name="T89" fmla="*/ 1214518 h 1386"/>
              <a:gd name="T90" fmla="*/ 1979731 w 1612"/>
              <a:gd name="T91" fmla="*/ 862555 h 1386"/>
              <a:gd name="T92" fmla="*/ 1774077 w 1612"/>
              <a:gd name="T93" fmla="*/ 473414 h 1386"/>
              <a:gd name="T94" fmla="*/ 1791421 w 1612"/>
              <a:gd name="T95" fmla="*/ 423842 h 1386"/>
              <a:gd name="T96" fmla="*/ 1858320 w 1612"/>
              <a:gd name="T97" fmla="*/ 421363 h 1386"/>
              <a:gd name="T98" fmla="*/ 1935131 w 1612"/>
              <a:gd name="T99" fmla="*/ 451107 h 1386"/>
              <a:gd name="T100" fmla="*/ 1977253 w 1612"/>
              <a:gd name="T101" fmla="*/ 428799 h 1386"/>
              <a:gd name="T102" fmla="*/ 1997075 w 1612"/>
              <a:gd name="T103" fmla="*/ 366834 h 1386"/>
              <a:gd name="T104" fmla="*/ 1959909 w 1612"/>
              <a:gd name="T105" fmla="*/ 245382 h 1386"/>
              <a:gd name="T106" fmla="*/ 1858320 w 1612"/>
              <a:gd name="T107" fmla="*/ 143759 h 1386"/>
              <a:gd name="T108" fmla="*/ 1793899 w 1612"/>
              <a:gd name="T109" fmla="*/ 136323 h 1386"/>
              <a:gd name="T110" fmla="*/ 1754254 w 1612"/>
              <a:gd name="T111" fmla="*/ 171024 h 1386"/>
              <a:gd name="T112" fmla="*/ 1749299 w 1612"/>
              <a:gd name="T113" fmla="*/ 225553 h 1386"/>
              <a:gd name="T114" fmla="*/ 1724521 w 1612"/>
              <a:gd name="T115" fmla="*/ 289997 h 1386"/>
              <a:gd name="T116" fmla="*/ 1684877 w 1612"/>
              <a:gd name="T117" fmla="*/ 297433 h 1386"/>
              <a:gd name="T118" fmla="*/ 495552 w 1612"/>
              <a:gd name="T119" fmla="*/ 0 h 138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612" h="1386">
                <a:moveTo>
                  <a:pt x="674" y="1382"/>
                </a:moveTo>
                <a:lnTo>
                  <a:pt x="674" y="1382"/>
                </a:lnTo>
                <a:lnTo>
                  <a:pt x="670" y="1382"/>
                </a:lnTo>
                <a:lnTo>
                  <a:pt x="694" y="1382"/>
                </a:lnTo>
                <a:lnTo>
                  <a:pt x="706" y="1378"/>
                </a:lnTo>
                <a:lnTo>
                  <a:pt x="708" y="1378"/>
                </a:lnTo>
                <a:lnTo>
                  <a:pt x="710" y="1376"/>
                </a:lnTo>
                <a:lnTo>
                  <a:pt x="712" y="1374"/>
                </a:lnTo>
                <a:lnTo>
                  <a:pt x="714" y="1374"/>
                </a:lnTo>
                <a:lnTo>
                  <a:pt x="716" y="1372"/>
                </a:lnTo>
                <a:lnTo>
                  <a:pt x="718" y="1372"/>
                </a:lnTo>
                <a:lnTo>
                  <a:pt x="720" y="1370"/>
                </a:lnTo>
                <a:lnTo>
                  <a:pt x="722" y="1368"/>
                </a:lnTo>
                <a:lnTo>
                  <a:pt x="724" y="1368"/>
                </a:lnTo>
                <a:lnTo>
                  <a:pt x="726" y="1366"/>
                </a:lnTo>
                <a:lnTo>
                  <a:pt x="730" y="1364"/>
                </a:lnTo>
                <a:lnTo>
                  <a:pt x="730" y="1362"/>
                </a:lnTo>
                <a:lnTo>
                  <a:pt x="732" y="1360"/>
                </a:lnTo>
                <a:lnTo>
                  <a:pt x="734" y="1360"/>
                </a:lnTo>
                <a:lnTo>
                  <a:pt x="734" y="1358"/>
                </a:lnTo>
                <a:lnTo>
                  <a:pt x="736" y="1356"/>
                </a:lnTo>
                <a:lnTo>
                  <a:pt x="736" y="1354"/>
                </a:lnTo>
                <a:lnTo>
                  <a:pt x="738" y="1354"/>
                </a:lnTo>
                <a:lnTo>
                  <a:pt x="738" y="1352"/>
                </a:lnTo>
                <a:lnTo>
                  <a:pt x="740" y="1350"/>
                </a:lnTo>
                <a:lnTo>
                  <a:pt x="740" y="1348"/>
                </a:lnTo>
                <a:lnTo>
                  <a:pt x="740" y="1346"/>
                </a:lnTo>
                <a:lnTo>
                  <a:pt x="740" y="1342"/>
                </a:lnTo>
                <a:lnTo>
                  <a:pt x="740" y="1330"/>
                </a:lnTo>
                <a:lnTo>
                  <a:pt x="736" y="1320"/>
                </a:lnTo>
                <a:lnTo>
                  <a:pt x="734" y="1312"/>
                </a:lnTo>
                <a:lnTo>
                  <a:pt x="728" y="1306"/>
                </a:lnTo>
                <a:lnTo>
                  <a:pt x="716" y="1296"/>
                </a:lnTo>
                <a:lnTo>
                  <a:pt x="700" y="1286"/>
                </a:lnTo>
                <a:lnTo>
                  <a:pt x="686" y="1278"/>
                </a:lnTo>
                <a:lnTo>
                  <a:pt x="674" y="1268"/>
                </a:lnTo>
                <a:lnTo>
                  <a:pt x="668" y="1262"/>
                </a:lnTo>
                <a:lnTo>
                  <a:pt x="664" y="1254"/>
                </a:lnTo>
                <a:lnTo>
                  <a:pt x="662" y="1244"/>
                </a:lnTo>
                <a:lnTo>
                  <a:pt x="660" y="1232"/>
                </a:lnTo>
                <a:lnTo>
                  <a:pt x="662" y="1222"/>
                </a:lnTo>
                <a:lnTo>
                  <a:pt x="664" y="1212"/>
                </a:lnTo>
                <a:lnTo>
                  <a:pt x="670" y="1202"/>
                </a:lnTo>
                <a:lnTo>
                  <a:pt x="676" y="1194"/>
                </a:lnTo>
                <a:lnTo>
                  <a:pt x="684" y="1186"/>
                </a:lnTo>
                <a:lnTo>
                  <a:pt x="694" y="1178"/>
                </a:lnTo>
                <a:lnTo>
                  <a:pt x="714" y="1166"/>
                </a:lnTo>
                <a:lnTo>
                  <a:pt x="738" y="1158"/>
                </a:lnTo>
                <a:lnTo>
                  <a:pt x="762" y="1152"/>
                </a:lnTo>
                <a:lnTo>
                  <a:pt x="786" y="1150"/>
                </a:lnTo>
                <a:lnTo>
                  <a:pt x="804" y="1148"/>
                </a:lnTo>
                <a:lnTo>
                  <a:pt x="824" y="1150"/>
                </a:lnTo>
                <a:lnTo>
                  <a:pt x="846" y="1152"/>
                </a:lnTo>
                <a:lnTo>
                  <a:pt x="870" y="1158"/>
                </a:lnTo>
                <a:lnTo>
                  <a:pt x="894" y="1166"/>
                </a:lnTo>
                <a:lnTo>
                  <a:pt x="916" y="1178"/>
                </a:lnTo>
                <a:lnTo>
                  <a:pt x="924" y="1186"/>
                </a:lnTo>
                <a:lnTo>
                  <a:pt x="932" y="1194"/>
                </a:lnTo>
                <a:lnTo>
                  <a:pt x="940" y="1202"/>
                </a:lnTo>
                <a:lnTo>
                  <a:pt x="944" y="1212"/>
                </a:lnTo>
                <a:lnTo>
                  <a:pt x="948" y="1222"/>
                </a:lnTo>
                <a:lnTo>
                  <a:pt x="948" y="1232"/>
                </a:lnTo>
                <a:lnTo>
                  <a:pt x="948" y="1244"/>
                </a:lnTo>
                <a:lnTo>
                  <a:pt x="944" y="1254"/>
                </a:lnTo>
                <a:lnTo>
                  <a:pt x="940" y="1262"/>
                </a:lnTo>
                <a:lnTo>
                  <a:pt x="936" y="1268"/>
                </a:lnTo>
                <a:lnTo>
                  <a:pt x="922" y="1278"/>
                </a:lnTo>
                <a:lnTo>
                  <a:pt x="908" y="1286"/>
                </a:lnTo>
                <a:lnTo>
                  <a:pt x="894" y="1296"/>
                </a:lnTo>
                <a:lnTo>
                  <a:pt x="880" y="1306"/>
                </a:lnTo>
                <a:lnTo>
                  <a:pt x="876" y="1312"/>
                </a:lnTo>
                <a:lnTo>
                  <a:pt x="872" y="1320"/>
                </a:lnTo>
                <a:lnTo>
                  <a:pt x="870" y="1330"/>
                </a:lnTo>
                <a:lnTo>
                  <a:pt x="868" y="1342"/>
                </a:lnTo>
                <a:lnTo>
                  <a:pt x="868" y="1346"/>
                </a:lnTo>
                <a:lnTo>
                  <a:pt x="868" y="1348"/>
                </a:lnTo>
                <a:lnTo>
                  <a:pt x="870" y="1350"/>
                </a:lnTo>
                <a:lnTo>
                  <a:pt x="870" y="1352"/>
                </a:lnTo>
                <a:lnTo>
                  <a:pt x="872" y="1354"/>
                </a:lnTo>
                <a:lnTo>
                  <a:pt x="874" y="1356"/>
                </a:lnTo>
                <a:lnTo>
                  <a:pt x="874" y="1358"/>
                </a:lnTo>
                <a:lnTo>
                  <a:pt x="876" y="1360"/>
                </a:lnTo>
                <a:lnTo>
                  <a:pt x="878" y="1362"/>
                </a:lnTo>
                <a:lnTo>
                  <a:pt x="880" y="1364"/>
                </a:lnTo>
                <a:lnTo>
                  <a:pt x="882" y="1366"/>
                </a:lnTo>
                <a:lnTo>
                  <a:pt x="884" y="1368"/>
                </a:lnTo>
                <a:lnTo>
                  <a:pt x="886" y="1368"/>
                </a:lnTo>
                <a:lnTo>
                  <a:pt x="888" y="1370"/>
                </a:lnTo>
                <a:lnTo>
                  <a:pt x="890" y="1372"/>
                </a:lnTo>
                <a:lnTo>
                  <a:pt x="892" y="1372"/>
                </a:lnTo>
                <a:lnTo>
                  <a:pt x="894" y="1374"/>
                </a:lnTo>
                <a:lnTo>
                  <a:pt x="896" y="1374"/>
                </a:lnTo>
                <a:lnTo>
                  <a:pt x="898" y="1376"/>
                </a:lnTo>
                <a:lnTo>
                  <a:pt x="902" y="1378"/>
                </a:lnTo>
                <a:lnTo>
                  <a:pt x="914" y="1382"/>
                </a:lnTo>
                <a:lnTo>
                  <a:pt x="940" y="1382"/>
                </a:lnTo>
                <a:lnTo>
                  <a:pt x="934" y="1382"/>
                </a:lnTo>
                <a:lnTo>
                  <a:pt x="1198" y="1386"/>
                </a:lnTo>
                <a:lnTo>
                  <a:pt x="1322" y="1172"/>
                </a:lnTo>
                <a:lnTo>
                  <a:pt x="1326" y="1150"/>
                </a:lnTo>
                <a:lnTo>
                  <a:pt x="1330" y="1126"/>
                </a:lnTo>
                <a:lnTo>
                  <a:pt x="1328" y="1114"/>
                </a:lnTo>
                <a:lnTo>
                  <a:pt x="1326" y="1104"/>
                </a:lnTo>
                <a:lnTo>
                  <a:pt x="1322" y="1094"/>
                </a:lnTo>
                <a:lnTo>
                  <a:pt x="1316" y="1088"/>
                </a:lnTo>
                <a:lnTo>
                  <a:pt x="1304" y="1084"/>
                </a:lnTo>
                <a:lnTo>
                  <a:pt x="1294" y="1080"/>
                </a:lnTo>
                <a:lnTo>
                  <a:pt x="1286" y="1080"/>
                </a:lnTo>
                <a:lnTo>
                  <a:pt x="1278" y="1082"/>
                </a:lnTo>
                <a:lnTo>
                  <a:pt x="1262" y="1086"/>
                </a:lnTo>
                <a:lnTo>
                  <a:pt x="1248" y="1096"/>
                </a:lnTo>
                <a:lnTo>
                  <a:pt x="1232" y="1104"/>
                </a:lnTo>
                <a:lnTo>
                  <a:pt x="1218" y="1110"/>
                </a:lnTo>
                <a:lnTo>
                  <a:pt x="1208" y="1110"/>
                </a:lnTo>
                <a:lnTo>
                  <a:pt x="1200" y="1110"/>
                </a:lnTo>
                <a:lnTo>
                  <a:pt x="1190" y="1108"/>
                </a:lnTo>
                <a:lnTo>
                  <a:pt x="1180" y="1102"/>
                </a:lnTo>
                <a:lnTo>
                  <a:pt x="1170" y="1096"/>
                </a:lnTo>
                <a:lnTo>
                  <a:pt x="1164" y="1088"/>
                </a:lnTo>
                <a:lnTo>
                  <a:pt x="1158" y="1080"/>
                </a:lnTo>
                <a:lnTo>
                  <a:pt x="1154" y="1070"/>
                </a:lnTo>
                <a:lnTo>
                  <a:pt x="1152" y="1060"/>
                </a:lnTo>
                <a:lnTo>
                  <a:pt x="1150" y="1048"/>
                </a:lnTo>
                <a:lnTo>
                  <a:pt x="1150" y="1024"/>
                </a:lnTo>
                <a:lnTo>
                  <a:pt x="1154" y="998"/>
                </a:lnTo>
                <a:lnTo>
                  <a:pt x="1162" y="974"/>
                </a:lnTo>
                <a:lnTo>
                  <a:pt x="1170" y="954"/>
                </a:lnTo>
                <a:lnTo>
                  <a:pt x="1180" y="936"/>
                </a:lnTo>
                <a:lnTo>
                  <a:pt x="1190" y="920"/>
                </a:lnTo>
                <a:lnTo>
                  <a:pt x="1204" y="902"/>
                </a:lnTo>
                <a:lnTo>
                  <a:pt x="1220" y="884"/>
                </a:lnTo>
                <a:lnTo>
                  <a:pt x="1240" y="868"/>
                </a:lnTo>
                <a:lnTo>
                  <a:pt x="1260" y="856"/>
                </a:lnTo>
                <a:lnTo>
                  <a:pt x="1272" y="850"/>
                </a:lnTo>
                <a:lnTo>
                  <a:pt x="1282" y="848"/>
                </a:lnTo>
                <a:lnTo>
                  <a:pt x="1292" y="846"/>
                </a:lnTo>
                <a:lnTo>
                  <a:pt x="1304" y="846"/>
                </a:lnTo>
                <a:lnTo>
                  <a:pt x="1314" y="848"/>
                </a:lnTo>
                <a:lnTo>
                  <a:pt x="1324" y="854"/>
                </a:lnTo>
                <a:lnTo>
                  <a:pt x="1334" y="860"/>
                </a:lnTo>
                <a:lnTo>
                  <a:pt x="1340" y="868"/>
                </a:lnTo>
                <a:lnTo>
                  <a:pt x="1346" y="874"/>
                </a:lnTo>
                <a:lnTo>
                  <a:pt x="1348" y="882"/>
                </a:lnTo>
                <a:lnTo>
                  <a:pt x="1350" y="900"/>
                </a:lnTo>
                <a:lnTo>
                  <a:pt x="1350" y="916"/>
                </a:lnTo>
                <a:lnTo>
                  <a:pt x="1350" y="932"/>
                </a:lnTo>
                <a:lnTo>
                  <a:pt x="1354" y="948"/>
                </a:lnTo>
                <a:lnTo>
                  <a:pt x="1358" y="956"/>
                </a:lnTo>
                <a:lnTo>
                  <a:pt x="1362" y="964"/>
                </a:lnTo>
                <a:lnTo>
                  <a:pt x="1370" y="972"/>
                </a:lnTo>
                <a:lnTo>
                  <a:pt x="1380" y="978"/>
                </a:lnTo>
                <a:lnTo>
                  <a:pt x="1388" y="980"/>
                </a:lnTo>
                <a:lnTo>
                  <a:pt x="1398" y="980"/>
                </a:lnTo>
                <a:lnTo>
                  <a:pt x="1408" y="976"/>
                </a:lnTo>
                <a:lnTo>
                  <a:pt x="1418" y="972"/>
                </a:lnTo>
                <a:lnTo>
                  <a:pt x="1438" y="958"/>
                </a:lnTo>
                <a:lnTo>
                  <a:pt x="1456" y="942"/>
                </a:lnTo>
                <a:lnTo>
                  <a:pt x="1598" y="696"/>
                </a:lnTo>
                <a:lnTo>
                  <a:pt x="1436" y="418"/>
                </a:lnTo>
                <a:lnTo>
                  <a:pt x="1434" y="400"/>
                </a:lnTo>
                <a:lnTo>
                  <a:pt x="1432" y="382"/>
                </a:lnTo>
                <a:lnTo>
                  <a:pt x="1432" y="370"/>
                </a:lnTo>
                <a:lnTo>
                  <a:pt x="1434" y="358"/>
                </a:lnTo>
                <a:lnTo>
                  <a:pt x="1440" y="348"/>
                </a:lnTo>
                <a:lnTo>
                  <a:pt x="1446" y="342"/>
                </a:lnTo>
                <a:lnTo>
                  <a:pt x="1456" y="338"/>
                </a:lnTo>
                <a:lnTo>
                  <a:pt x="1466" y="334"/>
                </a:lnTo>
                <a:lnTo>
                  <a:pt x="1476" y="334"/>
                </a:lnTo>
                <a:lnTo>
                  <a:pt x="1484" y="334"/>
                </a:lnTo>
                <a:lnTo>
                  <a:pt x="1500" y="340"/>
                </a:lnTo>
                <a:lnTo>
                  <a:pt x="1514" y="348"/>
                </a:lnTo>
                <a:lnTo>
                  <a:pt x="1528" y="358"/>
                </a:lnTo>
                <a:lnTo>
                  <a:pt x="1544" y="364"/>
                </a:lnTo>
                <a:lnTo>
                  <a:pt x="1552" y="364"/>
                </a:lnTo>
                <a:lnTo>
                  <a:pt x="1562" y="364"/>
                </a:lnTo>
                <a:lnTo>
                  <a:pt x="1572" y="362"/>
                </a:lnTo>
                <a:lnTo>
                  <a:pt x="1582" y="356"/>
                </a:lnTo>
                <a:lnTo>
                  <a:pt x="1590" y="352"/>
                </a:lnTo>
                <a:lnTo>
                  <a:pt x="1596" y="346"/>
                </a:lnTo>
                <a:lnTo>
                  <a:pt x="1600" y="340"/>
                </a:lnTo>
                <a:lnTo>
                  <a:pt x="1604" y="332"/>
                </a:lnTo>
                <a:lnTo>
                  <a:pt x="1610" y="316"/>
                </a:lnTo>
                <a:lnTo>
                  <a:pt x="1612" y="296"/>
                </a:lnTo>
                <a:lnTo>
                  <a:pt x="1608" y="268"/>
                </a:lnTo>
                <a:lnTo>
                  <a:pt x="1602" y="242"/>
                </a:lnTo>
                <a:lnTo>
                  <a:pt x="1592" y="218"/>
                </a:lnTo>
                <a:lnTo>
                  <a:pt x="1582" y="198"/>
                </a:lnTo>
                <a:lnTo>
                  <a:pt x="1572" y="182"/>
                </a:lnTo>
                <a:lnTo>
                  <a:pt x="1558" y="164"/>
                </a:lnTo>
                <a:lnTo>
                  <a:pt x="1542" y="146"/>
                </a:lnTo>
                <a:lnTo>
                  <a:pt x="1522" y="130"/>
                </a:lnTo>
                <a:lnTo>
                  <a:pt x="1500" y="116"/>
                </a:lnTo>
                <a:lnTo>
                  <a:pt x="1490" y="112"/>
                </a:lnTo>
                <a:lnTo>
                  <a:pt x="1480" y="108"/>
                </a:lnTo>
                <a:lnTo>
                  <a:pt x="1468" y="108"/>
                </a:lnTo>
                <a:lnTo>
                  <a:pt x="1458" y="108"/>
                </a:lnTo>
                <a:lnTo>
                  <a:pt x="1448" y="110"/>
                </a:lnTo>
                <a:lnTo>
                  <a:pt x="1438" y="116"/>
                </a:lnTo>
                <a:lnTo>
                  <a:pt x="1430" y="120"/>
                </a:lnTo>
                <a:lnTo>
                  <a:pt x="1424" y="126"/>
                </a:lnTo>
                <a:lnTo>
                  <a:pt x="1416" y="138"/>
                </a:lnTo>
                <a:lnTo>
                  <a:pt x="1412" y="150"/>
                </a:lnTo>
                <a:lnTo>
                  <a:pt x="1410" y="164"/>
                </a:lnTo>
                <a:lnTo>
                  <a:pt x="1412" y="182"/>
                </a:lnTo>
                <a:lnTo>
                  <a:pt x="1410" y="198"/>
                </a:lnTo>
                <a:lnTo>
                  <a:pt x="1408" y="212"/>
                </a:lnTo>
                <a:lnTo>
                  <a:pt x="1404" y="220"/>
                </a:lnTo>
                <a:lnTo>
                  <a:pt x="1398" y="226"/>
                </a:lnTo>
                <a:lnTo>
                  <a:pt x="1392" y="234"/>
                </a:lnTo>
                <a:lnTo>
                  <a:pt x="1382" y="240"/>
                </a:lnTo>
                <a:lnTo>
                  <a:pt x="1376" y="242"/>
                </a:lnTo>
                <a:lnTo>
                  <a:pt x="1368" y="242"/>
                </a:lnTo>
                <a:lnTo>
                  <a:pt x="1360" y="240"/>
                </a:lnTo>
                <a:lnTo>
                  <a:pt x="1352" y="238"/>
                </a:lnTo>
                <a:lnTo>
                  <a:pt x="1334" y="228"/>
                </a:lnTo>
                <a:lnTo>
                  <a:pt x="1320" y="216"/>
                </a:lnTo>
                <a:lnTo>
                  <a:pt x="1198" y="0"/>
                </a:lnTo>
                <a:lnTo>
                  <a:pt x="400" y="0"/>
                </a:lnTo>
                <a:lnTo>
                  <a:pt x="0" y="694"/>
                </a:lnTo>
                <a:lnTo>
                  <a:pt x="398" y="1384"/>
                </a:lnTo>
                <a:lnTo>
                  <a:pt x="400" y="1382"/>
                </a:lnTo>
                <a:lnTo>
                  <a:pt x="674" y="1382"/>
                </a:lnTo>
                <a:close/>
              </a:path>
            </a:pathLst>
          </a:custGeom>
          <a:solidFill>
            <a:srgbClr val="0D64AD"/>
          </a:solidFill>
          <a:ln w="38100" cap="flat" cmpd="sng">
            <a:solidFill>
              <a:srgbClr val="0D64A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8" name="Oval 25">
            <a:extLst>
              <a:ext uri="{FF2B5EF4-FFF2-40B4-BE49-F238E27FC236}">
                <a16:creationId xmlns:a16="http://schemas.microsoft.com/office/drawing/2014/main" xmlns="" id="{ABD94137-0709-4922-89E1-B9D29427E664}"/>
              </a:ext>
            </a:extLst>
          </p:cNvPr>
          <p:cNvSpPr/>
          <p:nvPr/>
        </p:nvSpPr>
        <p:spPr>
          <a:xfrm>
            <a:off x="1289004" y="2412476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30" name="Freeform 4">
            <a:extLst>
              <a:ext uri="{FF2B5EF4-FFF2-40B4-BE49-F238E27FC236}">
                <a16:creationId xmlns:a16="http://schemas.microsoft.com/office/drawing/2014/main" xmlns="" id="{2733FB76-EFC3-4A4A-BFE0-11D985EA3972}"/>
              </a:ext>
            </a:extLst>
          </p:cNvPr>
          <p:cNvSpPr>
            <a:spLocks/>
          </p:cNvSpPr>
          <p:nvPr/>
        </p:nvSpPr>
        <p:spPr bwMode="auto">
          <a:xfrm>
            <a:off x="1539877" y="3292155"/>
            <a:ext cx="2488108" cy="2100921"/>
          </a:xfrm>
          <a:custGeom>
            <a:avLst/>
            <a:gdLst>
              <a:gd name="T0" fmla="*/ 1682237 w 1616"/>
              <a:gd name="T1" fmla="*/ 1724956 h 1618"/>
              <a:gd name="T2" fmla="*/ 1729310 w 1616"/>
              <a:gd name="T3" fmla="*/ 1732391 h 1618"/>
              <a:gd name="T4" fmla="*/ 1751607 w 1616"/>
              <a:gd name="T5" fmla="*/ 1799307 h 1618"/>
              <a:gd name="T6" fmla="*/ 1773905 w 1616"/>
              <a:gd name="T7" fmla="*/ 1868702 h 1618"/>
              <a:gd name="T8" fmla="*/ 1823455 w 1616"/>
              <a:gd name="T9" fmla="*/ 1886051 h 1618"/>
              <a:gd name="T10" fmla="*/ 1912646 w 1616"/>
              <a:gd name="T11" fmla="*/ 1838961 h 1618"/>
              <a:gd name="T12" fmla="*/ 1977062 w 1616"/>
              <a:gd name="T13" fmla="*/ 1754696 h 1618"/>
              <a:gd name="T14" fmla="*/ 1999359 w 1616"/>
              <a:gd name="T15" fmla="*/ 1623342 h 1618"/>
              <a:gd name="T16" fmla="*/ 1964674 w 1616"/>
              <a:gd name="T17" fmla="*/ 1568817 h 1618"/>
              <a:gd name="T18" fmla="*/ 1917601 w 1616"/>
              <a:gd name="T19" fmla="*/ 1561382 h 1618"/>
              <a:gd name="T20" fmla="*/ 1833366 w 1616"/>
              <a:gd name="T21" fmla="*/ 1596080 h 1618"/>
              <a:gd name="T22" fmla="*/ 1788770 w 1616"/>
              <a:gd name="T23" fmla="*/ 1578731 h 1618"/>
              <a:gd name="T24" fmla="*/ 1788770 w 1616"/>
              <a:gd name="T25" fmla="*/ 1484552 h 1618"/>
              <a:gd name="T26" fmla="*/ 1811068 w 1616"/>
              <a:gd name="T27" fmla="*/ 859999 h 1618"/>
              <a:gd name="T28" fmla="*/ 1726832 w 1616"/>
              <a:gd name="T29" fmla="*/ 810432 h 1618"/>
              <a:gd name="T30" fmla="*/ 1689669 w 1616"/>
              <a:gd name="T31" fmla="*/ 840172 h 1618"/>
              <a:gd name="T32" fmla="*/ 1677282 w 1616"/>
              <a:gd name="T33" fmla="*/ 931873 h 1618"/>
              <a:gd name="T34" fmla="*/ 1647551 w 1616"/>
              <a:gd name="T35" fmla="*/ 969048 h 1618"/>
              <a:gd name="T36" fmla="*/ 1583136 w 1616"/>
              <a:gd name="T37" fmla="*/ 971527 h 1618"/>
              <a:gd name="T38" fmla="*/ 1481558 w 1616"/>
              <a:gd name="T39" fmla="*/ 887262 h 1618"/>
              <a:gd name="T40" fmla="*/ 1439440 w 1616"/>
              <a:gd name="T41" fmla="*/ 790605 h 1618"/>
              <a:gd name="T42" fmla="*/ 1441917 w 1616"/>
              <a:gd name="T43" fmla="*/ 688991 h 1618"/>
              <a:gd name="T44" fmla="*/ 1484035 w 1616"/>
              <a:gd name="T45" fmla="*/ 654293 h 1618"/>
              <a:gd name="T46" fmla="*/ 1553406 w 1616"/>
              <a:gd name="T47" fmla="*/ 669164 h 1618"/>
              <a:gd name="T48" fmla="*/ 1625254 w 1616"/>
              <a:gd name="T49" fmla="*/ 684034 h 1618"/>
              <a:gd name="T50" fmla="*/ 1654984 w 1616"/>
              <a:gd name="T51" fmla="*/ 646858 h 1618"/>
              <a:gd name="T52" fmla="*/ 1484035 w 1616"/>
              <a:gd name="T53" fmla="*/ 294928 h 1618"/>
              <a:gd name="T54" fmla="*/ 1117362 w 1616"/>
              <a:gd name="T55" fmla="*/ 285014 h 1618"/>
              <a:gd name="T56" fmla="*/ 1109929 w 1616"/>
              <a:gd name="T57" fmla="*/ 280057 h 1618"/>
              <a:gd name="T58" fmla="*/ 1102497 w 1616"/>
              <a:gd name="T59" fmla="*/ 277579 h 1618"/>
              <a:gd name="T60" fmla="*/ 1097542 w 1616"/>
              <a:gd name="T61" fmla="*/ 272622 h 1618"/>
              <a:gd name="T62" fmla="*/ 1090109 w 1616"/>
              <a:gd name="T63" fmla="*/ 267666 h 1618"/>
              <a:gd name="T64" fmla="*/ 1085154 w 1616"/>
              <a:gd name="T65" fmla="*/ 262709 h 1618"/>
              <a:gd name="T66" fmla="*/ 1082677 w 1616"/>
              <a:gd name="T67" fmla="*/ 257752 h 1618"/>
              <a:gd name="T68" fmla="*/ 1080199 w 1616"/>
              <a:gd name="T69" fmla="*/ 255274 h 1618"/>
              <a:gd name="T70" fmla="*/ 1075244 w 1616"/>
              <a:gd name="T71" fmla="*/ 247838 h 1618"/>
              <a:gd name="T72" fmla="*/ 1075244 w 1616"/>
              <a:gd name="T73" fmla="*/ 240403 h 1618"/>
              <a:gd name="T74" fmla="*/ 1075244 w 1616"/>
              <a:gd name="T75" fmla="*/ 240403 h 1618"/>
              <a:gd name="T76" fmla="*/ 1107452 w 1616"/>
              <a:gd name="T77" fmla="*/ 183400 h 1618"/>
              <a:gd name="T78" fmla="*/ 1169390 w 1616"/>
              <a:gd name="T79" fmla="*/ 131354 h 1618"/>
              <a:gd name="T80" fmla="*/ 1169390 w 1616"/>
              <a:gd name="T81" fmla="*/ 79308 h 1618"/>
              <a:gd name="T82" fmla="*/ 1107452 w 1616"/>
              <a:gd name="T83" fmla="*/ 22305 h 1618"/>
              <a:gd name="T84" fmla="*/ 995963 w 1616"/>
              <a:gd name="T85" fmla="*/ 0 h 1618"/>
              <a:gd name="T86" fmla="*/ 859700 w 1616"/>
              <a:gd name="T87" fmla="*/ 37176 h 1618"/>
              <a:gd name="T88" fmla="*/ 820059 w 1616"/>
              <a:gd name="T89" fmla="*/ 91700 h 1618"/>
              <a:gd name="T90" fmla="*/ 827492 w 1616"/>
              <a:gd name="T91" fmla="*/ 141268 h 1618"/>
              <a:gd name="T92" fmla="*/ 901818 w 1616"/>
              <a:gd name="T93" fmla="*/ 195792 h 1618"/>
              <a:gd name="T94" fmla="*/ 916683 w 1616"/>
              <a:gd name="T95" fmla="*/ 240403 h 1618"/>
              <a:gd name="T96" fmla="*/ 916683 w 1616"/>
              <a:gd name="T97" fmla="*/ 240403 h 1618"/>
              <a:gd name="T98" fmla="*/ 916683 w 1616"/>
              <a:gd name="T99" fmla="*/ 250317 h 1618"/>
              <a:gd name="T100" fmla="*/ 914205 w 1616"/>
              <a:gd name="T101" fmla="*/ 255274 h 1618"/>
              <a:gd name="T102" fmla="*/ 909250 w 1616"/>
              <a:gd name="T103" fmla="*/ 260230 h 1618"/>
              <a:gd name="T104" fmla="*/ 906773 w 1616"/>
              <a:gd name="T105" fmla="*/ 262709 h 1618"/>
              <a:gd name="T106" fmla="*/ 899340 w 1616"/>
              <a:gd name="T107" fmla="*/ 270144 h 1618"/>
              <a:gd name="T108" fmla="*/ 894385 w 1616"/>
              <a:gd name="T109" fmla="*/ 272622 h 1618"/>
              <a:gd name="T110" fmla="*/ 886953 w 1616"/>
              <a:gd name="T111" fmla="*/ 277579 h 1618"/>
              <a:gd name="T112" fmla="*/ 881997 w 1616"/>
              <a:gd name="T113" fmla="*/ 280057 h 1618"/>
              <a:gd name="T114" fmla="*/ 874565 w 1616"/>
              <a:gd name="T115" fmla="*/ 285014 h 1618"/>
              <a:gd name="T116" fmla="*/ 0 w 1616"/>
              <a:gd name="T117" fmla="*/ 1147492 h 161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16" h="1618">
                <a:moveTo>
                  <a:pt x="1312" y="1426"/>
                </a:moveTo>
                <a:lnTo>
                  <a:pt x="1312" y="1426"/>
                </a:lnTo>
                <a:lnTo>
                  <a:pt x="1328" y="1410"/>
                </a:lnTo>
                <a:lnTo>
                  <a:pt x="1348" y="1396"/>
                </a:lnTo>
                <a:lnTo>
                  <a:pt x="1358" y="1392"/>
                </a:lnTo>
                <a:lnTo>
                  <a:pt x="1368" y="1388"/>
                </a:lnTo>
                <a:lnTo>
                  <a:pt x="1378" y="1388"/>
                </a:lnTo>
                <a:lnTo>
                  <a:pt x="1386" y="1390"/>
                </a:lnTo>
                <a:lnTo>
                  <a:pt x="1396" y="1398"/>
                </a:lnTo>
                <a:lnTo>
                  <a:pt x="1402" y="1404"/>
                </a:lnTo>
                <a:lnTo>
                  <a:pt x="1408" y="1412"/>
                </a:lnTo>
                <a:lnTo>
                  <a:pt x="1412" y="1420"/>
                </a:lnTo>
                <a:lnTo>
                  <a:pt x="1414" y="1436"/>
                </a:lnTo>
                <a:lnTo>
                  <a:pt x="1414" y="1452"/>
                </a:lnTo>
                <a:lnTo>
                  <a:pt x="1414" y="1470"/>
                </a:lnTo>
                <a:lnTo>
                  <a:pt x="1418" y="1486"/>
                </a:lnTo>
                <a:lnTo>
                  <a:pt x="1420" y="1494"/>
                </a:lnTo>
                <a:lnTo>
                  <a:pt x="1426" y="1502"/>
                </a:lnTo>
                <a:lnTo>
                  <a:pt x="1432" y="1508"/>
                </a:lnTo>
                <a:lnTo>
                  <a:pt x="1442" y="1516"/>
                </a:lnTo>
                <a:lnTo>
                  <a:pt x="1452" y="1520"/>
                </a:lnTo>
                <a:lnTo>
                  <a:pt x="1462" y="1522"/>
                </a:lnTo>
                <a:lnTo>
                  <a:pt x="1472" y="1522"/>
                </a:lnTo>
                <a:lnTo>
                  <a:pt x="1484" y="1522"/>
                </a:lnTo>
                <a:lnTo>
                  <a:pt x="1494" y="1518"/>
                </a:lnTo>
                <a:lnTo>
                  <a:pt x="1504" y="1514"/>
                </a:lnTo>
                <a:lnTo>
                  <a:pt x="1526" y="1500"/>
                </a:lnTo>
                <a:lnTo>
                  <a:pt x="1544" y="1484"/>
                </a:lnTo>
                <a:lnTo>
                  <a:pt x="1562" y="1466"/>
                </a:lnTo>
                <a:lnTo>
                  <a:pt x="1576" y="1448"/>
                </a:lnTo>
                <a:lnTo>
                  <a:pt x="1586" y="1432"/>
                </a:lnTo>
                <a:lnTo>
                  <a:pt x="1596" y="1416"/>
                </a:lnTo>
                <a:lnTo>
                  <a:pt x="1604" y="1394"/>
                </a:lnTo>
                <a:lnTo>
                  <a:pt x="1610" y="1370"/>
                </a:lnTo>
                <a:lnTo>
                  <a:pt x="1614" y="1346"/>
                </a:lnTo>
                <a:lnTo>
                  <a:pt x="1616" y="1322"/>
                </a:lnTo>
                <a:lnTo>
                  <a:pt x="1614" y="1310"/>
                </a:lnTo>
                <a:lnTo>
                  <a:pt x="1612" y="1298"/>
                </a:lnTo>
                <a:lnTo>
                  <a:pt x="1608" y="1288"/>
                </a:lnTo>
                <a:lnTo>
                  <a:pt x="1602" y="1280"/>
                </a:lnTo>
                <a:lnTo>
                  <a:pt x="1594" y="1272"/>
                </a:lnTo>
                <a:lnTo>
                  <a:pt x="1586" y="1266"/>
                </a:lnTo>
                <a:lnTo>
                  <a:pt x="1574" y="1262"/>
                </a:lnTo>
                <a:lnTo>
                  <a:pt x="1566" y="1258"/>
                </a:lnTo>
                <a:lnTo>
                  <a:pt x="1556" y="1258"/>
                </a:lnTo>
                <a:lnTo>
                  <a:pt x="1548" y="1260"/>
                </a:lnTo>
                <a:lnTo>
                  <a:pt x="1532" y="1266"/>
                </a:lnTo>
                <a:lnTo>
                  <a:pt x="1518" y="1274"/>
                </a:lnTo>
                <a:lnTo>
                  <a:pt x="1504" y="1282"/>
                </a:lnTo>
                <a:lnTo>
                  <a:pt x="1488" y="1288"/>
                </a:lnTo>
                <a:lnTo>
                  <a:pt x="1480" y="1288"/>
                </a:lnTo>
                <a:lnTo>
                  <a:pt x="1470" y="1288"/>
                </a:lnTo>
                <a:lnTo>
                  <a:pt x="1460" y="1286"/>
                </a:lnTo>
                <a:lnTo>
                  <a:pt x="1450" y="1280"/>
                </a:lnTo>
                <a:lnTo>
                  <a:pt x="1444" y="1274"/>
                </a:lnTo>
                <a:lnTo>
                  <a:pt x="1438" y="1266"/>
                </a:lnTo>
                <a:lnTo>
                  <a:pt x="1436" y="1256"/>
                </a:lnTo>
                <a:lnTo>
                  <a:pt x="1436" y="1244"/>
                </a:lnTo>
                <a:lnTo>
                  <a:pt x="1438" y="1220"/>
                </a:lnTo>
                <a:lnTo>
                  <a:pt x="1444" y="1198"/>
                </a:lnTo>
                <a:lnTo>
                  <a:pt x="1598" y="930"/>
                </a:lnTo>
                <a:lnTo>
                  <a:pt x="1600" y="926"/>
                </a:lnTo>
                <a:lnTo>
                  <a:pt x="1596" y="926"/>
                </a:lnTo>
                <a:lnTo>
                  <a:pt x="1462" y="694"/>
                </a:lnTo>
                <a:lnTo>
                  <a:pt x="1446" y="678"/>
                </a:lnTo>
                <a:lnTo>
                  <a:pt x="1426" y="664"/>
                </a:lnTo>
                <a:lnTo>
                  <a:pt x="1414" y="658"/>
                </a:lnTo>
                <a:lnTo>
                  <a:pt x="1404" y="656"/>
                </a:lnTo>
                <a:lnTo>
                  <a:pt x="1394" y="654"/>
                </a:lnTo>
                <a:lnTo>
                  <a:pt x="1386" y="658"/>
                </a:lnTo>
                <a:lnTo>
                  <a:pt x="1376" y="664"/>
                </a:lnTo>
                <a:lnTo>
                  <a:pt x="1368" y="672"/>
                </a:lnTo>
                <a:lnTo>
                  <a:pt x="1364" y="678"/>
                </a:lnTo>
                <a:lnTo>
                  <a:pt x="1360" y="686"/>
                </a:lnTo>
                <a:lnTo>
                  <a:pt x="1358" y="702"/>
                </a:lnTo>
                <a:lnTo>
                  <a:pt x="1358" y="720"/>
                </a:lnTo>
                <a:lnTo>
                  <a:pt x="1358" y="736"/>
                </a:lnTo>
                <a:lnTo>
                  <a:pt x="1354" y="752"/>
                </a:lnTo>
                <a:lnTo>
                  <a:pt x="1352" y="760"/>
                </a:lnTo>
                <a:lnTo>
                  <a:pt x="1346" y="768"/>
                </a:lnTo>
                <a:lnTo>
                  <a:pt x="1340" y="776"/>
                </a:lnTo>
                <a:lnTo>
                  <a:pt x="1330" y="782"/>
                </a:lnTo>
                <a:lnTo>
                  <a:pt x="1320" y="786"/>
                </a:lnTo>
                <a:lnTo>
                  <a:pt x="1310" y="790"/>
                </a:lnTo>
                <a:lnTo>
                  <a:pt x="1300" y="790"/>
                </a:lnTo>
                <a:lnTo>
                  <a:pt x="1288" y="788"/>
                </a:lnTo>
                <a:lnTo>
                  <a:pt x="1278" y="784"/>
                </a:lnTo>
                <a:lnTo>
                  <a:pt x="1268" y="780"/>
                </a:lnTo>
                <a:lnTo>
                  <a:pt x="1246" y="768"/>
                </a:lnTo>
                <a:lnTo>
                  <a:pt x="1228" y="752"/>
                </a:lnTo>
                <a:lnTo>
                  <a:pt x="1210" y="734"/>
                </a:lnTo>
                <a:lnTo>
                  <a:pt x="1196" y="716"/>
                </a:lnTo>
                <a:lnTo>
                  <a:pt x="1186" y="700"/>
                </a:lnTo>
                <a:lnTo>
                  <a:pt x="1176" y="682"/>
                </a:lnTo>
                <a:lnTo>
                  <a:pt x="1168" y="660"/>
                </a:lnTo>
                <a:lnTo>
                  <a:pt x="1162" y="638"/>
                </a:lnTo>
                <a:lnTo>
                  <a:pt x="1156" y="612"/>
                </a:lnTo>
                <a:lnTo>
                  <a:pt x="1156" y="588"/>
                </a:lnTo>
                <a:lnTo>
                  <a:pt x="1158" y="576"/>
                </a:lnTo>
                <a:lnTo>
                  <a:pt x="1160" y="566"/>
                </a:lnTo>
                <a:lnTo>
                  <a:pt x="1164" y="556"/>
                </a:lnTo>
                <a:lnTo>
                  <a:pt x="1170" y="546"/>
                </a:lnTo>
                <a:lnTo>
                  <a:pt x="1178" y="538"/>
                </a:lnTo>
                <a:lnTo>
                  <a:pt x="1186" y="532"/>
                </a:lnTo>
                <a:lnTo>
                  <a:pt x="1198" y="528"/>
                </a:lnTo>
                <a:lnTo>
                  <a:pt x="1206" y="526"/>
                </a:lnTo>
                <a:lnTo>
                  <a:pt x="1216" y="524"/>
                </a:lnTo>
                <a:lnTo>
                  <a:pt x="1224" y="526"/>
                </a:lnTo>
                <a:lnTo>
                  <a:pt x="1240" y="532"/>
                </a:lnTo>
                <a:lnTo>
                  <a:pt x="1254" y="540"/>
                </a:lnTo>
                <a:lnTo>
                  <a:pt x="1268" y="548"/>
                </a:lnTo>
                <a:lnTo>
                  <a:pt x="1284" y="554"/>
                </a:lnTo>
                <a:lnTo>
                  <a:pt x="1292" y="556"/>
                </a:lnTo>
                <a:lnTo>
                  <a:pt x="1302" y="554"/>
                </a:lnTo>
                <a:lnTo>
                  <a:pt x="1312" y="552"/>
                </a:lnTo>
                <a:lnTo>
                  <a:pt x="1322" y="546"/>
                </a:lnTo>
                <a:lnTo>
                  <a:pt x="1328" y="540"/>
                </a:lnTo>
                <a:lnTo>
                  <a:pt x="1334" y="532"/>
                </a:lnTo>
                <a:lnTo>
                  <a:pt x="1336" y="522"/>
                </a:lnTo>
                <a:lnTo>
                  <a:pt x="1336" y="510"/>
                </a:lnTo>
                <a:lnTo>
                  <a:pt x="1334" y="484"/>
                </a:lnTo>
                <a:lnTo>
                  <a:pt x="1328" y="462"/>
                </a:lnTo>
                <a:lnTo>
                  <a:pt x="1198" y="238"/>
                </a:lnTo>
                <a:lnTo>
                  <a:pt x="924" y="238"/>
                </a:lnTo>
                <a:lnTo>
                  <a:pt x="902" y="230"/>
                </a:lnTo>
                <a:lnTo>
                  <a:pt x="898" y="228"/>
                </a:lnTo>
                <a:lnTo>
                  <a:pt x="896" y="226"/>
                </a:lnTo>
                <a:lnTo>
                  <a:pt x="894" y="226"/>
                </a:lnTo>
                <a:lnTo>
                  <a:pt x="892" y="224"/>
                </a:lnTo>
                <a:lnTo>
                  <a:pt x="890" y="224"/>
                </a:lnTo>
                <a:lnTo>
                  <a:pt x="888" y="222"/>
                </a:lnTo>
                <a:lnTo>
                  <a:pt x="886" y="220"/>
                </a:lnTo>
                <a:lnTo>
                  <a:pt x="884" y="220"/>
                </a:lnTo>
                <a:lnTo>
                  <a:pt x="882" y="218"/>
                </a:lnTo>
                <a:lnTo>
                  <a:pt x="880" y="216"/>
                </a:lnTo>
                <a:lnTo>
                  <a:pt x="878" y="214"/>
                </a:lnTo>
                <a:lnTo>
                  <a:pt x="876" y="212"/>
                </a:lnTo>
                <a:lnTo>
                  <a:pt x="874" y="210"/>
                </a:lnTo>
                <a:lnTo>
                  <a:pt x="874" y="208"/>
                </a:lnTo>
                <a:lnTo>
                  <a:pt x="872" y="206"/>
                </a:lnTo>
                <a:lnTo>
                  <a:pt x="870" y="204"/>
                </a:lnTo>
                <a:lnTo>
                  <a:pt x="870" y="202"/>
                </a:lnTo>
                <a:lnTo>
                  <a:pt x="868" y="200"/>
                </a:lnTo>
                <a:lnTo>
                  <a:pt x="868" y="198"/>
                </a:lnTo>
                <a:lnTo>
                  <a:pt x="868" y="194"/>
                </a:lnTo>
                <a:lnTo>
                  <a:pt x="870" y="182"/>
                </a:lnTo>
                <a:lnTo>
                  <a:pt x="872" y="172"/>
                </a:lnTo>
                <a:lnTo>
                  <a:pt x="876" y="164"/>
                </a:lnTo>
                <a:lnTo>
                  <a:pt x="880" y="158"/>
                </a:lnTo>
                <a:lnTo>
                  <a:pt x="894" y="148"/>
                </a:lnTo>
                <a:lnTo>
                  <a:pt x="908" y="138"/>
                </a:lnTo>
                <a:lnTo>
                  <a:pt x="922" y="130"/>
                </a:lnTo>
                <a:lnTo>
                  <a:pt x="936" y="120"/>
                </a:lnTo>
                <a:lnTo>
                  <a:pt x="940" y="114"/>
                </a:lnTo>
                <a:lnTo>
                  <a:pt x="944" y="106"/>
                </a:lnTo>
                <a:lnTo>
                  <a:pt x="948" y="96"/>
                </a:lnTo>
                <a:lnTo>
                  <a:pt x="948" y="84"/>
                </a:lnTo>
                <a:lnTo>
                  <a:pt x="948" y="74"/>
                </a:lnTo>
                <a:lnTo>
                  <a:pt x="944" y="64"/>
                </a:lnTo>
                <a:lnTo>
                  <a:pt x="940" y="54"/>
                </a:lnTo>
                <a:lnTo>
                  <a:pt x="932" y="46"/>
                </a:lnTo>
                <a:lnTo>
                  <a:pt x="924" y="38"/>
                </a:lnTo>
                <a:lnTo>
                  <a:pt x="916" y="30"/>
                </a:lnTo>
                <a:lnTo>
                  <a:pt x="894" y="18"/>
                </a:lnTo>
                <a:lnTo>
                  <a:pt x="870" y="10"/>
                </a:lnTo>
                <a:lnTo>
                  <a:pt x="846" y="4"/>
                </a:lnTo>
                <a:lnTo>
                  <a:pt x="824" y="2"/>
                </a:lnTo>
                <a:lnTo>
                  <a:pt x="804" y="0"/>
                </a:lnTo>
                <a:lnTo>
                  <a:pt x="786" y="2"/>
                </a:lnTo>
                <a:lnTo>
                  <a:pt x="762" y="4"/>
                </a:lnTo>
                <a:lnTo>
                  <a:pt x="738" y="10"/>
                </a:lnTo>
                <a:lnTo>
                  <a:pt x="714" y="18"/>
                </a:lnTo>
                <a:lnTo>
                  <a:pt x="694" y="30"/>
                </a:lnTo>
                <a:lnTo>
                  <a:pt x="684" y="38"/>
                </a:lnTo>
                <a:lnTo>
                  <a:pt x="676" y="46"/>
                </a:lnTo>
                <a:lnTo>
                  <a:pt x="670" y="54"/>
                </a:lnTo>
                <a:lnTo>
                  <a:pt x="664" y="64"/>
                </a:lnTo>
                <a:lnTo>
                  <a:pt x="662" y="74"/>
                </a:lnTo>
                <a:lnTo>
                  <a:pt x="660" y="84"/>
                </a:lnTo>
                <a:lnTo>
                  <a:pt x="662" y="96"/>
                </a:lnTo>
                <a:lnTo>
                  <a:pt x="664" y="106"/>
                </a:lnTo>
                <a:lnTo>
                  <a:pt x="668" y="114"/>
                </a:lnTo>
                <a:lnTo>
                  <a:pt x="674" y="120"/>
                </a:lnTo>
                <a:lnTo>
                  <a:pt x="686" y="130"/>
                </a:lnTo>
                <a:lnTo>
                  <a:pt x="700" y="138"/>
                </a:lnTo>
                <a:lnTo>
                  <a:pt x="716" y="148"/>
                </a:lnTo>
                <a:lnTo>
                  <a:pt x="728" y="158"/>
                </a:lnTo>
                <a:lnTo>
                  <a:pt x="734" y="164"/>
                </a:lnTo>
                <a:lnTo>
                  <a:pt x="736" y="172"/>
                </a:lnTo>
                <a:lnTo>
                  <a:pt x="740" y="182"/>
                </a:lnTo>
                <a:lnTo>
                  <a:pt x="740" y="194"/>
                </a:lnTo>
                <a:lnTo>
                  <a:pt x="740" y="198"/>
                </a:lnTo>
                <a:lnTo>
                  <a:pt x="740" y="200"/>
                </a:lnTo>
                <a:lnTo>
                  <a:pt x="740" y="202"/>
                </a:lnTo>
                <a:lnTo>
                  <a:pt x="738" y="204"/>
                </a:lnTo>
                <a:lnTo>
                  <a:pt x="738" y="206"/>
                </a:lnTo>
                <a:lnTo>
                  <a:pt x="736" y="206"/>
                </a:lnTo>
                <a:lnTo>
                  <a:pt x="736" y="208"/>
                </a:lnTo>
                <a:lnTo>
                  <a:pt x="734" y="210"/>
                </a:lnTo>
                <a:lnTo>
                  <a:pt x="734" y="212"/>
                </a:lnTo>
                <a:lnTo>
                  <a:pt x="732" y="212"/>
                </a:lnTo>
                <a:lnTo>
                  <a:pt x="730" y="214"/>
                </a:lnTo>
                <a:lnTo>
                  <a:pt x="730" y="216"/>
                </a:lnTo>
                <a:lnTo>
                  <a:pt x="726" y="218"/>
                </a:lnTo>
                <a:lnTo>
                  <a:pt x="724" y="220"/>
                </a:lnTo>
                <a:lnTo>
                  <a:pt x="722" y="220"/>
                </a:lnTo>
                <a:lnTo>
                  <a:pt x="720" y="222"/>
                </a:lnTo>
                <a:lnTo>
                  <a:pt x="718" y="224"/>
                </a:lnTo>
                <a:lnTo>
                  <a:pt x="716" y="224"/>
                </a:lnTo>
                <a:lnTo>
                  <a:pt x="714" y="226"/>
                </a:lnTo>
                <a:lnTo>
                  <a:pt x="712" y="226"/>
                </a:lnTo>
                <a:lnTo>
                  <a:pt x="710" y="228"/>
                </a:lnTo>
                <a:lnTo>
                  <a:pt x="708" y="230"/>
                </a:lnTo>
                <a:lnTo>
                  <a:pt x="706" y="230"/>
                </a:lnTo>
                <a:lnTo>
                  <a:pt x="684" y="238"/>
                </a:lnTo>
                <a:lnTo>
                  <a:pt x="400" y="238"/>
                </a:lnTo>
                <a:lnTo>
                  <a:pt x="398" y="236"/>
                </a:lnTo>
                <a:lnTo>
                  <a:pt x="0" y="926"/>
                </a:lnTo>
                <a:lnTo>
                  <a:pt x="400" y="1618"/>
                </a:lnTo>
                <a:lnTo>
                  <a:pt x="1198" y="1618"/>
                </a:lnTo>
                <a:lnTo>
                  <a:pt x="1200" y="1618"/>
                </a:lnTo>
                <a:lnTo>
                  <a:pt x="1312" y="1426"/>
                </a:lnTo>
                <a:close/>
              </a:path>
            </a:pathLst>
          </a:custGeom>
          <a:solidFill>
            <a:srgbClr val="4AA5F1"/>
          </a:solidFill>
          <a:ln w="38100" cap="flat" cmpd="sng">
            <a:solidFill>
              <a:srgbClr val="4AA5F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1" name="Oval 24">
            <a:extLst>
              <a:ext uri="{FF2B5EF4-FFF2-40B4-BE49-F238E27FC236}">
                <a16:creationId xmlns:a16="http://schemas.microsoft.com/office/drawing/2014/main" xmlns="" id="{F93A22EC-8AC7-413D-9ADD-F7478542BA49}"/>
              </a:ext>
            </a:extLst>
          </p:cNvPr>
          <p:cNvSpPr/>
          <p:nvPr/>
        </p:nvSpPr>
        <p:spPr>
          <a:xfrm>
            <a:off x="1289004" y="4313645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32" name="Freeform 3">
            <a:extLst>
              <a:ext uri="{FF2B5EF4-FFF2-40B4-BE49-F238E27FC236}">
                <a16:creationId xmlns:a16="http://schemas.microsoft.com/office/drawing/2014/main" xmlns="" id="{F462D37F-AF17-4AF4-A016-04A5A1D0BB5E}"/>
              </a:ext>
            </a:extLst>
          </p:cNvPr>
          <p:cNvSpPr>
            <a:spLocks/>
          </p:cNvSpPr>
          <p:nvPr/>
        </p:nvSpPr>
        <p:spPr bwMode="auto">
          <a:xfrm>
            <a:off x="3381422" y="4452967"/>
            <a:ext cx="2511786" cy="1799839"/>
          </a:xfrm>
          <a:custGeom>
            <a:avLst/>
            <a:gdLst>
              <a:gd name="T0" fmla="*/ 1983738 w 1632"/>
              <a:gd name="T1" fmla="*/ 473414 h 1386"/>
              <a:gd name="T2" fmla="*/ 2010981 w 1632"/>
              <a:gd name="T3" fmla="*/ 446149 h 1386"/>
              <a:gd name="T4" fmla="*/ 2020887 w 1632"/>
              <a:gd name="T5" fmla="*/ 374270 h 1386"/>
              <a:gd name="T6" fmla="*/ 1983738 w 1632"/>
              <a:gd name="T7" fmla="*/ 267690 h 1386"/>
              <a:gd name="T8" fmla="*/ 1944113 w 1632"/>
              <a:gd name="T9" fmla="*/ 213160 h 1386"/>
              <a:gd name="T10" fmla="*/ 1862386 w 1632"/>
              <a:gd name="T11" fmla="*/ 158631 h 1386"/>
              <a:gd name="T12" fmla="*/ 1825237 w 1632"/>
              <a:gd name="T13" fmla="*/ 158631 h 1386"/>
              <a:gd name="T14" fmla="*/ 1788089 w 1632"/>
              <a:gd name="T15" fmla="*/ 183417 h 1386"/>
              <a:gd name="T16" fmla="*/ 1775706 w 1632"/>
              <a:gd name="T17" fmla="*/ 242904 h 1386"/>
              <a:gd name="T18" fmla="*/ 1760846 w 1632"/>
              <a:gd name="T19" fmla="*/ 302390 h 1386"/>
              <a:gd name="T20" fmla="*/ 1733604 w 1632"/>
              <a:gd name="T21" fmla="*/ 322219 h 1386"/>
              <a:gd name="T22" fmla="*/ 1703885 w 1632"/>
              <a:gd name="T23" fmla="*/ 319740 h 1386"/>
              <a:gd name="T24" fmla="*/ 1485946 w 1632"/>
              <a:gd name="T25" fmla="*/ 0 h 1386"/>
              <a:gd name="T26" fmla="*/ 1102077 w 1632"/>
              <a:gd name="T27" fmla="*/ 22307 h 1386"/>
              <a:gd name="T28" fmla="*/ 1069881 w 1632"/>
              <a:gd name="T29" fmla="*/ 59487 h 1386"/>
              <a:gd name="T30" fmla="*/ 1079788 w 1632"/>
              <a:gd name="T31" fmla="*/ 96666 h 1386"/>
              <a:gd name="T32" fmla="*/ 1136749 w 1632"/>
              <a:gd name="T33" fmla="*/ 138802 h 1386"/>
              <a:gd name="T34" fmla="*/ 1168944 w 1632"/>
              <a:gd name="T35" fmla="*/ 180938 h 1386"/>
              <a:gd name="T36" fmla="*/ 1163991 w 1632"/>
              <a:gd name="T37" fmla="*/ 223075 h 1386"/>
              <a:gd name="T38" fmla="*/ 1129319 w 1632"/>
              <a:gd name="T39" fmla="*/ 262732 h 1386"/>
              <a:gd name="T40" fmla="*/ 1015397 w 1632"/>
              <a:gd name="T41" fmla="*/ 299912 h 1386"/>
              <a:gd name="T42" fmla="*/ 938623 w 1632"/>
              <a:gd name="T43" fmla="*/ 294954 h 1386"/>
              <a:gd name="T44" fmla="*/ 842036 w 1632"/>
              <a:gd name="T45" fmla="*/ 255297 h 1386"/>
              <a:gd name="T46" fmla="*/ 814794 w 1632"/>
              <a:gd name="T47" fmla="*/ 210682 h 1386"/>
              <a:gd name="T48" fmla="*/ 817270 w 1632"/>
              <a:gd name="T49" fmla="*/ 171024 h 1386"/>
              <a:gd name="T50" fmla="*/ 861849 w 1632"/>
              <a:gd name="T51" fmla="*/ 128888 h 1386"/>
              <a:gd name="T52" fmla="*/ 906427 w 1632"/>
              <a:gd name="T53" fmla="*/ 86751 h 1386"/>
              <a:gd name="T54" fmla="*/ 908904 w 1632"/>
              <a:gd name="T55" fmla="*/ 49572 h 1386"/>
              <a:gd name="T56" fmla="*/ 851943 w 1632"/>
              <a:gd name="T57" fmla="*/ 9914 h 1386"/>
              <a:gd name="T58" fmla="*/ 307096 w 1632"/>
              <a:gd name="T59" fmla="*/ 332133 h 1386"/>
              <a:gd name="T60" fmla="*/ 299666 w 1632"/>
              <a:gd name="T61" fmla="*/ 416406 h 1386"/>
              <a:gd name="T62" fmla="*/ 326908 w 1632"/>
              <a:gd name="T63" fmla="*/ 441192 h 1386"/>
              <a:gd name="T64" fmla="*/ 381393 w 1632"/>
              <a:gd name="T65" fmla="*/ 436235 h 1386"/>
              <a:gd name="T66" fmla="*/ 445784 w 1632"/>
              <a:gd name="T67" fmla="*/ 406492 h 1386"/>
              <a:gd name="T68" fmla="*/ 482933 w 1632"/>
              <a:gd name="T69" fmla="*/ 416406 h 1386"/>
              <a:gd name="T70" fmla="*/ 515128 w 1632"/>
              <a:gd name="T71" fmla="*/ 456064 h 1386"/>
              <a:gd name="T72" fmla="*/ 512651 w 1632"/>
              <a:gd name="T73" fmla="*/ 545294 h 1386"/>
              <a:gd name="T74" fmla="*/ 482933 w 1632"/>
              <a:gd name="T75" fmla="*/ 622130 h 1386"/>
              <a:gd name="T76" fmla="*/ 408635 w 1632"/>
              <a:gd name="T77" fmla="*/ 706403 h 1386"/>
              <a:gd name="T78" fmla="*/ 341768 w 1632"/>
              <a:gd name="T79" fmla="*/ 733668 h 1386"/>
              <a:gd name="T80" fmla="*/ 304619 w 1632"/>
              <a:gd name="T81" fmla="*/ 726232 h 1386"/>
              <a:gd name="T82" fmla="*/ 274900 w 1632"/>
              <a:gd name="T83" fmla="*/ 689053 h 1386"/>
              <a:gd name="T84" fmla="*/ 267470 w 1632"/>
              <a:gd name="T85" fmla="*/ 607259 h 1386"/>
              <a:gd name="T86" fmla="*/ 235275 w 1632"/>
              <a:gd name="T87" fmla="*/ 570080 h 1386"/>
              <a:gd name="T88" fmla="*/ 200603 w 1632"/>
              <a:gd name="T89" fmla="*/ 572558 h 1386"/>
              <a:gd name="T90" fmla="*/ 4953 w 1632"/>
              <a:gd name="T91" fmla="*/ 852641 h 1386"/>
              <a:gd name="T92" fmla="*/ 1485946 w 1632"/>
              <a:gd name="T93" fmla="*/ 1717675 h 1386"/>
              <a:gd name="T94" fmla="*/ 1805425 w 1632"/>
              <a:gd name="T95" fmla="*/ 555208 h 1386"/>
              <a:gd name="T96" fmla="*/ 1802948 w 1632"/>
              <a:gd name="T97" fmla="*/ 473414 h 1386"/>
              <a:gd name="T98" fmla="*/ 1835144 w 1632"/>
              <a:gd name="T99" fmla="*/ 448628 h 1386"/>
              <a:gd name="T100" fmla="*/ 1879722 w 1632"/>
              <a:gd name="T101" fmla="*/ 451107 h 1386"/>
              <a:gd name="T102" fmla="*/ 1951543 w 1632"/>
              <a:gd name="T103" fmla="*/ 483328 h 138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1632" h="1386">
                <a:moveTo>
                  <a:pt x="1576" y="390"/>
                </a:moveTo>
                <a:lnTo>
                  <a:pt x="1576" y="390"/>
                </a:lnTo>
                <a:lnTo>
                  <a:pt x="1588" y="388"/>
                </a:lnTo>
                <a:lnTo>
                  <a:pt x="1602" y="382"/>
                </a:lnTo>
                <a:lnTo>
                  <a:pt x="1610" y="376"/>
                </a:lnTo>
                <a:lnTo>
                  <a:pt x="1618" y="368"/>
                </a:lnTo>
                <a:lnTo>
                  <a:pt x="1624" y="360"/>
                </a:lnTo>
                <a:lnTo>
                  <a:pt x="1628" y="350"/>
                </a:lnTo>
                <a:lnTo>
                  <a:pt x="1630" y="338"/>
                </a:lnTo>
                <a:lnTo>
                  <a:pt x="1632" y="328"/>
                </a:lnTo>
                <a:lnTo>
                  <a:pt x="1632" y="302"/>
                </a:lnTo>
                <a:lnTo>
                  <a:pt x="1626" y="278"/>
                </a:lnTo>
                <a:lnTo>
                  <a:pt x="1620" y="254"/>
                </a:lnTo>
                <a:lnTo>
                  <a:pt x="1612" y="234"/>
                </a:lnTo>
                <a:lnTo>
                  <a:pt x="1602" y="216"/>
                </a:lnTo>
                <a:lnTo>
                  <a:pt x="1594" y="202"/>
                </a:lnTo>
                <a:lnTo>
                  <a:pt x="1584" y="188"/>
                </a:lnTo>
                <a:lnTo>
                  <a:pt x="1570" y="172"/>
                </a:lnTo>
                <a:lnTo>
                  <a:pt x="1556" y="158"/>
                </a:lnTo>
                <a:lnTo>
                  <a:pt x="1540" y="146"/>
                </a:lnTo>
                <a:lnTo>
                  <a:pt x="1522" y="136"/>
                </a:lnTo>
                <a:lnTo>
                  <a:pt x="1504" y="128"/>
                </a:lnTo>
                <a:lnTo>
                  <a:pt x="1496" y="126"/>
                </a:lnTo>
                <a:lnTo>
                  <a:pt x="1486" y="126"/>
                </a:lnTo>
                <a:lnTo>
                  <a:pt x="1474" y="128"/>
                </a:lnTo>
                <a:lnTo>
                  <a:pt x="1460" y="134"/>
                </a:lnTo>
                <a:lnTo>
                  <a:pt x="1452" y="140"/>
                </a:lnTo>
                <a:lnTo>
                  <a:pt x="1444" y="148"/>
                </a:lnTo>
                <a:lnTo>
                  <a:pt x="1440" y="154"/>
                </a:lnTo>
                <a:lnTo>
                  <a:pt x="1436" y="162"/>
                </a:lnTo>
                <a:lnTo>
                  <a:pt x="1434" y="178"/>
                </a:lnTo>
                <a:lnTo>
                  <a:pt x="1434" y="196"/>
                </a:lnTo>
                <a:lnTo>
                  <a:pt x="1434" y="212"/>
                </a:lnTo>
                <a:lnTo>
                  <a:pt x="1432" y="228"/>
                </a:lnTo>
                <a:lnTo>
                  <a:pt x="1428" y="236"/>
                </a:lnTo>
                <a:lnTo>
                  <a:pt x="1422" y="244"/>
                </a:lnTo>
                <a:lnTo>
                  <a:pt x="1416" y="250"/>
                </a:lnTo>
                <a:lnTo>
                  <a:pt x="1406" y="258"/>
                </a:lnTo>
                <a:lnTo>
                  <a:pt x="1400" y="260"/>
                </a:lnTo>
                <a:lnTo>
                  <a:pt x="1392" y="260"/>
                </a:lnTo>
                <a:lnTo>
                  <a:pt x="1384" y="260"/>
                </a:lnTo>
                <a:lnTo>
                  <a:pt x="1376" y="258"/>
                </a:lnTo>
                <a:lnTo>
                  <a:pt x="1360" y="248"/>
                </a:lnTo>
                <a:lnTo>
                  <a:pt x="1344" y="236"/>
                </a:lnTo>
                <a:lnTo>
                  <a:pt x="1330" y="224"/>
                </a:lnTo>
                <a:lnTo>
                  <a:pt x="1200" y="0"/>
                </a:lnTo>
                <a:lnTo>
                  <a:pt x="936" y="0"/>
                </a:lnTo>
                <a:lnTo>
                  <a:pt x="914" y="8"/>
                </a:lnTo>
                <a:lnTo>
                  <a:pt x="890" y="18"/>
                </a:lnTo>
                <a:lnTo>
                  <a:pt x="880" y="24"/>
                </a:lnTo>
                <a:lnTo>
                  <a:pt x="872" y="32"/>
                </a:lnTo>
                <a:lnTo>
                  <a:pt x="866" y="40"/>
                </a:lnTo>
                <a:lnTo>
                  <a:pt x="864" y="48"/>
                </a:lnTo>
                <a:lnTo>
                  <a:pt x="866" y="60"/>
                </a:lnTo>
                <a:lnTo>
                  <a:pt x="868" y="70"/>
                </a:lnTo>
                <a:lnTo>
                  <a:pt x="872" y="78"/>
                </a:lnTo>
                <a:lnTo>
                  <a:pt x="876" y="84"/>
                </a:lnTo>
                <a:lnTo>
                  <a:pt x="890" y="96"/>
                </a:lnTo>
                <a:lnTo>
                  <a:pt x="904" y="104"/>
                </a:lnTo>
                <a:lnTo>
                  <a:pt x="918" y="112"/>
                </a:lnTo>
                <a:lnTo>
                  <a:pt x="932" y="122"/>
                </a:lnTo>
                <a:lnTo>
                  <a:pt x="936" y="130"/>
                </a:lnTo>
                <a:lnTo>
                  <a:pt x="940" y="138"/>
                </a:lnTo>
                <a:lnTo>
                  <a:pt x="944" y="146"/>
                </a:lnTo>
                <a:lnTo>
                  <a:pt x="944" y="158"/>
                </a:lnTo>
                <a:lnTo>
                  <a:pt x="944" y="170"/>
                </a:lnTo>
                <a:lnTo>
                  <a:pt x="940" y="180"/>
                </a:lnTo>
                <a:lnTo>
                  <a:pt x="936" y="190"/>
                </a:lnTo>
                <a:lnTo>
                  <a:pt x="928" y="198"/>
                </a:lnTo>
                <a:lnTo>
                  <a:pt x="920" y="206"/>
                </a:lnTo>
                <a:lnTo>
                  <a:pt x="912" y="212"/>
                </a:lnTo>
                <a:lnTo>
                  <a:pt x="890" y="224"/>
                </a:lnTo>
                <a:lnTo>
                  <a:pt x="866" y="232"/>
                </a:lnTo>
                <a:lnTo>
                  <a:pt x="842" y="238"/>
                </a:lnTo>
                <a:lnTo>
                  <a:pt x="820" y="242"/>
                </a:lnTo>
                <a:lnTo>
                  <a:pt x="800" y="242"/>
                </a:lnTo>
                <a:lnTo>
                  <a:pt x="782" y="242"/>
                </a:lnTo>
                <a:lnTo>
                  <a:pt x="758" y="238"/>
                </a:lnTo>
                <a:lnTo>
                  <a:pt x="734" y="232"/>
                </a:lnTo>
                <a:lnTo>
                  <a:pt x="710" y="224"/>
                </a:lnTo>
                <a:lnTo>
                  <a:pt x="690" y="212"/>
                </a:lnTo>
                <a:lnTo>
                  <a:pt x="680" y="206"/>
                </a:lnTo>
                <a:lnTo>
                  <a:pt x="672" y="198"/>
                </a:lnTo>
                <a:lnTo>
                  <a:pt x="666" y="190"/>
                </a:lnTo>
                <a:lnTo>
                  <a:pt x="660" y="180"/>
                </a:lnTo>
                <a:lnTo>
                  <a:pt x="658" y="170"/>
                </a:lnTo>
                <a:lnTo>
                  <a:pt x="656" y="158"/>
                </a:lnTo>
                <a:lnTo>
                  <a:pt x="658" y="146"/>
                </a:lnTo>
                <a:lnTo>
                  <a:pt x="660" y="138"/>
                </a:lnTo>
                <a:lnTo>
                  <a:pt x="664" y="130"/>
                </a:lnTo>
                <a:lnTo>
                  <a:pt x="670" y="122"/>
                </a:lnTo>
                <a:lnTo>
                  <a:pt x="682" y="112"/>
                </a:lnTo>
                <a:lnTo>
                  <a:pt x="696" y="104"/>
                </a:lnTo>
                <a:lnTo>
                  <a:pt x="712" y="96"/>
                </a:lnTo>
                <a:lnTo>
                  <a:pt x="724" y="84"/>
                </a:lnTo>
                <a:lnTo>
                  <a:pt x="730" y="78"/>
                </a:lnTo>
                <a:lnTo>
                  <a:pt x="732" y="70"/>
                </a:lnTo>
                <a:lnTo>
                  <a:pt x="736" y="60"/>
                </a:lnTo>
                <a:lnTo>
                  <a:pt x="736" y="48"/>
                </a:lnTo>
                <a:lnTo>
                  <a:pt x="734" y="40"/>
                </a:lnTo>
                <a:lnTo>
                  <a:pt x="728" y="32"/>
                </a:lnTo>
                <a:lnTo>
                  <a:pt x="720" y="24"/>
                </a:lnTo>
                <a:lnTo>
                  <a:pt x="710" y="18"/>
                </a:lnTo>
                <a:lnTo>
                  <a:pt x="688" y="8"/>
                </a:lnTo>
                <a:lnTo>
                  <a:pt x="666" y="0"/>
                </a:lnTo>
                <a:lnTo>
                  <a:pt x="402" y="0"/>
                </a:lnTo>
                <a:lnTo>
                  <a:pt x="248" y="268"/>
                </a:lnTo>
                <a:lnTo>
                  <a:pt x="242" y="290"/>
                </a:lnTo>
                <a:lnTo>
                  <a:pt x="240" y="314"/>
                </a:lnTo>
                <a:lnTo>
                  <a:pt x="240" y="326"/>
                </a:lnTo>
                <a:lnTo>
                  <a:pt x="242" y="336"/>
                </a:lnTo>
                <a:lnTo>
                  <a:pt x="248" y="344"/>
                </a:lnTo>
                <a:lnTo>
                  <a:pt x="254" y="350"/>
                </a:lnTo>
                <a:lnTo>
                  <a:pt x="264" y="356"/>
                </a:lnTo>
                <a:lnTo>
                  <a:pt x="274" y="358"/>
                </a:lnTo>
                <a:lnTo>
                  <a:pt x="284" y="358"/>
                </a:lnTo>
                <a:lnTo>
                  <a:pt x="292" y="358"/>
                </a:lnTo>
                <a:lnTo>
                  <a:pt x="308" y="352"/>
                </a:lnTo>
                <a:lnTo>
                  <a:pt x="322" y="344"/>
                </a:lnTo>
                <a:lnTo>
                  <a:pt x="336" y="336"/>
                </a:lnTo>
                <a:lnTo>
                  <a:pt x="352" y="330"/>
                </a:lnTo>
                <a:lnTo>
                  <a:pt x="360" y="328"/>
                </a:lnTo>
                <a:lnTo>
                  <a:pt x="370" y="328"/>
                </a:lnTo>
                <a:lnTo>
                  <a:pt x="378" y="332"/>
                </a:lnTo>
                <a:lnTo>
                  <a:pt x="390" y="336"/>
                </a:lnTo>
                <a:lnTo>
                  <a:pt x="398" y="342"/>
                </a:lnTo>
                <a:lnTo>
                  <a:pt x="406" y="350"/>
                </a:lnTo>
                <a:lnTo>
                  <a:pt x="412" y="358"/>
                </a:lnTo>
                <a:lnTo>
                  <a:pt x="416" y="368"/>
                </a:lnTo>
                <a:lnTo>
                  <a:pt x="418" y="380"/>
                </a:lnTo>
                <a:lnTo>
                  <a:pt x="420" y="392"/>
                </a:lnTo>
                <a:lnTo>
                  <a:pt x="418" y="416"/>
                </a:lnTo>
                <a:lnTo>
                  <a:pt x="414" y="440"/>
                </a:lnTo>
                <a:lnTo>
                  <a:pt x="408" y="464"/>
                </a:lnTo>
                <a:lnTo>
                  <a:pt x="400" y="486"/>
                </a:lnTo>
                <a:lnTo>
                  <a:pt x="390" y="502"/>
                </a:lnTo>
                <a:lnTo>
                  <a:pt x="380" y="518"/>
                </a:lnTo>
                <a:lnTo>
                  <a:pt x="366" y="536"/>
                </a:lnTo>
                <a:lnTo>
                  <a:pt x="348" y="554"/>
                </a:lnTo>
                <a:lnTo>
                  <a:pt x="330" y="570"/>
                </a:lnTo>
                <a:lnTo>
                  <a:pt x="308" y="584"/>
                </a:lnTo>
                <a:lnTo>
                  <a:pt x="298" y="588"/>
                </a:lnTo>
                <a:lnTo>
                  <a:pt x="288" y="592"/>
                </a:lnTo>
                <a:lnTo>
                  <a:pt x="276" y="592"/>
                </a:lnTo>
                <a:lnTo>
                  <a:pt x="266" y="592"/>
                </a:lnTo>
                <a:lnTo>
                  <a:pt x="256" y="590"/>
                </a:lnTo>
                <a:lnTo>
                  <a:pt x="246" y="586"/>
                </a:lnTo>
                <a:lnTo>
                  <a:pt x="236" y="578"/>
                </a:lnTo>
                <a:lnTo>
                  <a:pt x="230" y="572"/>
                </a:lnTo>
                <a:lnTo>
                  <a:pt x="224" y="564"/>
                </a:lnTo>
                <a:lnTo>
                  <a:pt x="222" y="556"/>
                </a:lnTo>
                <a:lnTo>
                  <a:pt x="218" y="540"/>
                </a:lnTo>
                <a:lnTo>
                  <a:pt x="218" y="522"/>
                </a:lnTo>
                <a:lnTo>
                  <a:pt x="218" y="506"/>
                </a:lnTo>
                <a:lnTo>
                  <a:pt x="216" y="490"/>
                </a:lnTo>
                <a:lnTo>
                  <a:pt x="212" y="482"/>
                </a:lnTo>
                <a:lnTo>
                  <a:pt x="206" y="474"/>
                </a:lnTo>
                <a:lnTo>
                  <a:pt x="200" y="468"/>
                </a:lnTo>
                <a:lnTo>
                  <a:pt x="190" y="460"/>
                </a:lnTo>
                <a:lnTo>
                  <a:pt x="182" y="458"/>
                </a:lnTo>
                <a:lnTo>
                  <a:pt x="172" y="458"/>
                </a:lnTo>
                <a:lnTo>
                  <a:pt x="162" y="462"/>
                </a:lnTo>
                <a:lnTo>
                  <a:pt x="152" y="466"/>
                </a:lnTo>
                <a:lnTo>
                  <a:pt x="132" y="480"/>
                </a:lnTo>
                <a:lnTo>
                  <a:pt x="116" y="496"/>
                </a:lnTo>
                <a:lnTo>
                  <a:pt x="4" y="688"/>
                </a:lnTo>
                <a:lnTo>
                  <a:pt x="2" y="688"/>
                </a:lnTo>
                <a:lnTo>
                  <a:pt x="0" y="694"/>
                </a:lnTo>
                <a:lnTo>
                  <a:pt x="400" y="1386"/>
                </a:lnTo>
                <a:lnTo>
                  <a:pt x="1200" y="1386"/>
                </a:lnTo>
                <a:lnTo>
                  <a:pt x="1600" y="694"/>
                </a:lnTo>
                <a:lnTo>
                  <a:pt x="1598" y="688"/>
                </a:lnTo>
                <a:lnTo>
                  <a:pt x="1458" y="448"/>
                </a:lnTo>
                <a:lnTo>
                  <a:pt x="1454" y="426"/>
                </a:lnTo>
                <a:lnTo>
                  <a:pt x="1452" y="402"/>
                </a:lnTo>
                <a:lnTo>
                  <a:pt x="1454" y="392"/>
                </a:lnTo>
                <a:lnTo>
                  <a:pt x="1456" y="382"/>
                </a:lnTo>
                <a:lnTo>
                  <a:pt x="1460" y="374"/>
                </a:lnTo>
                <a:lnTo>
                  <a:pt x="1466" y="368"/>
                </a:lnTo>
                <a:lnTo>
                  <a:pt x="1482" y="362"/>
                </a:lnTo>
                <a:lnTo>
                  <a:pt x="1496" y="360"/>
                </a:lnTo>
                <a:lnTo>
                  <a:pt x="1508" y="360"/>
                </a:lnTo>
                <a:lnTo>
                  <a:pt x="1518" y="364"/>
                </a:lnTo>
                <a:lnTo>
                  <a:pt x="1536" y="374"/>
                </a:lnTo>
                <a:lnTo>
                  <a:pt x="1556" y="384"/>
                </a:lnTo>
                <a:lnTo>
                  <a:pt x="1566" y="388"/>
                </a:lnTo>
                <a:lnTo>
                  <a:pt x="1576" y="390"/>
                </a:lnTo>
                <a:close/>
              </a:path>
            </a:pathLst>
          </a:custGeom>
          <a:solidFill>
            <a:srgbClr val="FDB82B"/>
          </a:solidFill>
          <a:ln w="38100" cap="flat" cmpd="sng">
            <a:solidFill>
              <a:srgbClr val="FDB82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3" name="Oval 26">
            <a:extLst>
              <a:ext uri="{FF2B5EF4-FFF2-40B4-BE49-F238E27FC236}">
                <a16:creationId xmlns:a16="http://schemas.microsoft.com/office/drawing/2014/main" xmlns="" id="{217D84B8-D657-407D-A1E6-38E92374B971}"/>
              </a:ext>
            </a:extLst>
          </p:cNvPr>
          <p:cNvSpPr/>
          <p:nvPr/>
        </p:nvSpPr>
        <p:spPr>
          <a:xfrm>
            <a:off x="3483004" y="5770786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4" name="Freeform 6">
            <a:extLst>
              <a:ext uri="{FF2B5EF4-FFF2-40B4-BE49-F238E27FC236}">
                <a16:creationId xmlns:a16="http://schemas.microsoft.com/office/drawing/2014/main" xmlns="" id="{C485EE3C-32C8-4600-A356-F0C19A40E64F}"/>
              </a:ext>
            </a:extLst>
          </p:cNvPr>
          <p:cNvSpPr>
            <a:spLocks/>
          </p:cNvSpPr>
          <p:nvPr/>
        </p:nvSpPr>
        <p:spPr bwMode="auto">
          <a:xfrm>
            <a:off x="5251288" y="3555879"/>
            <a:ext cx="2462458" cy="1793186"/>
          </a:xfrm>
          <a:custGeom>
            <a:avLst/>
            <a:gdLst>
              <a:gd name="T0" fmla="*/ 1124331 w 1600"/>
              <a:gd name="T1" fmla="*/ 4953 h 1382"/>
              <a:gd name="T2" fmla="*/ 1104519 w 1600"/>
              <a:gd name="T3" fmla="*/ 12383 h 1382"/>
              <a:gd name="T4" fmla="*/ 1094613 w 1600"/>
              <a:gd name="T5" fmla="*/ 17336 h 1382"/>
              <a:gd name="T6" fmla="*/ 1084707 w 1600"/>
              <a:gd name="T7" fmla="*/ 22289 h 1382"/>
              <a:gd name="T8" fmla="*/ 1077278 w 1600"/>
              <a:gd name="T9" fmla="*/ 27243 h 1382"/>
              <a:gd name="T10" fmla="*/ 1067372 w 1600"/>
              <a:gd name="T11" fmla="*/ 34672 h 1382"/>
              <a:gd name="T12" fmla="*/ 1062419 w 1600"/>
              <a:gd name="T13" fmla="*/ 42102 h 1382"/>
              <a:gd name="T14" fmla="*/ 1059942 w 1600"/>
              <a:gd name="T15" fmla="*/ 49532 h 1382"/>
              <a:gd name="T16" fmla="*/ 1057466 w 1600"/>
              <a:gd name="T17" fmla="*/ 56962 h 1382"/>
              <a:gd name="T18" fmla="*/ 1059942 w 1600"/>
              <a:gd name="T19" fmla="*/ 71821 h 1382"/>
              <a:gd name="T20" fmla="*/ 1059942 w 1600"/>
              <a:gd name="T21" fmla="*/ 79251 h 1382"/>
              <a:gd name="T22" fmla="*/ 1072325 w 1600"/>
              <a:gd name="T23" fmla="*/ 101540 h 1382"/>
              <a:gd name="T24" fmla="*/ 1121855 w 1600"/>
              <a:gd name="T25" fmla="*/ 136213 h 1382"/>
              <a:gd name="T26" fmla="*/ 1131761 w 1600"/>
              <a:gd name="T27" fmla="*/ 141166 h 1382"/>
              <a:gd name="T28" fmla="*/ 1144143 w 1600"/>
              <a:gd name="T29" fmla="*/ 153549 h 1382"/>
              <a:gd name="T30" fmla="*/ 1149096 w 1600"/>
              <a:gd name="T31" fmla="*/ 160978 h 1382"/>
              <a:gd name="T32" fmla="*/ 1156526 w 1600"/>
              <a:gd name="T33" fmla="*/ 180791 h 1382"/>
              <a:gd name="T34" fmla="*/ 1156526 w 1600"/>
              <a:gd name="T35" fmla="*/ 193174 h 1382"/>
              <a:gd name="T36" fmla="*/ 1126808 w 1600"/>
              <a:gd name="T37" fmla="*/ 252612 h 1382"/>
              <a:gd name="T38" fmla="*/ 978218 w 1600"/>
              <a:gd name="T39" fmla="*/ 297191 h 1382"/>
              <a:gd name="T40" fmla="*/ 842010 w 1600"/>
              <a:gd name="T41" fmla="*/ 260042 h 1382"/>
              <a:gd name="T42" fmla="*/ 799910 w 1600"/>
              <a:gd name="T43" fmla="*/ 193174 h 1382"/>
              <a:gd name="T44" fmla="*/ 802386 w 1600"/>
              <a:gd name="T45" fmla="*/ 183268 h 1382"/>
              <a:gd name="T46" fmla="*/ 804863 w 1600"/>
              <a:gd name="T47" fmla="*/ 170885 h 1382"/>
              <a:gd name="T48" fmla="*/ 812292 w 1600"/>
              <a:gd name="T49" fmla="*/ 153549 h 1382"/>
              <a:gd name="T50" fmla="*/ 819722 w 1600"/>
              <a:gd name="T51" fmla="*/ 146119 h 1382"/>
              <a:gd name="T52" fmla="*/ 832104 w 1600"/>
              <a:gd name="T53" fmla="*/ 136213 h 1382"/>
              <a:gd name="T54" fmla="*/ 869252 w 1600"/>
              <a:gd name="T55" fmla="*/ 113923 h 1382"/>
              <a:gd name="T56" fmla="*/ 896493 w 1600"/>
              <a:gd name="T57" fmla="*/ 79251 h 1382"/>
              <a:gd name="T58" fmla="*/ 898970 w 1600"/>
              <a:gd name="T59" fmla="*/ 71821 h 1382"/>
              <a:gd name="T60" fmla="*/ 898970 w 1600"/>
              <a:gd name="T61" fmla="*/ 56962 h 1382"/>
              <a:gd name="T62" fmla="*/ 898970 w 1600"/>
              <a:gd name="T63" fmla="*/ 49532 h 1382"/>
              <a:gd name="T64" fmla="*/ 894017 w 1600"/>
              <a:gd name="T65" fmla="*/ 42102 h 1382"/>
              <a:gd name="T66" fmla="*/ 889064 w 1600"/>
              <a:gd name="T67" fmla="*/ 34672 h 1382"/>
              <a:gd name="T68" fmla="*/ 879158 w 1600"/>
              <a:gd name="T69" fmla="*/ 27243 h 1382"/>
              <a:gd name="T70" fmla="*/ 871728 w 1600"/>
              <a:gd name="T71" fmla="*/ 22289 h 1382"/>
              <a:gd name="T72" fmla="*/ 861822 w 1600"/>
              <a:gd name="T73" fmla="*/ 17336 h 1382"/>
              <a:gd name="T74" fmla="*/ 851916 w 1600"/>
              <a:gd name="T75" fmla="*/ 12383 h 1382"/>
              <a:gd name="T76" fmla="*/ 834581 w 1600"/>
              <a:gd name="T77" fmla="*/ 4953 h 1382"/>
              <a:gd name="T78" fmla="*/ 497777 w 1600"/>
              <a:gd name="T79" fmla="*/ 2477 h 1382"/>
              <a:gd name="T80" fmla="*/ 324422 w 1600"/>
              <a:gd name="T81" fmla="*/ 371489 h 1382"/>
              <a:gd name="T82" fmla="*/ 373952 w 1600"/>
              <a:gd name="T83" fmla="*/ 398731 h 1382"/>
              <a:gd name="T84" fmla="*/ 470535 w 1600"/>
              <a:gd name="T85" fmla="*/ 361582 h 1382"/>
              <a:gd name="T86" fmla="*/ 525018 w 1600"/>
              <a:gd name="T87" fmla="*/ 388825 h 1382"/>
              <a:gd name="T88" fmla="*/ 537401 w 1600"/>
              <a:gd name="T89" fmla="*/ 500272 h 1382"/>
              <a:gd name="T90" fmla="*/ 475488 w 1600"/>
              <a:gd name="T91" fmla="*/ 619148 h 1382"/>
              <a:gd name="T92" fmla="*/ 366522 w 1600"/>
              <a:gd name="T93" fmla="*/ 688493 h 1382"/>
              <a:gd name="T94" fmla="*/ 307086 w 1600"/>
              <a:gd name="T95" fmla="*/ 661250 h 1382"/>
              <a:gd name="T96" fmla="*/ 289751 w 1600"/>
              <a:gd name="T97" fmla="*/ 562186 h 1382"/>
              <a:gd name="T98" fmla="*/ 250127 w 1600"/>
              <a:gd name="T99" fmla="*/ 522561 h 1382"/>
              <a:gd name="T100" fmla="*/ 4953 w 1600"/>
              <a:gd name="T101" fmla="*/ 854424 h 1382"/>
              <a:gd name="T102" fmla="*/ 180785 w 1600"/>
              <a:gd name="T103" fmla="*/ 1151615 h 1382"/>
              <a:gd name="T104" fmla="*/ 245174 w 1600"/>
              <a:gd name="T105" fmla="*/ 1181334 h 1382"/>
              <a:gd name="T106" fmla="*/ 282321 w 1600"/>
              <a:gd name="T107" fmla="*/ 1141709 h 1382"/>
              <a:gd name="T108" fmla="*/ 299657 w 1600"/>
              <a:gd name="T109" fmla="*/ 1042645 h 1382"/>
              <a:gd name="T110" fmla="*/ 354140 w 1600"/>
              <a:gd name="T111" fmla="*/ 1015403 h 1382"/>
              <a:gd name="T112" fmla="*/ 460629 w 1600"/>
              <a:gd name="T113" fmla="*/ 1072364 h 1382"/>
              <a:gd name="T114" fmla="*/ 525018 w 1600"/>
              <a:gd name="T115" fmla="*/ 1173905 h 1382"/>
              <a:gd name="T116" fmla="*/ 529971 w 1600"/>
              <a:gd name="T117" fmla="*/ 1305164 h 1382"/>
              <a:gd name="T118" fmla="*/ 465582 w 1600"/>
              <a:gd name="T119" fmla="*/ 1342313 h 1382"/>
              <a:gd name="T120" fmla="*/ 381381 w 1600"/>
              <a:gd name="T121" fmla="*/ 1307641 h 1382"/>
              <a:gd name="T122" fmla="*/ 326898 w 1600"/>
              <a:gd name="T123" fmla="*/ 1322500 h 1382"/>
              <a:gd name="T124" fmla="*/ 497777 w 1600"/>
              <a:gd name="T125" fmla="*/ 1711325 h 138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00" h="1382">
                <a:moveTo>
                  <a:pt x="1200" y="2"/>
                </a:moveTo>
                <a:lnTo>
                  <a:pt x="912" y="2"/>
                </a:lnTo>
                <a:lnTo>
                  <a:pt x="908" y="4"/>
                </a:lnTo>
                <a:lnTo>
                  <a:pt x="906" y="4"/>
                </a:lnTo>
                <a:lnTo>
                  <a:pt x="894" y="8"/>
                </a:lnTo>
                <a:lnTo>
                  <a:pt x="892" y="10"/>
                </a:lnTo>
                <a:lnTo>
                  <a:pt x="890" y="10"/>
                </a:lnTo>
                <a:lnTo>
                  <a:pt x="886" y="12"/>
                </a:lnTo>
                <a:lnTo>
                  <a:pt x="884" y="14"/>
                </a:lnTo>
                <a:lnTo>
                  <a:pt x="882" y="14"/>
                </a:lnTo>
                <a:lnTo>
                  <a:pt x="880" y="16"/>
                </a:lnTo>
                <a:lnTo>
                  <a:pt x="876" y="18"/>
                </a:lnTo>
                <a:lnTo>
                  <a:pt x="874" y="18"/>
                </a:lnTo>
                <a:lnTo>
                  <a:pt x="870" y="22"/>
                </a:lnTo>
                <a:lnTo>
                  <a:pt x="866" y="26"/>
                </a:lnTo>
                <a:lnTo>
                  <a:pt x="864" y="26"/>
                </a:lnTo>
                <a:lnTo>
                  <a:pt x="862" y="28"/>
                </a:lnTo>
                <a:lnTo>
                  <a:pt x="862" y="30"/>
                </a:lnTo>
                <a:lnTo>
                  <a:pt x="860" y="32"/>
                </a:lnTo>
                <a:lnTo>
                  <a:pt x="858" y="34"/>
                </a:lnTo>
                <a:lnTo>
                  <a:pt x="856" y="36"/>
                </a:lnTo>
                <a:lnTo>
                  <a:pt x="856" y="38"/>
                </a:lnTo>
                <a:lnTo>
                  <a:pt x="856" y="40"/>
                </a:lnTo>
                <a:lnTo>
                  <a:pt x="854" y="42"/>
                </a:lnTo>
                <a:lnTo>
                  <a:pt x="854" y="46"/>
                </a:lnTo>
                <a:lnTo>
                  <a:pt x="854" y="52"/>
                </a:lnTo>
                <a:lnTo>
                  <a:pt x="854" y="54"/>
                </a:lnTo>
                <a:lnTo>
                  <a:pt x="856" y="58"/>
                </a:lnTo>
                <a:lnTo>
                  <a:pt x="856" y="60"/>
                </a:lnTo>
                <a:lnTo>
                  <a:pt x="856" y="64"/>
                </a:lnTo>
                <a:lnTo>
                  <a:pt x="858" y="70"/>
                </a:lnTo>
                <a:lnTo>
                  <a:pt x="862" y="76"/>
                </a:lnTo>
                <a:lnTo>
                  <a:pt x="866" y="82"/>
                </a:lnTo>
                <a:lnTo>
                  <a:pt x="878" y="92"/>
                </a:lnTo>
                <a:lnTo>
                  <a:pt x="890" y="100"/>
                </a:lnTo>
                <a:lnTo>
                  <a:pt x="904" y="108"/>
                </a:lnTo>
                <a:lnTo>
                  <a:pt x="906" y="110"/>
                </a:lnTo>
                <a:lnTo>
                  <a:pt x="908" y="110"/>
                </a:lnTo>
                <a:lnTo>
                  <a:pt x="912" y="114"/>
                </a:lnTo>
                <a:lnTo>
                  <a:pt x="914" y="114"/>
                </a:lnTo>
                <a:lnTo>
                  <a:pt x="918" y="118"/>
                </a:lnTo>
                <a:lnTo>
                  <a:pt x="920" y="120"/>
                </a:lnTo>
                <a:lnTo>
                  <a:pt x="924" y="124"/>
                </a:lnTo>
                <a:lnTo>
                  <a:pt x="928" y="130"/>
                </a:lnTo>
                <a:lnTo>
                  <a:pt x="930" y="138"/>
                </a:lnTo>
                <a:lnTo>
                  <a:pt x="932" y="138"/>
                </a:lnTo>
                <a:lnTo>
                  <a:pt x="934" y="146"/>
                </a:lnTo>
                <a:lnTo>
                  <a:pt x="934" y="148"/>
                </a:lnTo>
                <a:lnTo>
                  <a:pt x="934" y="156"/>
                </a:lnTo>
                <a:lnTo>
                  <a:pt x="934" y="168"/>
                </a:lnTo>
                <a:lnTo>
                  <a:pt x="930" y="178"/>
                </a:lnTo>
                <a:lnTo>
                  <a:pt x="926" y="188"/>
                </a:lnTo>
                <a:lnTo>
                  <a:pt x="918" y="196"/>
                </a:lnTo>
                <a:lnTo>
                  <a:pt x="910" y="204"/>
                </a:lnTo>
                <a:lnTo>
                  <a:pt x="902" y="210"/>
                </a:lnTo>
                <a:lnTo>
                  <a:pt x="880" y="222"/>
                </a:lnTo>
                <a:lnTo>
                  <a:pt x="856" y="230"/>
                </a:lnTo>
                <a:lnTo>
                  <a:pt x="832" y="236"/>
                </a:lnTo>
                <a:lnTo>
                  <a:pt x="810" y="240"/>
                </a:lnTo>
                <a:lnTo>
                  <a:pt x="790" y="240"/>
                </a:lnTo>
                <a:lnTo>
                  <a:pt x="770" y="240"/>
                </a:lnTo>
                <a:lnTo>
                  <a:pt x="748" y="236"/>
                </a:lnTo>
                <a:lnTo>
                  <a:pt x="724" y="230"/>
                </a:lnTo>
                <a:lnTo>
                  <a:pt x="700" y="222"/>
                </a:lnTo>
                <a:lnTo>
                  <a:pt x="680" y="210"/>
                </a:lnTo>
                <a:lnTo>
                  <a:pt x="670" y="204"/>
                </a:lnTo>
                <a:lnTo>
                  <a:pt x="662" y="196"/>
                </a:lnTo>
                <a:lnTo>
                  <a:pt x="656" y="188"/>
                </a:lnTo>
                <a:lnTo>
                  <a:pt x="650" y="178"/>
                </a:lnTo>
                <a:lnTo>
                  <a:pt x="648" y="168"/>
                </a:lnTo>
                <a:lnTo>
                  <a:pt x="646" y="156"/>
                </a:lnTo>
                <a:lnTo>
                  <a:pt x="648" y="148"/>
                </a:lnTo>
                <a:lnTo>
                  <a:pt x="648" y="146"/>
                </a:lnTo>
                <a:lnTo>
                  <a:pt x="650" y="138"/>
                </a:lnTo>
                <a:lnTo>
                  <a:pt x="652" y="130"/>
                </a:lnTo>
                <a:lnTo>
                  <a:pt x="656" y="124"/>
                </a:lnTo>
                <a:lnTo>
                  <a:pt x="660" y="120"/>
                </a:lnTo>
                <a:lnTo>
                  <a:pt x="662" y="118"/>
                </a:lnTo>
                <a:lnTo>
                  <a:pt x="666" y="114"/>
                </a:lnTo>
                <a:lnTo>
                  <a:pt x="668" y="114"/>
                </a:lnTo>
                <a:lnTo>
                  <a:pt x="672" y="110"/>
                </a:lnTo>
                <a:lnTo>
                  <a:pt x="674" y="110"/>
                </a:lnTo>
                <a:lnTo>
                  <a:pt x="676" y="108"/>
                </a:lnTo>
                <a:lnTo>
                  <a:pt x="690" y="100"/>
                </a:lnTo>
                <a:lnTo>
                  <a:pt x="702" y="92"/>
                </a:lnTo>
                <a:lnTo>
                  <a:pt x="714" y="82"/>
                </a:lnTo>
                <a:lnTo>
                  <a:pt x="718" y="76"/>
                </a:lnTo>
                <a:lnTo>
                  <a:pt x="722" y="70"/>
                </a:lnTo>
                <a:lnTo>
                  <a:pt x="724" y="64"/>
                </a:lnTo>
                <a:lnTo>
                  <a:pt x="724" y="60"/>
                </a:lnTo>
                <a:lnTo>
                  <a:pt x="726" y="58"/>
                </a:lnTo>
                <a:lnTo>
                  <a:pt x="726" y="54"/>
                </a:lnTo>
                <a:lnTo>
                  <a:pt x="726" y="52"/>
                </a:lnTo>
                <a:lnTo>
                  <a:pt x="726" y="46"/>
                </a:lnTo>
                <a:lnTo>
                  <a:pt x="726" y="42"/>
                </a:lnTo>
                <a:lnTo>
                  <a:pt x="726" y="40"/>
                </a:lnTo>
                <a:lnTo>
                  <a:pt x="724" y="38"/>
                </a:lnTo>
                <a:lnTo>
                  <a:pt x="724" y="36"/>
                </a:lnTo>
                <a:lnTo>
                  <a:pt x="722" y="34"/>
                </a:lnTo>
                <a:lnTo>
                  <a:pt x="722" y="32"/>
                </a:lnTo>
                <a:lnTo>
                  <a:pt x="720" y="30"/>
                </a:lnTo>
                <a:lnTo>
                  <a:pt x="718" y="28"/>
                </a:lnTo>
                <a:lnTo>
                  <a:pt x="716" y="26"/>
                </a:lnTo>
                <a:lnTo>
                  <a:pt x="714" y="26"/>
                </a:lnTo>
                <a:lnTo>
                  <a:pt x="710" y="22"/>
                </a:lnTo>
                <a:lnTo>
                  <a:pt x="706" y="18"/>
                </a:lnTo>
                <a:lnTo>
                  <a:pt x="704" y="18"/>
                </a:lnTo>
                <a:lnTo>
                  <a:pt x="702" y="16"/>
                </a:lnTo>
                <a:lnTo>
                  <a:pt x="700" y="14"/>
                </a:lnTo>
                <a:lnTo>
                  <a:pt x="696" y="14"/>
                </a:lnTo>
                <a:lnTo>
                  <a:pt x="694" y="12"/>
                </a:lnTo>
                <a:lnTo>
                  <a:pt x="692" y="10"/>
                </a:lnTo>
                <a:lnTo>
                  <a:pt x="688" y="10"/>
                </a:lnTo>
                <a:lnTo>
                  <a:pt x="686" y="8"/>
                </a:lnTo>
                <a:lnTo>
                  <a:pt x="674" y="4"/>
                </a:lnTo>
                <a:lnTo>
                  <a:pt x="668" y="2"/>
                </a:lnTo>
                <a:lnTo>
                  <a:pt x="402" y="2"/>
                </a:lnTo>
                <a:lnTo>
                  <a:pt x="264" y="238"/>
                </a:lnTo>
                <a:lnTo>
                  <a:pt x="260" y="260"/>
                </a:lnTo>
                <a:lnTo>
                  <a:pt x="260" y="282"/>
                </a:lnTo>
                <a:lnTo>
                  <a:pt x="260" y="292"/>
                </a:lnTo>
                <a:lnTo>
                  <a:pt x="262" y="300"/>
                </a:lnTo>
                <a:lnTo>
                  <a:pt x="268" y="308"/>
                </a:lnTo>
                <a:lnTo>
                  <a:pt x="274" y="314"/>
                </a:lnTo>
                <a:lnTo>
                  <a:pt x="284" y="318"/>
                </a:lnTo>
                <a:lnTo>
                  <a:pt x="294" y="322"/>
                </a:lnTo>
                <a:lnTo>
                  <a:pt x="302" y="322"/>
                </a:lnTo>
                <a:lnTo>
                  <a:pt x="312" y="322"/>
                </a:lnTo>
                <a:lnTo>
                  <a:pt x="326" y="316"/>
                </a:lnTo>
                <a:lnTo>
                  <a:pt x="342" y="308"/>
                </a:lnTo>
                <a:lnTo>
                  <a:pt x="356" y="298"/>
                </a:lnTo>
                <a:lnTo>
                  <a:pt x="372" y="292"/>
                </a:lnTo>
                <a:lnTo>
                  <a:pt x="380" y="292"/>
                </a:lnTo>
                <a:lnTo>
                  <a:pt x="388" y="292"/>
                </a:lnTo>
                <a:lnTo>
                  <a:pt x="398" y="294"/>
                </a:lnTo>
                <a:lnTo>
                  <a:pt x="408" y="300"/>
                </a:lnTo>
                <a:lnTo>
                  <a:pt x="418" y="306"/>
                </a:lnTo>
                <a:lnTo>
                  <a:pt x="424" y="314"/>
                </a:lnTo>
                <a:lnTo>
                  <a:pt x="430" y="322"/>
                </a:lnTo>
                <a:lnTo>
                  <a:pt x="434" y="332"/>
                </a:lnTo>
                <a:lnTo>
                  <a:pt x="438" y="344"/>
                </a:lnTo>
                <a:lnTo>
                  <a:pt x="438" y="354"/>
                </a:lnTo>
                <a:lnTo>
                  <a:pt x="438" y="380"/>
                </a:lnTo>
                <a:lnTo>
                  <a:pt x="434" y="404"/>
                </a:lnTo>
                <a:lnTo>
                  <a:pt x="426" y="428"/>
                </a:lnTo>
                <a:lnTo>
                  <a:pt x="418" y="448"/>
                </a:lnTo>
                <a:lnTo>
                  <a:pt x="410" y="466"/>
                </a:lnTo>
                <a:lnTo>
                  <a:pt x="398" y="482"/>
                </a:lnTo>
                <a:lnTo>
                  <a:pt x="384" y="500"/>
                </a:lnTo>
                <a:lnTo>
                  <a:pt x="368" y="518"/>
                </a:lnTo>
                <a:lnTo>
                  <a:pt x="348" y="534"/>
                </a:lnTo>
                <a:lnTo>
                  <a:pt x="328" y="548"/>
                </a:lnTo>
                <a:lnTo>
                  <a:pt x="318" y="552"/>
                </a:lnTo>
                <a:lnTo>
                  <a:pt x="306" y="554"/>
                </a:lnTo>
                <a:lnTo>
                  <a:pt x="296" y="556"/>
                </a:lnTo>
                <a:lnTo>
                  <a:pt x="284" y="556"/>
                </a:lnTo>
                <a:lnTo>
                  <a:pt x="274" y="554"/>
                </a:lnTo>
                <a:lnTo>
                  <a:pt x="264" y="548"/>
                </a:lnTo>
                <a:lnTo>
                  <a:pt x="256" y="542"/>
                </a:lnTo>
                <a:lnTo>
                  <a:pt x="248" y="534"/>
                </a:lnTo>
                <a:lnTo>
                  <a:pt x="244" y="528"/>
                </a:lnTo>
                <a:lnTo>
                  <a:pt x="240" y="520"/>
                </a:lnTo>
                <a:lnTo>
                  <a:pt x="238" y="504"/>
                </a:lnTo>
                <a:lnTo>
                  <a:pt x="238" y="486"/>
                </a:lnTo>
                <a:lnTo>
                  <a:pt x="238" y="470"/>
                </a:lnTo>
                <a:lnTo>
                  <a:pt x="234" y="454"/>
                </a:lnTo>
                <a:lnTo>
                  <a:pt x="232" y="446"/>
                </a:lnTo>
                <a:lnTo>
                  <a:pt x="226" y="438"/>
                </a:lnTo>
                <a:lnTo>
                  <a:pt x="218" y="430"/>
                </a:lnTo>
                <a:lnTo>
                  <a:pt x="210" y="424"/>
                </a:lnTo>
                <a:lnTo>
                  <a:pt x="202" y="422"/>
                </a:lnTo>
                <a:lnTo>
                  <a:pt x="194" y="422"/>
                </a:lnTo>
                <a:lnTo>
                  <a:pt x="184" y="424"/>
                </a:lnTo>
                <a:lnTo>
                  <a:pt x="174" y="428"/>
                </a:lnTo>
                <a:lnTo>
                  <a:pt x="156" y="440"/>
                </a:lnTo>
                <a:lnTo>
                  <a:pt x="140" y="454"/>
                </a:lnTo>
                <a:lnTo>
                  <a:pt x="4" y="690"/>
                </a:lnTo>
                <a:lnTo>
                  <a:pt x="0" y="690"/>
                </a:lnTo>
                <a:lnTo>
                  <a:pt x="2" y="694"/>
                </a:lnTo>
                <a:lnTo>
                  <a:pt x="4" y="694"/>
                </a:lnTo>
                <a:lnTo>
                  <a:pt x="132" y="918"/>
                </a:lnTo>
                <a:lnTo>
                  <a:pt x="146" y="930"/>
                </a:lnTo>
                <a:lnTo>
                  <a:pt x="160" y="942"/>
                </a:lnTo>
                <a:lnTo>
                  <a:pt x="176" y="950"/>
                </a:lnTo>
                <a:lnTo>
                  <a:pt x="184" y="954"/>
                </a:lnTo>
                <a:lnTo>
                  <a:pt x="192" y="954"/>
                </a:lnTo>
                <a:lnTo>
                  <a:pt x="198" y="954"/>
                </a:lnTo>
                <a:lnTo>
                  <a:pt x="202" y="952"/>
                </a:lnTo>
                <a:lnTo>
                  <a:pt x="212" y="944"/>
                </a:lnTo>
                <a:lnTo>
                  <a:pt x="220" y="938"/>
                </a:lnTo>
                <a:lnTo>
                  <a:pt x="224" y="930"/>
                </a:lnTo>
                <a:lnTo>
                  <a:pt x="228" y="922"/>
                </a:lnTo>
                <a:lnTo>
                  <a:pt x="230" y="906"/>
                </a:lnTo>
                <a:lnTo>
                  <a:pt x="230" y="890"/>
                </a:lnTo>
                <a:lnTo>
                  <a:pt x="230" y="872"/>
                </a:lnTo>
                <a:lnTo>
                  <a:pt x="234" y="856"/>
                </a:lnTo>
                <a:lnTo>
                  <a:pt x="236" y="848"/>
                </a:lnTo>
                <a:lnTo>
                  <a:pt x="242" y="842"/>
                </a:lnTo>
                <a:lnTo>
                  <a:pt x="248" y="834"/>
                </a:lnTo>
                <a:lnTo>
                  <a:pt x="258" y="828"/>
                </a:lnTo>
                <a:lnTo>
                  <a:pt x="272" y="822"/>
                </a:lnTo>
                <a:lnTo>
                  <a:pt x="286" y="820"/>
                </a:lnTo>
                <a:lnTo>
                  <a:pt x="296" y="820"/>
                </a:lnTo>
                <a:lnTo>
                  <a:pt x="304" y="822"/>
                </a:lnTo>
                <a:lnTo>
                  <a:pt x="322" y="828"/>
                </a:lnTo>
                <a:lnTo>
                  <a:pt x="340" y="838"/>
                </a:lnTo>
                <a:lnTo>
                  <a:pt x="358" y="852"/>
                </a:lnTo>
                <a:lnTo>
                  <a:pt x="372" y="866"/>
                </a:lnTo>
                <a:lnTo>
                  <a:pt x="386" y="882"/>
                </a:lnTo>
                <a:lnTo>
                  <a:pt x="398" y="896"/>
                </a:lnTo>
                <a:lnTo>
                  <a:pt x="406" y="910"/>
                </a:lnTo>
                <a:lnTo>
                  <a:pt x="414" y="928"/>
                </a:lnTo>
                <a:lnTo>
                  <a:pt x="424" y="948"/>
                </a:lnTo>
                <a:lnTo>
                  <a:pt x="430" y="972"/>
                </a:lnTo>
                <a:lnTo>
                  <a:pt x="434" y="996"/>
                </a:lnTo>
                <a:lnTo>
                  <a:pt x="436" y="1022"/>
                </a:lnTo>
                <a:lnTo>
                  <a:pt x="434" y="1032"/>
                </a:lnTo>
                <a:lnTo>
                  <a:pt x="432" y="1044"/>
                </a:lnTo>
                <a:lnTo>
                  <a:pt x="428" y="1054"/>
                </a:lnTo>
                <a:lnTo>
                  <a:pt x="422" y="1062"/>
                </a:lnTo>
                <a:lnTo>
                  <a:pt x="414" y="1070"/>
                </a:lnTo>
                <a:lnTo>
                  <a:pt x="404" y="1076"/>
                </a:lnTo>
                <a:lnTo>
                  <a:pt x="390" y="1082"/>
                </a:lnTo>
                <a:lnTo>
                  <a:pt x="376" y="1084"/>
                </a:lnTo>
                <a:lnTo>
                  <a:pt x="366" y="1084"/>
                </a:lnTo>
                <a:lnTo>
                  <a:pt x="354" y="1080"/>
                </a:lnTo>
                <a:lnTo>
                  <a:pt x="336" y="1070"/>
                </a:lnTo>
                <a:lnTo>
                  <a:pt x="318" y="1060"/>
                </a:lnTo>
                <a:lnTo>
                  <a:pt x="308" y="1056"/>
                </a:lnTo>
                <a:lnTo>
                  <a:pt x="296" y="1054"/>
                </a:lnTo>
                <a:lnTo>
                  <a:pt x="284" y="1056"/>
                </a:lnTo>
                <a:lnTo>
                  <a:pt x="270" y="1062"/>
                </a:lnTo>
                <a:lnTo>
                  <a:pt x="264" y="1068"/>
                </a:lnTo>
                <a:lnTo>
                  <a:pt x="258" y="1076"/>
                </a:lnTo>
                <a:lnTo>
                  <a:pt x="256" y="1086"/>
                </a:lnTo>
                <a:lnTo>
                  <a:pt x="256" y="1096"/>
                </a:lnTo>
                <a:lnTo>
                  <a:pt x="258" y="1120"/>
                </a:lnTo>
                <a:lnTo>
                  <a:pt x="262" y="1142"/>
                </a:lnTo>
                <a:lnTo>
                  <a:pt x="402" y="1382"/>
                </a:lnTo>
                <a:lnTo>
                  <a:pt x="1200" y="1382"/>
                </a:lnTo>
                <a:lnTo>
                  <a:pt x="1600" y="690"/>
                </a:lnTo>
                <a:lnTo>
                  <a:pt x="1200" y="0"/>
                </a:lnTo>
                <a:lnTo>
                  <a:pt x="1200" y="2"/>
                </a:lnTo>
                <a:close/>
              </a:path>
            </a:pathLst>
          </a:custGeom>
          <a:solidFill>
            <a:srgbClr val="B4B4B7"/>
          </a:solidFill>
          <a:ln w="38100" cap="flat" cmpd="sng">
            <a:solidFill>
              <a:srgbClr val="B4B4B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5" name="Freeform 7">
            <a:extLst>
              <a:ext uri="{FF2B5EF4-FFF2-40B4-BE49-F238E27FC236}">
                <a16:creationId xmlns:a16="http://schemas.microsoft.com/office/drawing/2014/main" xmlns="" id="{E8D870AB-E609-4633-84A9-052D4D9CED8F}"/>
              </a:ext>
            </a:extLst>
          </p:cNvPr>
          <p:cNvSpPr>
            <a:spLocks/>
          </p:cNvSpPr>
          <p:nvPr/>
        </p:nvSpPr>
        <p:spPr bwMode="auto">
          <a:xfrm>
            <a:off x="3375638" y="834399"/>
            <a:ext cx="2519679" cy="1799839"/>
          </a:xfrm>
          <a:custGeom>
            <a:avLst/>
            <a:gdLst>
              <a:gd name="T0" fmla="*/ 245350 w 1636"/>
              <a:gd name="T1" fmla="*/ 1122809 h 1386"/>
              <a:gd name="T2" fmla="*/ 265176 w 1636"/>
              <a:gd name="T3" fmla="*/ 1075716 h 1386"/>
              <a:gd name="T4" fmla="*/ 265176 w 1636"/>
              <a:gd name="T5" fmla="*/ 1033579 h 1386"/>
              <a:gd name="T6" fmla="*/ 287481 w 1636"/>
              <a:gd name="T7" fmla="*/ 991443 h 1386"/>
              <a:gd name="T8" fmla="*/ 322177 w 1636"/>
              <a:gd name="T9" fmla="*/ 974093 h 1386"/>
              <a:gd name="T10" fmla="*/ 374221 w 1636"/>
              <a:gd name="T11" fmla="*/ 984007 h 1386"/>
              <a:gd name="T12" fmla="*/ 463439 w 1636"/>
              <a:gd name="T13" fmla="*/ 1065801 h 1386"/>
              <a:gd name="T14" fmla="*/ 503092 w 1636"/>
              <a:gd name="T15" fmla="*/ 1145117 h 1386"/>
              <a:gd name="T16" fmla="*/ 513005 w 1636"/>
              <a:gd name="T17" fmla="*/ 1216996 h 1386"/>
              <a:gd name="T18" fmla="*/ 500614 w 1636"/>
              <a:gd name="T19" fmla="*/ 1278961 h 1386"/>
              <a:gd name="T20" fmla="*/ 475831 w 1636"/>
              <a:gd name="T21" fmla="*/ 1301269 h 1386"/>
              <a:gd name="T22" fmla="*/ 428743 w 1636"/>
              <a:gd name="T23" fmla="*/ 1311183 h 1386"/>
              <a:gd name="T24" fmla="*/ 354395 w 1636"/>
              <a:gd name="T25" fmla="*/ 1274004 h 1386"/>
              <a:gd name="T26" fmla="*/ 307307 w 1636"/>
              <a:gd name="T27" fmla="*/ 1283919 h 1386"/>
              <a:gd name="T28" fmla="*/ 292438 w 1636"/>
              <a:gd name="T29" fmla="*/ 1311183 h 1386"/>
              <a:gd name="T30" fmla="*/ 297394 w 1636"/>
              <a:gd name="T31" fmla="*/ 1365713 h 1386"/>
              <a:gd name="T32" fmla="*/ 495657 w 1636"/>
              <a:gd name="T33" fmla="*/ 1712718 h 1386"/>
              <a:gd name="T34" fmla="*/ 822791 w 1636"/>
              <a:gd name="T35" fmla="*/ 1717675 h 1386"/>
              <a:gd name="T36" fmla="*/ 899617 w 1636"/>
              <a:gd name="T37" fmla="*/ 1680496 h 1386"/>
              <a:gd name="T38" fmla="*/ 909531 w 1636"/>
              <a:gd name="T39" fmla="*/ 1643317 h 1386"/>
              <a:gd name="T40" fmla="*/ 879791 w 1636"/>
              <a:gd name="T41" fmla="*/ 1598702 h 1386"/>
              <a:gd name="T42" fmla="*/ 820312 w 1636"/>
              <a:gd name="T43" fmla="*/ 1556566 h 1386"/>
              <a:gd name="T44" fmla="*/ 810399 w 1636"/>
              <a:gd name="T45" fmla="*/ 1521865 h 1386"/>
              <a:gd name="T46" fmla="*/ 830225 w 1636"/>
              <a:gd name="T47" fmla="*/ 1472293 h 1386"/>
              <a:gd name="T48" fmla="*/ 907052 w 1636"/>
              <a:gd name="T49" fmla="*/ 1430157 h 1386"/>
              <a:gd name="T50" fmla="*/ 988836 w 1636"/>
              <a:gd name="T51" fmla="*/ 1417763 h 1386"/>
              <a:gd name="T52" fmla="*/ 1100358 w 1636"/>
              <a:gd name="T53" fmla="*/ 1440071 h 1386"/>
              <a:gd name="T54" fmla="*/ 1157359 w 1636"/>
              <a:gd name="T55" fmla="*/ 1484686 h 1386"/>
              <a:gd name="T56" fmla="*/ 1167272 w 1636"/>
              <a:gd name="T57" fmla="*/ 1521865 h 1386"/>
              <a:gd name="T58" fmla="*/ 1152402 w 1636"/>
              <a:gd name="T59" fmla="*/ 1566480 h 1386"/>
              <a:gd name="T60" fmla="*/ 1083010 w 1636"/>
              <a:gd name="T61" fmla="*/ 1613573 h 1386"/>
              <a:gd name="T62" fmla="*/ 1068141 w 1636"/>
              <a:gd name="T63" fmla="*/ 1658188 h 1386"/>
              <a:gd name="T64" fmla="*/ 1087967 w 1636"/>
              <a:gd name="T65" fmla="*/ 1687932 h 1386"/>
              <a:gd name="T66" fmla="*/ 1479536 w 1636"/>
              <a:gd name="T67" fmla="*/ 1717675 h 1386"/>
              <a:gd name="T68" fmla="*/ 1489449 w 1636"/>
              <a:gd name="T69" fmla="*/ 1707761 h 1386"/>
              <a:gd name="T70" fmla="*/ 1660451 w 1636"/>
              <a:gd name="T71" fmla="*/ 1410328 h 1386"/>
              <a:gd name="T72" fmla="*/ 1727365 w 1636"/>
              <a:gd name="T73" fmla="*/ 1368191 h 1386"/>
              <a:gd name="T74" fmla="*/ 1759582 w 1636"/>
              <a:gd name="T75" fmla="*/ 1380584 h 1386"/>
              <a:gd name="T76" fmla="*/ 1781887 w 1636"/>
              <a:gd name="T77" fmla="*/ 1427678 h 1386"/>
              <a:gd name="T78" fmla="*/ 1789322 w 1636"/>
              <a:gd name="T79" fmla="*/ 1499558 h 1386"/>
              <a:gd name="T80" fmla="*/ 1816583 w 1636"/>
              <a:gd name="T81" fmla="*/ 1526822 h 1386"/>
              <a:gd name="T82" fmla="*/ 1866148 w 1636"/>
              <a:gd name="T83" fmla="*/ 1534258 h 1386"/>
              <a:gd name="T84" fmla="*/ 1942975 w 1636"/>
              <a:gd name="T85" fmla="*/ 1489643 h 1386"/>
              <a:gd name="T86" fmla="*/ 1995019 w 1636"/>
              <a:gd name="T87" fmla="*/ 1425199 h 1386"/>
              <a:gd name="T88" fmla="*/ 2022280 w 1636"/>
              <a:gd name="T89" fmla="*/ 1355798 h 1386"/>
              <a:gd name="T90" fmla="*/ 2024759 w 1636"/>
              <a:gd name="T91" fmla="*/ 1271526 h 1386"/>
              <a:gd name="T92" fmla="*/ 1990063 w 1636"/>
              <a:gd name="T93" fmla="*/ 1226911 h 1386"/>
              <a:gd name="T94" fmla="*/ 1945454 w 1636"/>
              <a:gd name="T95" fmla="*/ 1219475 h 1386"/>
              <a:gd name="T96" fmla="*/ 1871105 w 1636"/>
              <a:gd name="T97" fmla="*/ 1254175 h 1386"/>
              <a:gd name="T98" fmla="*/ 1824018 w 1636"/>
              <a:gd name="T99" fmla="*/ 1244261 h 1386"/>
              <a:gd name="T100" fmla="*/ 1806670 w 1636"/>
              <a:gd name="T101" fmla="*/ 1216996 h 1386"/>
              <a:gd name="T102" fmla="*/ 1814105 w 1636"/>
              <a:gd name="T103" fmla="*/ 1147595 h 1386"/>
              <a:gd name="T104" fmla="*/ 1960323 w 1636"/>
              <a:gd name="T105" fmla="*/ 827855 h 1386"/>
              <a:gd name="T106" fmla="*/ 399004 w 1636"/>
              <a:gd name="T107" fmla="*/ 163588 h 1386"/>
              <a:gd name="T108" fmla="*/ 163567 w 1636"/>
              <a:gd name="T109" fmla="*/ 1117852 h 1386"/>
              <a:gd name="T110" fmla="*/ 218089 w 1636"/>
              <a:gd name="T111" fmla="*/ 1140159 h 138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36" h="1386">
                <a:moveTo>
                  <a:pt x="184" y="918"/>
                </a:moveTo>
                <a:lnTo>
                  <a:pt x="184" y="918"/>
                </a:lnTo>
                <a:lnTo>
                  <a:pt x="192" y="912"/>
                </a:lnTo>
                <a:lnTo>
                  <a:pt x="198" y="906"/>
                </a:lnTo>
                <a:lnTo>
                  <a:pt x="204" y="900"/>
                </a:lnTo>
                <a:lnTo>
                  <a:pt x="208" y="894"/>
                </a:lnTo>
                <a:lnTo>
                  <a:pt x="212" y="882"/>
                </a:lnTo>
                <a:lnTo>
                  <a:pt x="214" y="868"/>
                </a:lnTo>
                <a:lnTo>
                  <a:pt x="212" y="850"/>
                </a:lnTo>
                <a:lnTo>
                  <a:pt x="214" y="834"/>
                </a:lnTo>
                <a:lnTo>
                  <a:pt x="216" y="820"/>
                </a:lnTo>
                <a:lnTo>
                  <a:pt x="220" y="812"/>
                </a:lnTo>
                <a:lnTo>
                  <a:pt x="224" y="806"/>
                </a:lnTo>
                <a:lnTo>
                  <a:pt x="232" y="800"/>
                </a:lnTo>
                <a:lnTo>
                  <a:pt x="240" y="794"/>
                </a:lnTo>
                <a:lnTo>
                  <a:pt x="250" y="788"/>
                </a:lnTo>
                <a:lnTo>
                  <a:pt x="260" y="786"/>
                </a:lnTo>
                <a:lnTo>
                  <a:pt x="270" y="786"/>
                </a:lnTo>
                <a:lnTo>
                  <a:pt x="282" y="786"/>
                </a:lnTo>
                <a:lnTo>
                  <a:pt x="292" y="790"/>
                </a:lnTo>
                <a:lnTo>
                  <a:pt x="302" y="794"/>
                </a:lnTo>
                <a:lnTo>
                  <a:pt x="324" y="808"/>
                </a:lnTo>
                <a:lnTo>
                  <a:pt x="344" y="824"/>
                </a:lnTo>
                <a:lnTo>
                  <a:pt x="360" y="842"/>
                </a:lnTo>
                <a:lnTo>
                  <a:pt x="374" y="860"/>
                </a:lnTo>
                <a:lnTo>
                  <a:pt x="384" y="876"/>
                </a:lnTo>
                <a:lnTo>
                  <a:pt x="396" y="898"/>
                </a:lnTo>
                <a:lnTo>
                  <a:pt x="406" y="924"/>
                </a:lnTo>
                <a:lnTo>
                  <a:pt x="412" y="954"/>
                </a:lnTo>
                <a:lnTo>
                  <a:pt x="414" y="968"/>
                </a:lnTo>
                <a:lnTo>
                  <a:pt x="414" y="982"/>
                </a:lnTo>
                <a:lnTo>
                  <a:pt x="414" y="1004"/>
                </a:lnTo>
                <a:lnTo>
                  <a:pt x="412" y="1014"/>
                </a:lnTo>
                <a:lnTo>
                  <a:pt x="408" y="1022"/>
                </a:lnTo>
                <a:lnTo>
                  <a:pt x="404" y="1032"/>
                </a:lnTo>
                <a:lnTo>
                  <a:pt x="398" y="1038"/>
                </a:lnTo>
                <a:lnTo>
                  <a:pt x="392" y="1046"/>
                </a:lnTo>
                <a:lnTo>
                  <a:pt x="384" y="1050"/>
                </a:lnTo>
                <a:lnTo>
                  <a:pt x="374" y="1056"/>
                </a:lnTo>
                <a:lnTo>
                  <a:pt x="364" y="1058"/>
                </a:lnTo>
                <a:lnTo>
                  <a:pt x="354" y="1058"/>
                </a:lnTo>
                <a:lnTo>
                  <a:pt x="346" y="1058"/>
                </a:lnTo>
                <a:lnTo>
                  <a:pt x="330" y="1052"/>
                </a:lnTo>
                <a:lnTo>
                  <a:pt x="316" y="1042"/>
                </a:lnTo>
                <a:lnTo>
                  <a:pt x="302" y="1034"/>
                </a:lnTo>
                <a:lnTo>
                  <a:pt x="286" y="1028"/>
                </a:lnTo>
                <a:lnTo>
                  <a:pt x="278" y="1028"/>
                </a:lnTo>
                <a:lnTo>
                  <a:pt x="268" y="1028"/>
                </a:lnTo>
                <a:lnTo>
                  <a:pt x="258" y="1032"/>
                </a:lnTo>
                <a:lnTo>
                  <a:pt x="248" y="1036"/>
                </a:lnTo>
                <a:lnTo>
                  <a:pt x="242" y="1042"/>
                </a:lnTo>
                <a:lnTo>
                  <a:pt x="238" y="1048"/>
                </a:lnTo>
                <a:lnTo>
                  <a:pt x="236" y="1058"/>
                </a:lnTo>
                <a:lnTo>
                  <a:pt x="234" y="1068"/>
                </a:lnTo>
                <a:lnTo>
                  <a:pt x="236" y="1086"/>
                </a:lnTo>
                <a:lnTo>
                  <a:pt x="240" y="1102"/>
                </a:lnTo>
                <a:lnTo>
                  <a:pt x="398" y="1378"/>
                </a:lnTo>
                <a:lnTo>
                  <a:pt x="402" y="1378"/>
                </a:lnTo>
                <a:lnTo>
                  <a:pt x="402" y="1380"/>
                </a:lnTo>
                <a:lnTo>
                  <a:pt x="400" y="1382"/>
                </a:lnTo>
                <a:lnTo>
                  <a:pt x="402" y="1386"/>
                </a:lnTo>
                <a:lnTo>
                  <a:pt x="664" y="1386"/>
                </a:lnTo>
                <a:lnTo>
                  <a:pt x="686" y="1380"/>
                </a:lnTo>
                <a:lnTo>
                  <a:pt x="708" y="1368"/>
                </a:lnTo>
                <a:lnTo>
                  <a:pt x="718" y="1362"/>
                </a:lnTo>
                <a:lnTo>
                  <a:pt x="726" y="1356"/>
                </a:lnTo>
                <a:lnTo>
                  <a:pt x="732" y="1346"/>
                </a:lnTo>
                <a:lnTo>
                  <a:pt x="734" y="1338"/>
                </a:lnTo>
                <a:lnTo>
                  <a:pt x="734" y="1326"/>
                </a:lnTo>
                <a:lnTo>
                  <a:pt x="730" y="1316"/>
                </a:lnTo>
                <a:lnTo>
                  <a:pt x="728" y="1308"/>
                </a:lnTo>
                <a:lnTo>
                  <a:pt x="722" y="1302"/>
                </a:lnTo>
                <a:lnTo>
                  <a:pt x="710" y="1290"/>
                </a:lnTo>
                <a:lnTo>
                  <a:pt x="694" y="1282"/>
                </a:lnTo>
                <a:lnTo>
                  <a:pt x="680" y="1274"/>
                </a:lnTo>
                <a:lnTo>
                  <a:pt x="668" y="1264"/>
                </a:lnTo>
                <a:lnTo>
                  <a:pt x="662" y="1256"/>
                </a:lnTo>
                <a:lnTo>
                  <a:pt x="658" y="1248"/>
                </a:lnTo>
                <a:lnTo>
                  <a:pt x="656" y="1240"/>
                </a:lnTo>
                <a:lnTo>
                  <a:pt x="654" y="1228"/>
                </a:lnTo>
                <a:lnTo>
                  <a:pt x="656" y="1216"/>
                </a:lnTo>
                <a:lnTo>
                  <a:pt x="658" y="1206"/>
                </a:lnTo>
                <a:lnTo>
                  <a:pt x="664" y="1198"/>
                </a:lnTo>
                <a:lnTo>
                  <a:pt x="670" y="1188"/>
                </a:lnTo>
                <a:lnTo>
                  <a:pt x="678" y="1180"/>
                </a:lnTo>
                <a:lnTo>
                  <a:pt x="688" y="1174"/>
                </a:lnTo>
                <a:lnTo>
                  <a:pt x="708" y="1162"/>
                </a:lnTo>
                <a:lnTo>
                  <a:pt x="732" y="1154"/>
                </a:lnTo>
                <a:lnTo>
                  <a:pt x="756" y="1148"/>
                </a:lnTo>
                <a:lnTo>
                  <a:pt x="780" y="1144"/>
                </a:lnTo>
                <a:lnTo>
                  <a:pt x="798" y="1144"/>
                </a:lnTo>
                <a:lnTo>
                  <a:pt x="818" y="1144"/>
                </a:lnTo>
                <a:lnTo>
                  <a:pt x="840" y="1148"/>
                </a:lnTo>
                <a:lnTo>
                  <a:pt x="864" y="1154"/>
                </a:lnTo>
                <a:lnTo>
                  <a:pt x="888" y="1162"/>
                </a:lnTo>
                <a:lnTo>
                  <a:pt x="910" y="1174"/>
                </a:lnTo>
                <a:lnTo>
                  <a:pt x="918" y="1180"/>
                </a:lnTo>
                <a:lnTo>
                  <a:pt x="926" y="1188"/>
                </a:lnTo>
                <a:lnTo>
                  <a:pt x="934" y="1198"/>
                </a:lnTo>
                <a:lnTo>
                  <a:pt x="938" y="1206"/>
                </a:lnTo>
                <a:lnTo>
                  <a:pt x="942" y="1216"/>
                </a:lnTo>
                <a:lnTo>
                  <a:pt x="942" y="1228"/>
                </a:lnTo>
                <a:lnTo>
                  <a:pt x="942" y="1240"/>
                </a:lnTo>
                <a:lnTo>
                  <a:pt x="938" y="1248"/>
                </a:lnTo>
                <a:lnTo>
                  <a:pt x="934" y="1256"/>
                </a:lnTo>
                <a:lnTo>
                  <a:pt x="930" y="1264"/>
                </a:lnTo>
                <a:lnTo>
                  <a:pt x="916" y="1274"/>
                </a:lnTo>
                <a:lnTo>
                  <a:pt x="902" y="1282"/>
                </a:lnTo>
                <a:lnTo>
                  <a:pt x="888" y="1290"/>
                </a:lnTo>
                <a:lnTo>
                  <a:pt x="874" y="1302"/>
                </a:lnTo>
                <a:lnTo>
                  <a:pt x="870" y="1308"/>
                </a:lnTo>
                <a:lnTo>
                  <a:pt x="866" y="1316"/>
                </a:lnTo>
                <a:lnTo>
                  <a:pt x="864" y="1326"/>
                </a:lnTo>
                <a:lnTo>
                  <a:pt x="862" y="1338"/>
                </a:lnTo>
                <a:lnTo>
                  <a:pt x="864" y="1346"/>
                </a:lnTo>
                <a:lnTo>
                  <a:pt x="870" y="1356"/>
                </a:lnTo>
                <a:lnTo>
                  <a:pt x="878" y="1362"/>
                </a:lnTo>
                <a:lnTo>
                  <a:pt x="888" y="1368"/>
                </a:lnTo>
                <a:lnTo>
                  <a:pt x="912" y="1380"/>
                </a:lnTo>
                <a:lnTo>
                  <a:pt x="934" y="1386"/>
                </a:lnTo>
                <a:lnTo>
                  <a:pt x="1194" y="1386"/>
                </a:lnTo>
                <a:lnTo>
                  <a:pt x="1198" y="1380"/>
                </a:lnTo>
                <a:lnTo>
                  <a:pt x="1198" y="1378"/>
                </a:lnTo>
                <a:lnTo>
                  <a:pt x="1202" y="1378"/>
                </a:lnTo>
                <a:lnTo>
                  <a:pt x="1204" y="1372"/>
                </a:lnTo>
                <a:lnTo>
                  <a:pt x="1240" y="1310"/>
                </a:lnTo>
                <a:lnTo>
                  <a:pt x="1340" y="1138"/>
                </a:lnTo>
                <a:lnTo>
                  <a:pt x="1356" y="1124"/>
                </a:lnTo>
                <a:lnTo>
                  <a:pt x="1376" y="1112"/>
                </a:lnTo>
                <a:lnTo>
                  <a:pt x="1384" y="1108"/>
                </a:lnTo>
                <a:lnTo>
                  <a:pt x="1394" y="1104"/>
                </a:lnTo>
                <a:lnTo>
                  <a:pt x="1402" y="1104"/>
                </a:lnTo>
                <a:lnTo>
                  <a:pt x="1410" y="1108"/>
                </a:lnTo>
                <a:lnTo>
                  <a:pt x="1420" y="1114"/>
                </a:lnTo>
                <a:lnTo>
                  <a:pt x="1426" y="1122"/>
                </a:lnTo>
                <a:lnTo>
                  <a:pt x="1432" y="1128"/>
                </a:lnTo>
                <a:lnTo>
                  <a:pt x="1436" y="1136"/>
                </a:lnTo>
                <a:lnTo>
                  <a:pt x="1438" y="1152"/>
                </a:lnTo>
                <a:lnTo>
                  <a:pt x="1438" y="1170"/>
                </a:lnTo>
                <a:lnTo>
                  <a:pt x="1438" y="1186"/>
                </a:lnTo>
                <a:lnTo>
                  <a:pt x="1440" y="1202"/>
                </a:lnTo>
                <a:lnTo>
                  <a:pt x="1444" y="1210"/>
                </a:lnTo>
                <a:lnTo>
                  <a:pt x="1448" y="1218"/>
                </a:lnTo>
                <a:lnTo>
                  <a:pt x="1456" y="1226"/>
                </a:lnTo>
                <a:lnTo>
                  <a:pt x="1466" y="1232"/>
                </a:lnTo>
                <a:lnTo>
                  <a:pt x="1476" y="1236"/>
                </a:lnTo>
                <a:lnTo>
                  <a:pt x="1486" y="1240"/>
                </a:lnTo>
                <a:lnTo>
                  <a:pt x="1496" y="1240"/>
                </a:lnTo>
                <a:lnTo>
                  <a:pt x="1506" y="1238"/>
                </a:lnTo>
                <a:lnTo>
                  <a:pt x="1518" y="1234"/>
                </a:lnTo>
                <a:lnTo>
                  <a:pt x="1528" y="1230"/>
                </a:lnTo>
                <a:lnTo>
                  <a:pt x="1550" y="1218"/>
                </a:lnTo>
                <a:lnTo>
                  <a:pt x="1568" y="1202"/>
                </a:lnTo>
                <a:lnTo>
                  <a:pt x="1586" y="1184"/>
                </a:lnTo>
                <a:lnTo>
                  <a:pt x="1600" y="1166"/>
                </a:lnTo>
                <a:lnTo>
                  <a:pt x="1610" y="1150"/>
                </a:lnTo>
                <a:lnTo>
                  <a:pt x="1618" y="1132"/>
                </a:lnTo>
                <a:lnTo>
                  <a:pt x="1628" y="1112"/>
                </a:lnTo>
                <a:lnTo>
                  <a:pt x="1632" y="1094"/>
                </a:lnTo>
                <a:lnTo>
                  <a:pt x="1636" y="1076"/>
                </a:lnTo>
                <a:lnTo>
                  <a:pt x="1636" y="1060"/>
                </a:lnTo>
                <a:lnTo>
                  <a:pt x="1636" y="1042"/>
                </a:lnTo>
                <a:lnTo>
                  <a:pt x="1634" y="1026"/>
                </a:lnTo>
                <a:lnTo>
                  <a:pt x="1628" y="1012"/>
                </a:lnTo>
                <a:lnTo>
                  <a:pt x="1618" y="1000"/>
                </a:lnTo>
                <a:lnTo>
                  <a:pt x="1606" y="990"/>
                </a:lnTo>
                <a:lnTo>
                  <a:pt x="1596" y="986"/>
                </a:lnTo>
                <a:lnTo>
                  <a:pt x="1586" y="984"/>
                </a:lnTo>
                <a:lnTo>
                  <a:pt x="1578" y="982"/>
                </a:lnTo>
                <a:lnTo>
                  <a:pt x="1570" y="984"/>
                </a:lnTo>
                <a:lnTo>
                  <a:pt x="1554" y="990"/>
                </a:lnTo>
                <a:lnTo>
                  <a:pt x="1540" y="998"/>
                </a:lnTo>
                <a:lnTo>
                  <a:pt x="1524" y="1006"/>
                </a:lnTo>
                <a:lnTo>
                  <a:pt x="1510" y="1012"/>
                </a:lnTo>
                <a:lnTo>
                  <a:pt x="1500" y="1014"/>
                </a:lnTo>
                <a:lnTo>
                  <a:pt x="1492" y="1012"/>
                </a:lnTo>
                <a:lnTo>
                  <a:pt x="1482" y="1010"/>
                </a:lnTo>
                <a:lnTo>
                  <a:pt x="1472" y="1004"/>
                </a:lnTo>
                <a:lnTo>
                  <a:pt x="1464" y="1000"/>
                </a:lnTo>
                <a:lnTo>
                  <a:pt x="1460" y="992"/>
                </a:lnTo>
                <a:lnTo>
                  <a:pt x="1458" y="982"/>
                </a:lnTo>
                <a:lnTo>
                  <a:pt x="1458" y="972"/>
                </a:lnTo>
                <a:lnTo>
                  <a:pt x="1458" y="950"/>
                </a:lnTo>
                <a:lnTo>
                  <a:pt x="1462" y="928"/>
                </a:lnTo>
                <a:lnTo>
                  <a:pt x="1464" y="926"/>
                </a:lnTo>
                <a:lnTo>
                  <a:pt x="1466" y="920"/>
                </a:lnTo>
                <a:lnTo>
                  <a:pt x="1598" y="692"/>
                </a:lnTo>
                <a:lnTo>
                  <a:pt x="1582" y="668"/>
                </a:lnTo>
                <a:lnTo>
                  <a:pt x="1584" y="668"/>
                </a:lnTo>
                <a:lnTo>
                  <a:pt x="1198" y="0"/>
                </a:lnTo>
                <a:lnTo>
                  <a:pt x="398" y="0"/>
                </a:lnTo>
                <a:lnTo>
                  <a:pt x="322" y="132"/>
                </a:lnTo>
                <a:lnTo>
                  <a:pt x="0" y="690"/>
                </a:lnTo>
                <a:lnTo>
                  <a:pt x="116" y="888"/>
                </a:lnTo>
                <a:lnTo>
                  <a:pt x="132" y="902"/>
                </a:lnTo>
                <a:lnTo>
                  <a:pt x="150" y="914"/>
                </a:lnTo>
                <a:lnTo>
                  <a:pt x="160" y="918"/>
                </a:lnTo>
                <a:lnTo>
                  <a:pt x="168" y="920"/>
                </a:lnTo>
                <a:lnTo>
                  <a:pt x="176" y="920"/>
                </a:lnTo>
                <a:lnTo>
                  <a:pt x="184" y="918"/>
                </a:lnTo>
                <a:close/>
              </a:path>
            </a:pathLst>
          </a:custGeom>
          <a:solidFill>
            <a:srgbClr val="179A9D"/>
          </a:solidFill>
          <a:ln w="38100" cap="flat" cmpd="sng">
            <a:solidFill>
              <a:srgbClr val="179A9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6" name="Freeform 8">
            <a:extLst>
              <a:ext uri="{FF2B5EF4-FFF2-40B4-BE49-F238E27FC236}">
                <a16:creationId xmlns:a16="http://schemas.microsoft.com/office/drawing/2014/main" xmlns="" id="{6231788E-BAE6-4562-904C-A39F506A8F39}"/>
              </a:ext>
            </a:extLst>
          </p:cNvPr>
          <p:cNvSpPr>
            <a:spLocks/>
          </p:cNvSpPr>
          <p:nvPr/>
        </p:nvSpPr>
        <p:spPr bwMode="auto">
          <a:xfrm>
            <a:off x="5254903" y="1734865"/>
            <a:ext cx="2462458" cy="2107574"/>
          </a:xfrm>
          <a:custGeom>
            <a:avLst/>
            <a:gdLst>
              <a:gd name="T0" fmla="*/ 324422 w 1600"/>
              <a:gd name="T1" fmla="*/ 322016 h 1624"/>
              <a:gd name="T2" fmla="*/ 354140 w 1600"/>
              <a:gd name="T3" fmla="*/ 391373 h 1624"/>
              <a:gd name="T4" fmla="*/ 463106 w 1600"/>
              <a:gd name="T5" fmla="*/ 359172 h 1624"/>
              <a:gd name="T6" fmla="*/ 525018 w 1600"/>
              <a:gd name="T7" fmla="*/ 378988 h 1624"/>
              <a:gd name="T8" fmla="*/ 532448 w 1600"/>
              <a:gd name="T9" fmla="*/ 527611 h 1624"/>
              <a:gd name="T10" fmla="*/ 455676 w 1600"/>
              <a:gd name="T11" fmla="*/ 648986 h 1624"/>
              <a:gd name="T12" fmla="*/ 339281 w 1600"/>
              <a:gd name="T13" fmla="*/ 691096 h 1624"/>
              <a:gd name="T14" fmla="*/ 294704 w 1600"/>
              <a:gd name="T15" fmla="*/ 629170 h 1624"/>
              <a:gd name="T16" fmla="*/ 260033 w 1600"/>
              <a:gd name="T17" fmla="*/ 532565 h 1624"/>
              <a:gd name="T18" fmla="*/ 173355 w 1600"/>
              <a:gd name="T19" fmla="*/ 569721 h 1624"/>
              <a:gd name="T20" fmla="*/ 173355 w 1600"/>
              <a:gd name="T21" fmla="*/ 1156781 h 1624"/>
              <a:gd name="T22" fmla="*/ 264986 w 1600"/>
              <a:gd name="T23" fmla="*/ 1198891 h 1624"/>
              <a:gd name="T24" fmla="*/ 299657 w 1600"/>
              <a:gd name="T25" fmla="*/ 1122102 h 1624"/>
              <a:gd name="T26" fmla="*/ 331851 w 1600"/>
              <a:gd name="T27" fmla="*/ 1045314 h 1624"/>
              <a:gd name="T28" fmla="*/ 435864 w 1600"/>
              <a:gd name="T29" fmla="*/ 1062653 h 1624"/>
              <a:gd name="T30" fmla="*/ 534924 w 1600"/>
              <a:gd name="T31" fmla="*/ 1193937 h 1624"/>
              <a:gd name="T32" fmla="*/ 532448 w 1600"/>
              <a:gd name="T33" fmla="*/ 1335128 h 1624"/>
              <a:gd name="T34" fmla="*/ 465582 w 1600"/>
              <a:gd name="T35" fmla="*/ 1362376 h 1624"/>
              <a:gd name="T36" fmla="*/ 356616 w 1600"/>
              <a:gd name="T37" fmla="*/ 1330174 h 1624"/>
              <a:gd name="T38" fmla="*/ 329375 w 1600"/>
              <a:gd name="T39" fmla="*/ 1406963 h 1624"/>
              <a:gd name="T40" fmla="*/ 827151 w 1600"/>
              <a:gd name="T41" fmla="*/ 1716593 h 1624"/>
              <a:gd name="T42" fmla="*/ 849440 w 1600"/>
              <a:gd name="T43" fmla="*/ 1724025 h 1624"/>
              <a:gd name="T44" fmla="*/ 861822 w 1600"/>
              <a:gd name="T45" fmla="*/ 1731456 h 1624"/>
              <a:gd name="T46" fmla="*/ 871728 w 1600"/>
              <a:gd name="T47" fmla="*/ 1736410 h 1624"/>
              <a:gd name="T48" fmla="*/ 884111 w 1600"/>
              <a:gd name="T49" fmla="*/ 1746318 h 1624"/>
              <a:gd name="T50" fmla="*/ 891540 w 1600"/>
              <a:gd name="T51" fmla="*/ 1751272 h 1624"/>
              <a:gd name="T52" fmla="*/ 896493 w 1600"/>
              <a:gd name="T53" fmla="*/ 1761180 h 1624"/>
              <a:gd name="T54" fmla="*/ 898970 w 1600"/>
              <a:gd name="T55" fmla="*/ 1771088 h 1624"/>
              <a:gd name="T56" fmla="*/ 898970 w 1600"/>
              <a:gd name="T57" fmla="*/ 1778520 h 1624"/>
              <a:gd name="T58" fmla="*/ 896493 w 1600"/>
              <a:gd name="T59" fmla="*/ 1793382 h 1624"/>
              <a:gd name="T60" fmla="*/ 871728 w 1600"/>
              <a:gd name="T61" fmla="*/ 1828061 h 1624"/>
              <a:gd name="T62" fmla="*/ 832104 w 1600"/>
              <a:gd name="T63" fmla="*/ 1850354 h 1624"/>
              <a:gd name="T64" fmla="*/ 817245 w 1600"/>
              <a:gd name="T65" fmla="*/ 1862739 h 1624"/>
              <a:gd name="T66" fmla="*/ 807339 w 1600"/>
              <a:gd name="T67" fmla="*/ 1875124 h 1624"/>
              <a:gd name="T68" fmla="*/ 802386 w 1600"/>
              <a:gd name="T69" fmla="*/ 1894941 h 1624"/>
              <a:gd name="T70" fmla="*/ 804863 w 1600"/>
              <a:gd name="T71" fmla="*/ 1934574 h 1624"/>
              <a:gd name="T72" fmla="*/ 926211 w 1600"/>
              <a:gd name="T73" fmla="*/ 2006408 h 1624"/>
              <a:gd name="T74" fmla="*/ 1089660 w 1600"/>
              <a:gd name="T75" fmla="*/ 1989069 h 1624"/>
              <a:gd name="T76" fmla="*/ 1156526 w 1600"/>
              <a:gd name="T77" fmla="*/ 1907326 h 1624"/>
              <a:gd name="T78" fmla="*/ 1154049 w 1600"/>
              <a:gd name="T79" fmla="*/ 1885033 h 1624"/>
              <a:gd name="T80" fmla="*/ 1144143 w 1600"/>
              <a:gd name="T81" fmla="*/ 1867693 h 1624"/>
              <a:gd name="T82" fmla="*/ 1136714 w 1600"/>
              <a:gd name="T83" fmla="*/ 1860262 h 1624"/>
              <a:gd name="T84" fmla="*/ 1121855 w 1600"/>
              <a:gd name="T85" fmla="*/ 1850354 h 1624"/>
              <a:gd name="T86" fmla="*/ 1067372 w 1600"/>
              <a:gd name="T87" fmla="*/ 1808244 h 1624"/>
              <a:gd name="T88" fmla="*/ 1059942 w 1600"/>
              <a:gd name="T89" fmla="*/ 1793382 h 1624"/>
              <a:gd name="T90" fmla="*/ 1057466 w 1600"/>
              <a:gd name="T91" fmla="*/ 1780997 h 1624"/>
              <a:gd name="T92" fmla="*/ 1057466 w 1600"/>
              <a:gd name="T93" fmla="*/ 1771088 h 1624"/>
              <a:gd name="T94" fmla="*/ 1059942 w 1600"/>
              <a:gd name="T95" fmla="*/ 1761180 h 1624"/>
              <a:gd name="T96" fmla="*/ 1064895 w 1600"/>
              <a:gd name="T97" fmla="*/ 1753749 h 1624"/>
              <a:gd name="T98" fmla="*/ 1072325 w 1600"/>
              <a:gd name="T99" fmla="*/ 1746318 h 1624"/>
              <a:gd name="T100" fmla="*/ 1082231 w 1600"/>
              <a:gd name="T101" fmla="*/ 1736410 h 1624"/>
              <a:gd name="T102" fmla="*/ 1094613 w 1600"/>
              <a:gd name="T103" fmla="*/ 1731456 h 1624"/>
              <a:gd name="T104" fmla="*/ 1104519 w 1600"/>
              <a:gd name="T105" fmla="*/ 1726502 h 1624"/>
              <a:gd name="T106" fmla="*/ 1129284 w 1600"/>
              <a:gd name="T107" fmla="*/ 1716593 h 1624"/>
              <a:gd name="T108" fmla="*/ 1485900 w 1600"/>
              <a:gd name="T109" fmla="*/ 0 h 162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00" h="1624">
                <a:moveTo>
                  <a:pt x="1200" y="0"/>
                </a:moveTo>
                <a:lnTo>
                  <a:pt x="402" y="0"/>
                </a:lnTo>
                <a:lnTo>
                  <a:pt x="400" y="6"/>
                </a:lnTo>
                <a:lnTo>
                  <a:pt x="400" y="8"/>
                </a:lnTo>
                <a:lnTo>
                  <a:pt x="266" y="240"/>
                </a:lnTo>
                <a:lnTo>
                  <a:pt x="262" y="260"/>
                </a:lnTo>
                <a:lnTo>
                  <a:pt x="262" y="282"/>
                </a:lnTo>
                <a:lnTo>
                  <a:pt x="264" y="290"/>
                </a:lnTo>
                <a:lnTo>
                  <a:pt x="266" y="298"/>
                </a:lnTo>
                <a:lnTo>
                  <a:pt x="270" y="306"/>
                </a:lnTo>
                <a:lnTo>
                  <a:pt x="276" y="310"/>
                </a:lnTo>
                <a:lnTo>
                  <a:pt x="286" y="316"/>
                </a:lnTo>
                <a:lnTo>
                  <a:pt x="296" y="318"/>
                </a:lnTo>
                <a:lnTo>
                  <a:pt x="306" y="320"/>
                </a:lnTo>
                <a:lnTo>
                  <a:pt x="314" y="318"/>
                </a:lnTo>
                <a:lnTo>
                  <a:pt x="330" y="312"/>
                </a:lnTo>
                <a:lnTo>
                  <a:pt x="344" y="304"/>
                </a:lnTo>
                <a:lnTo>
                  <a:pt x="358" y="296"/>
                </a:lnTo>
                <a:lnTo>
                  <a:pt x="374" y="290"/>
                </a:lnTo>
                <a:lnTo>
                  <a:pt x="382" y="288"/>
                </a:lnTo>
                <a:lnTo>
                  <a:pt x="392" y="290"/>
                </a:lnTo>
                <a:lnTo>
                  <a:pt x="400" y="292"/>
                </a:lnTo>
                <a:lnTo>
                  <a:pt x="412" y="296"/>
                </a:lnTo>
                <a:lnTo>
                  <a:pt x="418" y="302"/>
                </a:lnTo>
                <a:lnTo>
                  <a:pt x="424" y="306"/>
                </a:lnTo>
                <a:lnTo>
                  <a:pt x="434" y="320"/>
                </a:lnTo>
                <a:lnTo>
                  <a:pt x="438" y="336"/>
                </a:lnTo>
                <a:lnTo>
                  <a:pt x="442" y="352"/>
                </a:lnTo>
                <a:lnTo>
                  <a:pt x="442" y="370"/>
                </a:lnTo>
                <a:lnTo>
                  <a:pt x="438" y="390"/>
                </a:lnTo>
                <a:lnTo>
                  <a:pt x="434" y="408"/>
                </a:lnTo>
                <a:lnTo>
                  <a:pt x="430" y="426"/>
                </a:lnTo>
                <a:lnTo>
                  <a:pt x="420" y="450"/>
                </a:lnTo>
                <a:lnTo>
                  <a:pt x="410" y="472"/>
                </a:lnTo>
                <a:lnTo>
                  <a:pt x="398" y="488"/>
                </a:lnTo>
                <a:lnTo>
                  <a:pt x="384" y="506"/>
                </a:lnTo>
                <a:lnTo>
                  <a:pt x="368" y="524"/>
                </a:lnTo>
                <a:lnTo>
                  <a:pt x="348" y="540"/>
                </a:lnTo>
                <a:lnTo>
                  <a:pt x="328" y="552"/>
                </a:lnTo>
                <a:lnTo>
                  <a:pt x="318" y="556"/>
                </a:lnTo>
                <a:lnTo>
                  <a:pt x="306" y="560"/>
                </a:lnTo>
                <a:lnTo>
                  <a:pt x="296" y="562"/>
                </a:lnTo>
                <a:lnTo>
                  <a:pt x="284" y="562"/>
                </a:lnTo>
                <a:lnTo>
                  <a:pt x="274" y="558"/>
                </a:lnTo>
                <a:lnTo>
                  <a:pt x="264" y="554"/>
                </a:lnTo>
                <a:lnTo>
                  <a:pt x="256" y="548"/>
                </a:lnTo>
                <a:lnTo>
                  <a:pt x="248" y="540"/>
                </a:lnTo>
                <a:lnTo>
                  <a:pt x="244" y="532"/>
                </a:lnTo>
                <a:lnTo>
                  <a:pt x="240" y="524"/>
                </a:lnTo>
                <a:lnTo>
                  <a:pt x="238" y="508"/>
                </a:lnTo>
                <a:lnTo>
                  <a:pt x="238" y="492"/>
                </a:lnTo>
                <a:lnTo>
                  <a:pt x="238" y="474"/>
                </a:lnTo>
                <a:lnTo>
                  <a:pt x="234" y="458"/>
                </a:lnTo>
                <a:lnTo>
                  <a:pt x="232" y="450"/>
                </a:lnTo>
                <a:lnTo>
                  <a:pt x="226" y="444"/>
                </a:lnTo>
                <a:lnTo>
                  <a:pt x="218" y="436"/>
                </a:lnTo>
                <a:lnTo>
                  <a:pt x="210" y="430"/>
                </a:lnTo>
                <a:lnTo>
                  <a:pt x="202" y="426"/>
                </a:lnTo>
                <a:lnTo>
                  <a:pt x="192" y="426"/>
                </a:lnTo>
                <a:lnTo>
                  <a:pt x="184" y="430"/>
                </a:lnTo>
                <a:lnTo>
                  <a:pt x="174" y="434"/>
                </a:lnTo>
                <a:lnTo>
                  <a:pt x="156" y="446"/>
                </a:lnTo>
                <a:lnTo>
                  <a:pt x="140" y="460"/>
                </a:lnTo>
                <a:lnTo>
                  <a:pt x="40" y="632"/>
                </a:lnTo>
                <a:lnTo>
                  <a:pt x="4" y="694"/>
                </a:lnTo>
                <a:lnTo>
                  <a:pt x="0" y="694"/>
                </a:lnTo>
                <a:lnTo>
                  <a:pt x="2" y="696"/>
                </a:lnTo>
                <a:lnTo>
                  <a:pt x="4" y="696"/>
                </a:lnTo>
                <a:lnTo>
                  <a:pt x="140" y="934"/>
                </a:lnTo>
                <a:lnTo>
                  <a:pt x="158" y="948"/>
                </a:lnTo>
                <a:lnTo>
                  <a:pt x="176" y="962"/>
                </a:lnTo>
                <a:lnTo>
                  <a:pt x="186" y="968"/>
                </a:lnTo>
                <a:lnTo>
                  <a:pt x="196" y="970"/>
                </a:lnTo>
                <a:lnTo>
                  <a:pt x="206" y="970"/>
                </a:lnTo>
                <a:lnTo>
                  <a:pt x="214" y="968"/>
                </a:lnTo>
                <a:lnTo>
                  <a:pt x="224" y="960"/>
                </a:lnTo>
                <a:lnTo>
                  <a:pt x="230" y="954"/>
                </a:lnTo>
                <a:lnTo>
                  <a:pt x="236" y="946"/>
                </a:lnTo>
                <a:lnTo>
                  <a:pt x="240" y="938"/>
                </a:lnTo>
                <a:lnTo>
                  <a:pt x="242" y="922"/>
                </a:lnTo>
                <a:lnTo>
                  <a:pt x="242" y="906"/>
                </a:lnTo>
                <a:lnTo>
                  <a:pt x="242" y="888"/>
                </a:lnTo>
                <a:lnTo>
                  <a:pt x="244" y="872"/>
                </a:lnTo>
                <a:lnTo>
                  <a:pt x="248" y="864"/>
                </a:lnTo>
                <a:lnTo>
                  <a:pt x="252" y="858"/>
                </a:lnTo>
                <a:lnTo>
                  <a:pt x="260" y="850"/>
                </a:lnTo>
                <a:lnTo>
                  <a:pt x="268" y="844"/>
                </a:lnTo>
                <a:lnTo>
                  <a:pt x="278" y="838"/>
                </a:lnTo>
                <a:lnTo>
                  <a:pt x="290" y="836"/>
                </a:lnTo>
                <a:lnTo>
                  <a:pt x="300" y="836"/>
                </a:lnTo>
                <a:lnTo>
                  <a:pt x="310" y="836"/>
                </a:lnTo>
                <a:lnTo>
                  <a:pt x="322" y="840"/>
                </a:lnTo>
                <a:lnTo>
                  <a:pt x="332" y="844"/>
                </a:lnTo>
                <a:lnTo>
                  <a:pt x="352" y="858"/>
                </a:lnTo>
                <a:lnTo>
                  <a:pt x="372" y="874"/>
                </a:lnTo>
                <a:lnTo>
                  <a:pt x="390" y="892"/>
                </a:lnTo>
                <a:lnTo>
                  <a:pt x="404" y="910"/>
                </a:lnTo>
                <a:lnTo>
                  <a:pt x="414" y="926"/>
                </a:lnTo>
                <a:lnTo>
                  <a:pt x="422" y="944"/>
                </a:lnTo>
                <a:lnTo>
                  <a:pt x="432" y="964"/>
                </a:lnTo>
                <a:lnTo>
                  <a:pt x="438" y="988"/>
                </a:lnTo>
                <a:lnTo>
                  <a:pt x="442" y="1012"/>
                </a:lnTo>
                <a:lnTo>
                  <a:pt x="444" y="1038"/>
                </a:lnTo>
                <a:lnTo>
                  <a:pt x="442" y="1048"/>
                </a:lnTo>
                <a:lnTo>
                  <a:pt x="440" y="1060"/>
                </a:lnTo>
                <a:lnTo>
                  <a:pt x="436" y="1070"/>
                </a:lnTo>
                <a:lnTo>
                  <a:pt x="430" y="1078"/>
                </a:lnTo>
                <a:lnTo>
                  <a:pt x="422" y="1086"/>
                </a:lnTo>
                <a:lnTo>
                  <a:pt x="412" y="1092"/>
                </a:lnTo>
                <a:lnTo>
                  <a:pt x="402" y="1098"/>
                </a:lnTo>
                <a:lnTo>
                  <a:pt x="392" y="1100"/>
                </a:lnTo>
                <a:lnTo>
                  <a:pt x="384" y="1100"/>
                </a:lnTo>
                <a:lnTo>
                  <a:pt x="376" y="1100"/>
                </a:lnTo>
                <a:lnTo>
                  <a:pt x="360" y="1094"/>
                </a:lnTo>
                <a:lnTo>
                  <a:pt x="346" y="1084"/>
                </a:lnTo>
                <a:lnTo>
                  <a:pt x="330" y="1076"/>
                </a:lnTo>
                <a:lnTo>
                  <a:pt x="316" y="1070"/>
                </a:lnTo>
                <a:lnTo>
                  <a:pt x="306" y="1070"/>
                </a:lnTo>
                <a:lnTo>
                  <a:pt x="298" y="1070"/>
                </a:lnTo>
                <a:lnTo>
                  <a:pt x="288" y="1074"/>
                </a:lnTo>
                <a:lnTo>
                  <a:pt x="278" y="1078"/>
                </a:lnTo>
                <a:lnTo>
                  <a:pt x="272" y="1084"/>
                </a:lnTo>
                <a:lnTo>
                  <a:pt x="266" y="1092"/>
                </a:lnTo>
                <a:lnTo>
                  <a:pt x="264" y="1102"/>
                </a:lnTo>
                <a:lnTo>
                  <a:pt x="264" y="1114"/>
                </a:lnTo>
                <a:lnTo>
                  <a:pt x="266" y="1136"/>
                </a:lnTo>
                <a:lnTo>
                  <a:pt x="270" y="1158"/>
                </a:lnTo>
                <a:lnTo>
                  <a:pt x="402" y="1386"/>
                </a:lnTo>
                <a:lnTo>
                  <a:pt x="668" y="1386"/>
                </a:lnTo>
                <a:lnTo>
                  <a:pt x="674" y="1388"/>
                </a:lnTo>
                <a:lnTo>
                  <a:pt x="686" y="1392"/>
                </a:lnTo>
                <a:lnTo>
                  <a:pt x="688" y="1394"/>
                </a:lnTo>
                <a:lnTo>
                  <a:pt x="692" y="1394"/>
                </a:lnTo>
                <a:lnTo>
                  <a:pt x="694" y="1396"/>
                </a:lnTo>
                <a:lnTo>
                  <a:pt x="696" y="1398"/>
                </a:lnTo>
                <a:lnTo>
                  <a:pt x="700" y="1398"/>
                </a:lnTo>
                <a:lnTo>
                  <a:pt x="702" y="1400"/>
                </a:lnTo>
                <a:lnTo>
                  <a:pt x="704" y="1402"/>
                </a:lnTo>
                <a:lnTo>
                  <a:pt x="706" y="1402"/>
                </a:lnTo>
                <a:lnTo>
                  <a:pt x="710" y="1406"/>
                </a:lnTo>
                <a:lnTo>
                  <a:pt x="714" y="1410"/>
                </a:lnTo>
                <a:lnTo>
                  <a:pt x="716" y="1410"/>
                </a:lnTo>
                <a:lnTo>
                  <a:pt x="718" y="1412"/>
                </a:lnTo>
                <a:lnTo>
                  <a:pt x="720" y="1414"/>
                </a:lnTo>
                <a:lnTo>
                  <a:pt x="722" y="1416"/>
                </a:lnTo>
                <a:lnTo>
                  <a:pt x="722" y="1418"/>
                </a:lnTo>
                <a:lnTo>
                  <a:pt x="724" y="1420"/>
                </a:lnTo>
                <a:lnTo>
                  <a:pt x="724" y="1422"/>
                </a:lnTo>
                <a:lnTo>
                  <a:pt x="726" y="1424"/>
                </a:lnTo>
                <a:lnTo>
                  <a:pt x="726" y="1426"/>
                </a:lnTo>
                <a:lnTo>
                  <a:pt x="726" y="1430"/>
                </a:lnTo>
                <a:lnTo>
                  <a:pt x="726" y="1436"/>
                </a:lnTo>
                <a:lnTo>
                  <a:pt x="726" y="1438"/>
                </a:lnTo>
                <a:lnTo>
                  <a:pt x="726" y="1442"/>
                </a:lnTo>
                <a:lnTo>
                  <a:pt x="724" y="1444"/>
                </a:lnTo>
                <a:lnTo>
                  <a:pt x="724" y="1448"/>
                </a:lnTo>
                <a:lnTo>
                  <a:pt x="720" y="1458"/>
                </a:lnTo>
                <a:lnTo>
                  <a:pt x="716" y="1464"/>
                </a:lnTo>
                <a:lnTo>
                  <a:pt x="710" y="1470"/>
                </a:lnTo>
                <a:lnTo>
                  <a:pt x="704" y="1476"/>
                </a:lnTo>
                <a:lnTo>
                  <a:pt x="690" y="1484"/>
                </a:lnTo>
                <a:lnTo>
                  <a:pt x="676" y="1492"/>
                </a:lnTo>
                <a:lnTo>
                  <a:pt x="674" y="1494"/>
                </a:lnTo>
                <a:lnTo>
                  <a:pt x="672" y="1494"/>
                </a:lnTo>
                <a:lnTo>
                  <a:pt x="668" y="1498"/>
                </a:lnTo>
                <a:lnTo>
                  <a:pt x="666" y="1498"/>
                </a:lnTo>
                <a:lnTo>
                  <a:pt x="662" y="1502"/>
                </a:lnTo>
                <a:lnTo>
                  <a:pt x="660" y="1504"/>
                </a:lnTo>
                <a:lnTo>
                  <a:pt x="656" y="1508"/>
                </a:lnTo>
                <a:lnTo>
                  <a:pt x="652" y="1514"/>
                </a:lnTo>
                <a:lnTo>
                  <a:pt x="650" y="1522"/>
                </a:lnTo>
                <a:lnTo>
                  <a:pt x="648" y="1530"/>
                </a:lnTo>
                <a:lnTo>
                  <a:pt x="648" y="1532"/>
                </a:lnTo>
                <a:lnTo>
                  <a:pt x="646" y="1540"/>
                </a:lnTo>
                <a:lnTo>
                  <a:pt x="648" y="1552"/>
                </a:lnTo>
                <a:lnTo>
                  <a:pt x="650" y="1562"/>
                </a:lnTo>
                <a:lnTo>
                  <a:pt x="656" y="1572"/>
                </a:lnTo>
                <a:lnTo>
                  <a:pt x="662" y="1580"/>
                </a:lnTo>
                <a:lnTo>
                  <a:pt x="670" y="1588"/>
                </a:lnTo>
                <a:lnTo>
                  <a:pt x="680" y="1594"/>
                </a:lnTo>
                <a:lnTo>
                  <a:pt x="700" y="1606"/>
                </a:lnTo>
                <a:lnTo>
                  <a:pt x="724" y="1614"/>
                </a:lnTo>
                <a:lnTo>
                  <a:pt x="748" y="1620"/>
                </a:lnTo>
                <a:lnTo>
                  <a:pt x="770" y="1624"/>
                </a:lnTo>
                <a:lnTo>
                  <a:pt x="790" y="1624"/>
                </a:lnTo>
                <a:lnTo>
                  <a:pt x="810" y="1624"/>
                </a:lnTo>
                <a:lnTo>
                  <a:pt x="832" y="1620"/>
                </a:lnTo>
                <a:lnTo>
                  <a:pt x="856" y="1614"/>
                </a:lnTo>
                <a:lnTo>
                  <a:pt x="880" y="1606"/>
                </a:lnTo>
                <a:lnTo>
                  <a:pt x="902" y="1594"/>
                </a:lnTo>
                <a:lnTo>
                  <a:pt x="910" y="1588"/>
                </a:lnTo>
                <a:lnTo>
                  <a:pt x="918" y="1580"/>
                </a:lnTo>
                <a:lnTo>
                  <a:pt x="926" y="1572"/>
                </a:lnTo>
                <a:lnTo>
                  <a:pt x="930" y="1562"/>
                </a:lnTo>
                <a:lnTo>
                  <a:pt x="934" y="1552"/>
                </a:lnTo>
                <a:lnTo>
                  <a:pt x="934" y="1540"/>
                </a:lnTo>
                <a:lnTo>
                  <a:pt x="934" y="1532"/>
                </a:lnTo>
                <a:lnTo>
                  <a:pt x="934" y="1530"/>
                </a:lnTo>
                <a:lnTo>
                  <a:pt x="932" y="1522"/>
                </a:lnTo>
                <a:lnTo>
                  <a:pt x="930" y="1522"/>
                </a:lnTo>
                <a:lnTo>
                  <a:pt x="928" y="1514"/>
                </a:lnTo>
                <a:lnTo>
                  <a:pt x="924" y="1508"/>
                </a:lnTo>
                <a:lnTo>
                  <a:pt x="920" y="1504"/>
                </a:lnTo>
                <a:lnTo>
                  <a:pt x="918" y="1502"/>
                </a:lnTo>
                <a:lnTo>
                  <a:pt x="914" y="1498"/>
                </a:lnTo>
                <a:lnTo>
                  <a:pt x="912" y="1498"/>
                </a:lnTo>
                <a:lnTo>
                  <a:pt x="908" y="1494"/>
                </a:lnTo>
                <a:lnTo>
                  <a:pt x="906" y="1494"/>
                </a:lnTo>
                <a:lnTo>
                  <a:pt x="904" y="1492"/>
                </a:lnTo>
                <a:lnTo>
                  <a:pt x="890" y="1484"/>
                </a:lnTo>
                <a:lnTo>
                  <a:pt x="878" y="1476"/>
                </a:lnTo>
                <a:lnTo>
                  <a:pt x="866" y="1466"/>
                </a:lnTo>
                <a:lnTo>
                  <a:pt x="862" y="1460"/>
                </a:lnTo>
                <a:lnTo>
                  <a:pt x="858" y="1454"/>
                </a:lnTo>
                <a:lnTo>
                  <a:pt x="856" y="1448"/>
                </a:lnTo>
                <a:lnTo>
                  <a:pt x="856" y="1444"/>
                </a:lnTo>
                <a:lnTo>
                  <a:pt x="856" y="1442"/>
                </a:lnTo>
                <a:lnTo>
                  <a:pt x="854" y="1438"/>
                </a:lnTo>
                <a:lnTo>
                  <a:pt x="854" y="1436"/>
                </a:lnTo>
                <a:lnTo>
                  <a:pt x="854" y="1430"/>
                </a:lnTo>
                <a:lnTo>
                  <a:pt x="854" y="1426"/>
                </a:lnTo>
                <a:lnTo>
                  <a:pt x="856" y="1424"/>
                </a:lnTo>
                <a:lnTo>
                  <a:pt x="856" y="1422"/>
                </a:lnTo>
                <a:lnTo>
                  <a:pt x="856" y="1420"/>
                </a:lnTo>
                <a:lnTo>
                  <a:pt x="858" y="1418"/>
                </a:lnTo>
                <a:lnTo>
                  <a:pt x="860" y="1416"/>
                </a:lnTo>
                <a:lnTo>
                  <a:pt x="862" y="1414"/>
                </a:lnTo>
                <a:lnTo>
                  <a:pt x="862" y="1412"/>
                </a:lnTo>
                <a:lnTo>
                  <a:pt x="864" y="1410"/>
                </a:lnTo>
                <a:lnTo>
                  <a:pt x="866" y="1410"/>
                </a:lnTo>
                <a:lnTo>
                  <a:pt x="870" y="1406"/>
                </a:lnTo>
                <a:lnTo>
                  <a:pt x="874" y="1402"/>
                </a:lnTo>
                <a:lnTo>
                  <a:pt x="876" y="1402"/>
                </a:lnTo>
                <a:lnTo>
                  <a:pt x="880" y="1400"/>
                </a:lnTo>
                <a:lnTo>
                  <a:pt x="882" y="1398"/>
                </a:lnTo>
                <a:lnTo>
                  <a:pt x="884" y="1398"/>
                </a:lnTo>
                <a:lnTo>
                  <a:pt x="886" y="1396"/>
                </a:lnTo>
                <a:lnTo>
                  <a:pt x="890" y="1394"/>
                </a:lnTo>
                <a:lnTo>
                  <a:pt x="892" y="1394"/>
                </a:lnTo>
                <a:lnTo>
                  <a:pt x="894" y="1392"/>
                </a:lnTo>
                <a:lnTo>
                  <a:pt x="906" y="1388"/>
                </a:lnTo>
                <a:lnTo>
                  <a:pt x="908" y="1388"/>
                </a:lnTo>
                <a:lnTo>
                  <a:pt x="912" y="1386"/>
                </a:lnTo>
                <a:lnTo>
                  <a:pt x="1200" y="1386"/>
                </a:lnTo>
                <a:lnTo>
                  <a:pt x="1200" y="1384"/>
                </a:lnTo>
                <a:lnTo>
                  <a:pt x="1600" y="694"/>
                </a:lnTo>
                <a:lnTo>
                  <a:pt x="1200" y="0"/>
                </a:lnTo>
                <a:close/>
              </a:path>
            </a:pathLst>
          </a:custGeom>
          <a:solidFill>
            <a:srgbClr val="D0E6A7"/>
          </a:solidFill>
          <a:ln w="38100" cap="flat" cmpd="sng">
            <a:solidFill>
              <a:srgbClr val="D0E6A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7" name="Oval 1">
            <a:extLst>
              <a:ext uri="{FF2B5EF4-FFF2-40B4-BE49-F238E27FC236}">
                <a16:creationId xmlns:a16="http://schemas.microsoft.com/office/drawing/2014/main" xmlns="" id="{BEBC934E-895D-447C-92AC-BD8418248EB4}"/>
              </a:ext>
            </a:extLst>
          </p:cNvPr>
          <p:cNvSpPr/>
          <p:nvPr/>
        </p:nvSpPr>
        <p:spPr>
          <a:xfrm>
            <a:off x="3483004" y="954329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Oval 22">
            <a:extLst>
              <a:ext uri="{FF2B5EF4-FFF2-40B4-BE49-F238E27FC236}">
                <a16:creationId xmlns:a16="http://schemas.microsoft.com/office/drawing/2014/main" xmlns="" id="{FC57B859-61A8-48D0-9AD7-B47DA04BB439}"/>
              </a:ext>
            </a:extLst>
          </p:cNvPr>
          <p:cNvSpPr/>
          <p:nvPr/>
        </p:nvSpPr>
        <p:spPr>
          <a:xfrm>
            <a:off x="7452790" y="2384342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9" name="Oval 23">
            <a:extLst>
              <a:ext uri="{FF2B5EF4-FFF2-40B4-BE49-F238E27FC236}">
                <a16:creationId xmlns:a16="http://schemas.microsoft.com/office/drawing/2014/main" xmlns="" id="{8DDA097B-695B-45FD-AE55-D206B34901EB}"/>
              </a:ext>
            </a:extLst>
          </p:cNvPr>
          <p:cNvSpPr/>
          <p:nvPr/>
        </p:nvSpPr>
        <p:spPr>
          <a:xfrm>
            <a:off x="7452790" y="4286349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40" name="CaixaDeTexto 44">
            <a:extLst>
              <a:ext uri="{FF2B5EF4-FFF2-40B4-BE49-F238E27FC236}">
                <a16:creationId xmlns:a16="http://schemas.microsoft.com/office/drawing/2014/main" xmlns="" id="{8FF904A2-BA52-4B34-AFA4-0F8EF6B304A5}"/>
              </a:ext>
            </a:extLst>
          </p:cNvPr>
          <p:cNvSpPr txBox="1"/>
          <p:nvPr/>
        </p:nvSpPr>
        <p:spPr>
          <a:xfrm>
            <a:off x="3947784" y="914624"/>
            <a:ext cx="171099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b="1" dirty="0">
                <a:solidFill>
                  <a:srgbClr val="FFFFFF"/>
                </a:solidFill>
                <a:latin typeface="Candara"/>
              </a:rPr>
              <a:t>O caso de Pernambuco: 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resultados positivos em </a:t>
            </a:r>
            <a:r>
              <a:rPr lang="pt-BR" b="1" dirty="0">
                <a:solidFill>
                  <a:srgbClr val="FFFFFF"/>
                </a:solidFill>
                <a:latin typeface="Candara"/>
              </a:rPr>
              <a:t>aprendizagem e fluxo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.</a:t>
            </a:r>
          </a:p>
        </p:txBody>
      </p:sp>
      <p:sp>
        <p:nvSpPr>
          <p:cNvPr id="41" name="CaixaDeTexto 45">
            <a:extLst>
              <a:ext uri="{FF2B5EF4-FFF2-40B4-BE49-F238E27FC236}">
                <a16:creationId xmlns:a16="http://schemas.microsoft.com/office/drawing/2014/main" xmlns="" id="{064D554D-5E66-44AB-A2A9-337A9D5E67CA}"/>
              </a:ext>
            </a:extLst>
          </p:cNvPr>
          <p:cNvSpPr txBox="1"/>
          <p:nvPr/>
        </p:nvSpPr>
        <p:spPr>
          <a:xfrm>
            <a:off x="5884668" y="1766446"/>
            <a:ext cx="176256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O caso de Pernambuco: resultados positivos na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diminuição das desigualdades sociais.</a:t>
            </a:r>
          </a:p>
        </p:txBody>
      </p:sp>
      <p:sp>
        <p:nvSpPr>
          <p:cNvPr id="42" name="CaixaDeTexto 51">
            <a:extLst>
              <a:ext uri="{FF2B5EF4-FFF2-40B4-BE49-F238E27FC236}">
                <a16:creationId xmlns:a16="http://schemas.microsoft.com/office/drawing/2014/main" xmlns="" id="{56EDCF84-C42F-4D6B-9FA3-BFC049EFE9F1}"/>
              </a:ext>
            </a:extLst>
          </p:cNvPr>
          <p:cNvSpPr txBox="1"/>
          <p:nvPr/>
        </p:nvSpPr>
        <p:spPr>
          <a:xfrm>
            <a:off x="5951798" y="3842439"/>
            <a:ext cx="162830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Política de fomento às escolas integrais e os seus resultados iniciais.  </a:t>
            </a:r>
          </a:p>
        </p:txBody>
      </p:sp>
      <p:sp>
        <p:nvSpPr>
          <p:cNvPr id="43" name="CaixaDeTexto 51">
            <a:extLst>
              <a:ext uri="{FF2B5EF4-FFF2-40B4-BE49-F238E27FC236}">
                <a16:creationId xmlns:a16="http://schemas.microsoft.com/office/drawing/2014/main" xmlns="" id="{704DCEA1-97BD-49D3-9F02-3F567338BF58}"/>
              </a:ext>
            </a:extLst>
          </p:cNvPr>
          <p:cNvSpPr txBox="1"/>
          <p:nvPr/>
        </p:nvSpPr>
        <p:spPr>
          <a:xfrm>
            <a:off x="3898558" y="4687692"/>
            <a:ext cx="191959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chemeClr val="tx2"/>
                </a:solidFill>
                <a:latin typeface="Candara"/>
              </a:rPr>
              <a:t>É possível expandir as escolas integrais, de forma </a:t>
            </a:r>
            <a:r>
              <a:rPr lang="pt-BR" b="1" dirty="0">
                <a:solidFill>
                  <a:schemeClr val="tx2"/>
                </a:solidFill>
                <a:latin typeface="Candara"/>
              </a:rPr>
              <a:t>eficiente</a:t>
            </a:r>
            <a:r>
              <a:rPr lang="pt-BR" dirty="0">
                <a:solidFill>
                  <a:schemeClr val="tx2"/>
                </a:solidFill>
                <a:latin typeface="Candara"/>
              </a:rPr>
              <a:t> e priorizando as comunidades </a:t>
            </a:r>
            <a:r>
              <a:rPr lang="pt-BR" b="1" dirty="0">
                <a:solidFill>
                  <a:schemeClr val="tx2"/>
                </a:solidFill>
                <a:latin typeface="Candara"/>
              </a:rPr>
              <a:t>vulneráveis </a:t>
            </a:r>
          </a:p>
          <a:p>
            <a:endParaRPr lang="pt-BR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xmlns="" id="{C76A547C-98DC-4233-A717-582AAAEBA35C}"/>
              </a:ext>
            </a:extLst>
          </p:cNvPr>
          <p:cNvSpPr/>
          <p:nvPr/>
        </p:nvSpPr>
        <p:spPr>
          <a:xfrm>
            <a:off x="1868244" y="3942717"/>
            <a:ext cx="17109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FFFFFF"/>
                </a:solidFill>
                <a:latin typeface="+mj-lt"/>
              </a:rPr>
              <a:t>Os estudantes demonstram </a:t>
            </a:r>
            <a:r>
              <a:rPr lang="pt-BR" b="1" dirty="0">
                <a:solidFill>
                  <a:srgbClr val="FFFFFF"/>
                </a:solidFill>
                <a:latin typeface="+mj-lt"/>
              </a:rPr>
              <a:t>satisfação com as escolas integrais</a:t>
            </a:r>
          </a:p>
        </p:txBody>
      </p:sp>
      <p:sp>
        <p:nvSpPr>
          <p:cNvPr id="45" name="CaixaDeTexto 48">
            <a:extLst>
              <a:ext uri="{FF2B5EF4-FFF2-40B4-BE49-F238E27FC236}">
                <a16:creationId xmlns:a16="http://schemas.microsoft.com/office/drawing/2014/main" xmlns="" id="{42021399-6090-4881-900A-DD5F9715C01F}"/>
              </a:ext>
            </a:extLst>
          </p:cNvPr>
          <p:cNvSpPr txBox="1"/>
          <p:nvPr/>
        </p:nvSpPr>
        <p:spPr>
          <a:xfrm>
            <a:off x="1929789" y="1778155"/>
            <a:ext cx="164945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FFFFFF"/>
                </a:solidFill>
                <a:latin typeface="Candara"/>
              </a:rPr>
              <a:t>As escolas integrais podem contribuir na </a:t>
            </a:r>
            <a:r>
              <a:rPr lang="pt-BR" b="1" dirty="0">
                <a:solidFill>
                  <a:srgbClr val="FFFFFF"/>
                </a:solidFill>
                <a:latin typeface="Candara"/>
              </a:rPr>
              <a:t>ressignificação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 do ensino médio para os jovens </a:t>
            </a:r>
          </a:p>
        </p:txBody>
      </p:sp>
    </p:spTree>
    <p:extLst>
      <p:ext uri="{BB962C8B-B14F-4D97-AF65-F5344CB8AC3E}">
        <p14:creationId xmlns:p14="http://schemas.microsoft.com/office/powerpoint/2010/main" val="38360293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2FBE85F3-24D4-47B4-93AB-FE1F03C4B2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0059" y="234414"/>
            <a:ext cx="8227378" cy="52818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pt-BR" dirty="0"/>
              <a:t>AS ESCOLAS INTEGRAIS PODEM CONTRIBUIR NA RESSIGNIFICAÇÃO DO ENSINO MÉDIO PARA OS JOVENS. 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xmlns="" id="{7261670C-A307-4015-8863-5985B6364B36}"/>
              </a:ext>
            </a:extLst>
          </p:cNvPr>
          <p:cNvSpPr/>
          <p:nvPr/>
        </p:nvSpPr>
        <p:spPr>
          <a:xfrm>
            <a:off x="2047239" y="3647279"/>
            <a:ext cx="6311830" cy="64633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sz="1568" b="1" dirty="0">
                <a:solidFill>
                  <a:srgbClr val="FFFFFF"/>
                </a:solidFill>
              </a:rPr>
              <a:t>Dos alunos do EM regular trabalham, e desses apenas 4 </a:t>
            </a:r>
            <a:r>
              <a:rPr lang="pt-BR" sz="1568" b="1" dirty="0" err="1">
                <a:solidFill>
                  <a:srgbClr val="FFFFFF"/>
                </a:solidFill>
              </a:rPr>
              <a:t>p.p</a:t>
            </a:r>
            <a:r>
              <a:rPr lang="pt-BR" sz="1568" b="1" dirty="0">
                <a:solidFill>
                  <a:srgbClr val="FFFFFF"/>
                </a:solidFill>
              </a:rPr>
              <a:t> precisam complementar a renda da famíli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xmlns="" id="{8DC86084-946A-48D1-9260-9A36D1D42476}"/>
              </a:ext>
            </a:extLst>
          </p:cNvPr>
          <p:cNvSpPr txBox="1"/>
          <p:nvPr/>
        </p:nvSpPr>
        <p:spPr>
          <a:xfrm>
            <a:off x="376377" y="6309592"/>
            <a:ext cx="7858863" cy="570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29" dirty="0">
                <a:solidFill>
                  <a:schemeClr val="tx2"/>
                </a:solidFill>
              </a:rPr>
              <a:t>40% da população brasileira reside em municípios com população maior ou igual à de Palmas, o menor município pesquisado</a:t>
            </a:r>
          </a:p>
          <a:p>
            <a:r>
              <a:rPr lang="pt-BR" sz="1050" dirty="0">
                <a:solidFill>
                  <a:schemeClr val="tx2"/>
                </a:solidFill>
              </a:rPr>
              <a:t>Fonte: Pesquisa Plano CDE</a:t>
            </a:r>
          </a:p>
          <a:p>
            <a:endParaRPr lang="pt-BR" sz="1029" dirty="0">
              <a:solidFill>
                <a:schemeClr val="tx2"/>
              </a:solidFill>
            </a:endParaRP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xmlns="" id="{BC20F8FF-01C8-4D56-8AAF-E593D28EABDC}"/>
              </a:ext>
            </a:extLst>
          </p:cNvPr>
          <p:cNvSpPr/>
          <p:nvPr/>
        </p:nvSpPr>
        <p:spPr>
          <a:xfrm>
            <a:off x="390025" y="1001597"/>
            <a:ext cx="8004394" cy="606390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7" name="TextBox 7">
            <a:extLst>
              <a:ext uri="{FF2B5EF4-FFF2-40B4-BE49-F238E27FC236}">
                <a16:creationId xmlns:a16="http://schemas.microsoft.com/office/drawing/2014/main" xmlns="" id="{019EB56A-D028-4105-8997-12D5BB2BCA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7284" y="1018470"/>
            <a:ext cx="7978076" cy="60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pt-BR" altLang="pt-BR" sz="1568" dirty="0">
                <a:solidFill>
                  <a:schemeClr val="tx2"/>
                </a:solidFill>
                <a:latin typeface="+mn-lt"/>
              </a:rPr>
              <a:t>Pesquisa realizada em </a:t>
            </a:r>
            <a:r>
              <a:rPr lang="pt-BR" altLang="pt-BR" sz="1568" b="1" dirty="0">
                <a:solidFill>
                  <a:schemeClr val="tx2"/>
                </a:solidFill>
                <a:latin typeface="+mn-lt"/>
              </a:rPr>
              <a:t>7 capitais </a:t>
            </a:r>
            <a:r>
              <a:rPr lang="pt-BR" sz="1568" dirty="0">
                <a:solidFill>
                  <a:schemeClr val="tx2"/>
                </a:solidFill>
                <a:latin typeface="+mn-lt"/>
              </a:rPr>
              <a:t>com </a:t>
            </a:r>
            <a:r>
              <a:rPr lang="pt-BR" sz="1568" b="1" dirty="0">
                <a:solidFill>
                  <a:schemeClr val="tx2"/>
                </a:solidFill>
                <a:latin typeface="+mn-lt"/>
              </a:rPr>
              <a:t>205 participantes </a:t>
            </a:r>
            <a:r>
              <a:rPr lang="pt-BR" sz="1568" dirty="0">
                <a:solidFill>
                  <a:schemeClr val="tx2"/>
                </a:solidFill>
                <a:latin typeface="+mn-lt"/>
              </a:rPr>
              <a:t>da etapa qualitativa e </a:t>
            </a:r>
            <a:r>
              <a:rPr lang="pt-BR" sz="1568" b="1" dirty="0">
                <a:solidFill>
                  <a:schemeClr val="tx2"/>
                </a:solidFill>
                <a:latin typeface="+mn-lt"/>
              </a:rPr>
              <a:t>2.300 </a:t>
            </a:r>
            <a:r>
              <a:rPr lang="pt-BR" sz="1568" dirty="0">
                <a:solidFill>
                  <a:schemeClr val="tx2"/>
                </a:solidFill>
                <a:latin typeface="+mn-lt"/>
              </a:rPr>
              <a:t>da quantitativa mostra que... </a:t>
            </a:r>
            <a:endParaRPr lang="pt-BR" altLang="pt-BR" sz="1568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3" name="Hexagon 11">
            <a:extLst>
              <a:ext uri="{FF2B5EF4-FFF2-40B4-BE49-F238E27FC236}">
                <a16:creationId xmlns:a16="http://schemas.microsoft.com/office/drawing/2014/main" xmlns="" id="{DE7673C7-9AAF-4DDC-996A-99FA5A122CCD}"/>
              </a:ext>
            </a:extLst>
          </p:cNvPr>
          <p:cNvSpPr/>
          <p:nvPr/>
        </p:nvSpPr>
        <p:spPr>
          <a:xfrm rot="5400000">
            <a:off x="611880" y="1980364"/>
            <a:ext cx="1250645" cy="1206384"/>
          </a:xfrm>
          <a:prstGeom prst="hexagon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/>
          </a:p>
        </p:txBody>
      </p:sp>
      <p:sp>
        <p:nvSpPr>
          <p:cNvPr id="15" name="TextBox 45">
            <a:extLst>
              <a:ext uri="{FF2B5EF4-FFF2-40B4-BE49-F238E27FC236}">
                <a16:creationId xmlns:a16="http://schemas.microsoft.com/office/drawing/2014/main" xmlns="" id="{F2CA2955-8DF8-4DE5-9B7C-CC71F2C71A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4010" y="2285995"/>
            <a:ext cx="1206384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pt-BR" sz="2500" b="1" i="1" dirty="0">
                <a:solidFill>
                  <a:srgbClr val="FFFFFF"/>
                </a:solidFill>
                <a:latin typeface="+mn-lt"/>
              </a:rPr>
              <a:t>44% </a:t>
            </a:r>
          </a:p>
        </p:txBody>
      </p:sp>
      <p:sp>
        <p:nvSpPr>
          <p:cNvPr id="18" name="Hexagon 11">
            <a:extLst>
              <a:ext uri="{FF2B5EF4-FFF2-40B4-BE49-F238E27FC236}">
                <a16:creationId xmlns:a16="http://schemas.microsoft.com/office/drawing/2014/main" xmlns="" id="{43800A69-432E-4B2B-B5E7-DDDA9531AF19}"/>
              </a:ext>
            </a:extLst>
          </p:cNvPr>
          <p:cNvSpPr/>
          <p:nvPr/>
        </p:nvSpPr>
        <p:spPr>
          <a:xfrm rot="5400000">
            <a:off x="611878" y="3382245"/>
            <a:ext cx="1250645" cy="1206384"/>
          </a:xfrm>
          <a:prstGeom prst="hexagon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/>
          </a:p>
        </p:txBody>
      </p:sp>
      <p:sp>
        <p:nvSpPr>
          <p:cNvPr id="19" name="TextBox 45">
            <a:extLst>
              <a:ext uri="{FF2B5EF4-FFF2-40B4-BE49-F238E27FC236}">
                <a16:creationId xmlns:a16="http://schemas.microsoft.com/office/drawing/2014/main" xmlns="" id="{25DD2ACC-89F0-49BE-874B-3F7817DE57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1959" y="3693306"/>
            <a:ext cx="1206384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pt-BR" sz="2500" b="1" i="1" dirty="0">
                <a:solidFill>
                  <a:srgbClr val="FFFFFF"/>
                </a:solidFill>
                <a:latin typeface="+mn-lt"/>
              </a:rPr>
              <a:t>23% 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xmlns="" id="{C10A9A08-F15C-4B60-ACA1-427AA096D617}"/>
              </a:ext>
            </a:extLst>
          </p:cNvPr>
          <p:cNvSpPr/>
          <p:nvPr/>
        </p:nvSpPr>
        <p:spPr>
          <a:xfrm>
            <a:off x="2047239" y="2259357"/>
            <a:ext cx="6311830" cy="6463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sz="1568" b="1" dirty="0">
                <a:solidFill>
                  <a:srgbClr val="FFFFFF"/>
                </a:solidFill>
              </a:rPr>
              <a:t>Dos pais de alunos do EM acham importante que o filho trabalhe, independente da renda. </a:t>
            </a:r>
          </a:p>
        </p:txBody>
      </p:sp>
      <p:sp>
        <p:nvSpPr>
          <p:cNvPr id="22" name="Hexagon 11">
            <a:extLst>
              <a:ext uri="{FF2B5EF4-FFF2-40B4-BE49-F238E27FC236}">
                <a16:creationId xmlns:a16="http://schemas.microsoft.com/office/drawing/2014/main" xmlns="" id="{A64C82D6-A5DA-4E7F-9CD8-63617D2F6143}"/>
              </a:ext>
            </a:extLst>
          </p:cNvPr>
          <p:cNvSpPr/>
          <p:nvPr/>
        </p:nvSpPr>
        <p:spPr>
          <a:xfrm rot="5400000">
            <a:off x="611880" y="4781737"/>
            <a:ext cx="1250645" cy="1206384"/>
          </a:xfrm>
          <a:prstGeom prst="hexagon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68" dirty="0"/>
          </a:p>
        </p:txBody>
      </p:sp>
      <p:sp>
        <p:nvSpPr>
          <p:cNvPr id="25" name="TextBox 45">
            <a:extLst>
              <a:ext uri="{FF2B5EF4-FFF2-40B4-BE49-F238E27FC236}">
                <a16:creationId xmlns:a16="http://schemas.microsoft.com/office/drawing/2014/main" xmlns="" id="{78B95C19-0881-4686-8434-D663150268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1959" y="5145022"/>
            <a:ext cx="1206384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pt-BR" sz="2500" b="1" i="1" dirty="0">
                <a:solidFill>
                  <a:srgbClr val="FFFFFF"/>
                </a:solidFill>
                <a:latin typeface="+mn-lt"/>
              </a:rPr>
              <a:t>60% 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xmlns="" id="{BE771C3B-48B4-40A9-BC63-64EA8A8BB97F}"/>
              </a:ext>
            </a:extLst>
          </p:cNvPr>
          <p:cNvSpPr/>
          <p:nvPr/>
        </p:nvSpPr>
        <p:spPr>
          <a:xfrm>
            <a:off x="2047239" y="5031851"/>
            <a:ext cx="6311830" cy="64633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sz="1568" b="1" dirty="0">
                <a:solidFill>
                  <a:srgbClr val="FFFFFF"/>
                </a:solidFill>
              </a:rPr>
              <a:t>Dos alunos do EM que trabalham, afirmam que o “trabalho é tão importante quanto a escola” na formação pessoal. </a:t>
            </a:r>
          </a:p>
        </p:txBody>
      </p:sp>
    </p:spTree>
    <p:extLst>
      <p:ext uri="{BB962C8B-B14F-4D97-AF65-F5344CB8AC3E}">
        <p14:creationId xmlns:p14="http://schemas.microsoft.com/office/powerpoint/2010/main" val="16431952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13E2521A-6DFD-49F7-9C0E-DA71BC98E1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6424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Slide do think-cell" r:id="rId6" imgW="421" imgH="423" progId="TCLayout.ActiveDocument.1">
                  <p:embed/>
                </p:oleObj>
              </mc:Choice>
              <mc:Fallback>
                <p:oleObj name="Slide do think-cell" r:id="rId6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13E2521A-6DFD-49F7-9C0E-DA71BC98E1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>
            <a:extLst>
              <a:ext uri="{FF2B5EF4-FFF2-40B4-BE49-F238E27FC236}">
                <a16:creationId xmlns:a16="http://schemas.microsoft.com/office/drawing/2014/main" xmlns="" id="{50149E5F-2DF3-4579-BB55-5160B0570DE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352" dirty="0">
              <a:latin typeface="Gill Sans"/>
              <a:ea typeface="+mj-ea"/>
              <a:sym typeface="Gill Sans"/>
            </a:endParaRPr>
          </a:p>
        </p:txBody>
      </p:sp>
      <p:sp>
        <p:nvSpPr>
          <p:cNvPr id="3088" name="Rectangle 17"/>
          <p:cNvSpPr>
            <a:spLocks noGrp="1" noChangeArrowheads="1"/>
          </p:cNvSpPr>
          <p:nvPr>
            <p:ph type="ctrTitle"/>
          </p:nvPr>
        </p:nvSpPr>
        <p:spPr>
          <a:xfrm>
            <a:off x="363706" y="275358"/>
            <a:ext cx="8384509" cy="528182"/>
          </a:xfrm>
        </p:spPr>
        <p:txBody>
          <a:bodyPr>
            <a:normAutofit fontScale="90000"/>
          </a:bodyPr>
          <a:lstStyle/>
          <a:p>
            <a:r>
              <a:rPr lang="pt-BR" dirty="0"/>
              <a:t>As escolas integrais melhoram acesso ao ensino superior e têm impacto sobre renda dos egressos</a:t>
            </a:r>
            <a:endParaRPr lang="en-GB" alt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827583E-0A9D-4FD4-8889-DDBCF82D3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xmlns="" id="{8E031AAE-8F95-4A29-B56A-319B451D3D0F}"/>
              </a:ext>
            </a:extLst>
          </p:cNvPr>
          <p:cNvSpPr>
            <a:spLocks/>
          </p:cNvSpPr>
          <p:nvPr/>
        </p:nvSpPr>
        <p:spPr bwMode="auto">
          <a:xfrm>
            <a:off x="1526998" y="1772431"/>
            <a:ext cx="2482189" cy="1799839"/>
          </a:xfrm>
          <a:custGeom>
            <a:avLst/>
            <a:gdLst>
              <a:gd name="T0" fmla="*/ 859783 w 1612"/>
              <a:gd name="T1" fmla="*/ 1712718 h 1386"/>
              <a:gd name="T2" fmla="*/ 879605 w 1612"/>
              <a:gd name="T3" fmla="*/ 1705282 h 1386"/>
              <a:gd name="T4" fmla="*/ 884561 w 1612"/>
              <a:gd name="T5" fmla="*/ 1702803 h 1386"/>
              <a:gd name="T6" fmla="*/ 891994 w 1612"/>
              <a:gd name="T7" fmla="*/ 1697846 h 1386"/>
              <a:gd name="T8" fmla="*/ 896949 w 1612"/>
              <a:gd name="T9" fmla="*/ 1695368 h 1386"/>
              <a:gd name="T10" fmla="*/ 904383 w 1612"/>
              <a:gd name="T11" fmla="*/ 1687932 h 1386"/>
              <a:gd name="T12" fmla="*/ 909338 w 1612"/>
              <a:gd name="T13" fmla="*/ 1685453 h 1386"/>
              <a:gd name="T14" fmla="*/ 911816 w 1612"/>
              <a:gd name="T15" fmla="*/ 1678017 h 1386"/>
              <a:gd name="T16" fmla="*/ 914294 w 1612"/>
              <a:gd name="T17" fmla="*/ 1675539 h 1386"/>
              <a:gd name="T18" fmla="*/ 916771 w 1612"/>
              <a:gd name="T19" fmla="*/ 1668103 h 1386"/>
              <a:gd name="T20" fmla="*/ 916771 w 1612"/>
              <a:gd name="T21" fmla="*/ 1663146 h 1386"/>
              <a:gd name="T22" fmla="*/ 887038 w 1612"/>
              <a:gd name="T23" fmla="*/ 1606138 h 1386"/>
              <a:gd name="T24" fmla="*/ 822617 w 1612"/>
              <a:gd name="T25" fmla="*/ 1554087 h 1386"/>
              <a:gd name="T26" fmla="*/ 817661 w 1612"/>
              <a:gd name="T27" fmla="*/ 1526822 h 1386"/>
              <a:gd name="T28" fmla="*/ 837483 w 1612"/>
              <a:gd name="T29" fmla="*/ 1479729 h 1386"/>
              <a:gd name="T30" fmla="*/ 944027 w 1612"/>
              <a:gd name="T31" fmla="*/ 1427678 h 1386"/>
              <a:gd name="T32" fmla="*/ 1048093 w 1612"/>
              <a:gd name="T33" fmla="*/ 1427678 h 1386"/>
              <a:gd name="T34" fmla="*/ 1154636 w 1612"/>
              <a:gd name="T35" fmla="*/ 1479729 h 1386"/>
              <a:gd name="T36" fmla="*/ 1174458 w 1612"/>
              <a:gd name="T37" fmla="*/ 1526822 h 1386"/>
              <a:gd name="T38" fmla="*/ 1169503 w 1612"/>
              <a:gd name="T39" fmla="*/ 1554087 h 1386"/>
              <a:gd name="T40" fmla="*/ 1107559 w 1612"/>
              <a:gd name="T41" fmla="*/ 1606138 h 1386"/>
              <a:gd name="T42" fmla="*/ 1075348 w 1612"/>
              <a:gd name="T43" fmla="*/ 1663146 h 1386"/>
              <a:gd name="T44" fmla="*/ 1075348 w 1612"/>
              <a:gd name="T45" fmla="*/ 1668103 h 1386"/>
              <a:gd name="T46" fmla="*/ 1077826 w 1612"/>
              <a:gd name="T47" fmla="*/ 1675539 h 1386"/>
              <a:gd name="T48" fmla="*/ 1080304 w 1612"/>
              <a:gd name="T49" fmla="*/ 1678017 h 1386"/>
              <a:gd name="T50" fmla="*/ 1085259 w 1612"/>
              <a:gd name="T51" fmla="*/ 1685453 h 1386"/>
              <a:gd name="T52" fmla="*/ 1087737 w 1612"/>
              <a:gd name="T53" fmla="*/ 1687932 h 1386"/>
              <a:gd name="T54" fmla="*/ 1095170 w 1612"/>
              <a:gd name="T55" fmla="*/ 1695368 h 1386"/>
              <a:gd name="T56" fmla="*/ 1100126 w 1612"/>
              <a:gd name="T57" fmla="*/ 1697846 h 1386"/>
              <a:gd name="T58" fmla="*/ 1107559 w 1612"/>
              <a:gd name="T59" fmla="*/ 1702803 h 1386"/>
              <a:gd name="T60" fmla="*/ 1112514 w 1612"/>
              <a:gd name="T61" fmla="*/ 1705282 h 1386"/>
              <a:gd name="T62" fmla="*/ 1132337 w 1612"/>
              <a:gd name="T63" fmla="*/ 1712718 h 1386"/>
              <a:gd name="T64" fmla="*/ 1637800 w 1612"/>
              <a:gd name="T65" fmla="*/ 1452464 h 1386"/>
              <a:gd name="T66" fmla="*/ 1642755 w 1612"/>
              <a:gd name="T67" fmla="*/ 1368191 h 1386"/>
              <a:gd name="T68" fmla="*/ 1603111 w 1612"/>
              <a:gd name="T69" fmla="*/ 1338448 h 1386"/>
              <a:gd name="T70" fmla="*/ 1526300 w 1612"/>
              <a:gd name="T71" fmla="*/ 1368191 h 1386"/>
              <a:gd name="T72" fmla="*/ 1461879 w 1612"/>
              <a:gd name="T73" fmla="*/ 1365713 h 1386"/>
              <a:gd name="T74" fmla="*/ 1429668 w 1612"/>
              <a:gd name="T75" fmla="*/ 1326055 h 1386"/>
              <a:gd name="T76" fmla="*/ 1439579 w 1612"/>
              <a:gd name="T77" fmla="*/ 1207082 h 1386"/>
              <a:gd name="T78" fmla="*/ 1491612 w 1612"/>
              <a:gd name="T79" fmla="*/ 1117852 h 1386"/>
              <a:gd name="T80" fmla="*/ 1588245 w 1612"/>
              <a:gd name="T81" fmla="*/ 1050930 h 1386"/>
              <a:gd name="T82" fmla="*/ 1640277 w 1612"/>
              <a:gd name="T83" fmla="*/ 1058365 h 1386"/>
              <a:gd name="T84" fmla="*/ 1672488 w 1612"/>
              <a:gd name="T85" fmla="*/ 1115373 h 1386"/>
              <a:gd name="T86" fmla="*/ 1687355 w 1612"/>
              <a:gd name="T87" fmla="*/ 1194689 h 1386"/>
              <a:gd name="T88" fmla="*/ 1731955 w 1612"/>
              <a:gd name="T89" fmla="*/ 1214518 h 1386"/>
              <a:gd name="T90" fmla="*/ 1979731 w 1612"/>
              <a:gd name="T91" fmla="*/ 862555 h 1386"/>
              <a:gd name="T92" fmla="*/ 1774077 w 1612"/>
              <a:gd name="T93" fmla="*/ 473414 h 1386"/>
              <a:gd name="T94" fmla="*/ 1791421 w 1612"/>
              <a:gd name="T95" fmla="*/ 423842 h 1386"/>
              <a:gd name="T96" fmla="*/ 1858320 w 1612"/>
              <a:gd name="T97" fmla="*/ 421363 h 1386"/>
              <a:gd name="T98" fmla="*/ 1935131 w 1612"/>
              <a:gd name="T99" fmla="*/ 451107 h 1386"/>
              <a:gd name="T100" fmla="*/ 1977253 w 1612"/>
              <a:gd name="T101" fmla="*/ 428799 h 1386"/>
              <a:gd name="T102" fmla="*/ 1997075 w 1612"/>
              <a:gd name="T103" fmla="*/ 366834 h 1386"/>
              <a:gd name="T104" fmla="*/ 1959909 w 1612"/>
              <a:gd name="T105" fmla="*/ 245382 h 1386"/>
              <a:gd name="T106" fmla="*/ 1858320 w 1612"/>
              <a:gd name="T107" fmla="*/ 143759 h 1386"/>
              <a:gd name="T108" fmla="*/ 1793899 w 1612"/>
              <a:gd name="T109" fmla="*/ 136323 h 1386"/>
              <a:gd name="T110" fmla="*/ 1754254 w 1612"/>
              <a:gd name="T111" fmla="*/ 171024 h 1386"/>
              <a:gd name="T112" fmla="*/ 1749299 w 1612"/>
              <a:gd name="T113" fmla="*/ 225553 h 1386"/>
              <a:gd name="T114" fmla="*/ 1724521 w 1612"/>
              <a:gd name="T115" fmla="*/ 289997 h 1386"/>
              <a:gd name="T116" fmla="*/ 1684877 w 1612"/>
              <a:gd name="T117" fmla="*/ 297433 h 1386"/>
              <a:gd name="T118" fmla="*/ 495552 w 1612"/>
              <a:gd name="T119" fmla="*/ 0 h 138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612" h="1386">
                <a:moveTo>
                  <a:pt x="674" y="1382"/>
                </a:moveTo>
                <a:lnTo>
                  <a:pt x="674" y="1382"/>
                </a:lnTo>
                <a:lnTo>
                  <a:pt x="670" y="1382"/>
                </a:lnTo>
                <a:lnTo>
                  <a:pt x="694" y="1382"/>
                </a:lnTo>
                <a:lnTo>
                  <a:pt x="706" y="1378"/>
                </a:lnTo>
                <a:lnTo>
                  <a:pt x="708" y="1378"/>
                </a:lnTo>
                <a:lnTo>
                  <a:pt x="710" y="1376"/>
                </a:lnTo>
                <a:lnTo>
                  <a:pt x="712" y="1374"/>
                </a:lnTo>
                <a:lnTo>
                  <a:pt x="714" y="1374"/>
                </a:lnTo>
                <a:lnTo>
                  <a:pt x="716" y="1372"/>
                </a:lnTo>
                <a:lnTo>
                  <a:pt x="718" y="1372"/>
                </a:lnTo>
                <a:lnTo>
                  <a:pt x="720" y="1370"/>
                </a:lnTo>
                <a:lnTo>
                  <a:pt x="722" y="1368"/>
                </a:lnTo>
                <a:lnTo>
                  <a:pt x="724" y="1368"/>
                </a:lnTo>
                <a:lnTo>
                  <a:pt x="726" y="1366"/>
                </a:lnTo>
                <a:lnTo>
                  <a:pt x="730" y="1364"/>
                </a:lnTo>
                <a:lnTo>
                  <a:pt x="730" y="1362"/>
                </a:lnTo>
                <a:lnTo>
                  <a:pt x="732" y="1360"/>
                </a:lnTo>
                <a:lnTo>
                  <a:pt x="734" y="1360"/>
                </a:lnTo>
                <a:lnTo>
                  <a:pt x="734" y="1358"/>
                </a:lnTo>
                <a:lnTo>
                  <a:pt x="736" y="1356"/>
                </a:lnTo>
                <a:lnTo>
                  <a:pt x="736" y="1354"/>
                </a:lnTo>
                <a:lnTo>
                  <a:pt x="738" y="1354"/>
                </a:lnTo>
                <a:lnTo>
                  <a:pt x="738" y="1352"/>
                </a:lnTo>
                <a:lnTo>
                  <a:pt x="740" y="1350"/>
                </a:lnTo>
                <a:lnTo>
                  <a:pt x="740" y="1348"/>
                </a:lnTo>
                <a:lnTo>
                  <a:pt x="740" y="1346"/>
                </a:lnTo>
                <a:lnTo>
                  <a:pt x="740" y="1342"/>
                </a:lnTo>
                <a:lnTo>
                  <a:pt x="740" y="1330"/>
                </a:lnTo>
                <a:lnTo>
                  <a:pt x="736" y="1320"/>
                </a:lnTo>
                <a:lnTo>
                  <a:pt x="734" y="1312"/>
                </a:lnTo>
                <a:lnTo>
                  <a:pt x="728" y="1306"/>
                </a:lnTo>
                <a:lnTo>
                  <a:pt x="716" y="1296"/>
                </a:lnTo>
                <a:lnTo>
                  <a:pt x="700" y="1286"/>
                </a:lnTo>
                <a:lnTo>
                  <a:pt x="686" y="1278"/>
                </a:lnTo>
                <a:lnTo>
                  <a:pt x="674" y="1268"/>
                </a:lnTo>
                <a:lnTo>
                  <a:pt x="668" y="1262"/>
                </a:lnTo>
                <a:lnTo>
                  <a:pt x="664" y="1254"/>
                </a:lnTo>
                <a:lnTo>
                  <a:pt x="662" y="1244"/>
                </a:lnTo>
                <a:lnTo>
                  <a:pt x="660" y="1232"/>
                </a:lnTo>
                <a:lnTo>
                  <a:pt x="662" y="1222"/>
                </a:lnTo>
                <a:lnTo>
                  <a:pt x="664" y="1212"/>
                </a:lnTo>
                <a:lnTo>
                  <a:pt x="670" y="1202"/>
                </a:lnTo>
                <a:lnTo>
                  <a:pt x="676" y="1194"/>
                </a:lnTo>
                <a:lnTo>
                  <a:pt x="684" y="1186"/>
                </a:lnTo>
                <a:lnTo>
                  <a:pt x="694" y="1178"/>
                </a:lnTo>
                <a:lnTo>
                  <a:pt x="714" y="1166"/>
                </a:lnTo>
                <a:lnTo>
                  <a:pt x="738" y="1158"/>
                </a:lnTo>
                <a:lnTo>
                  <a:pt x="762" y="1152"/>
                </a:lnTo>
                <a:lnTo>
                  <a:pt x="786" y="1150"/>
                </a:lnTo>
                <a:lnTo>
                  <a:pt x="804" y="1148"/>
                </a:lnTo>
                <a:lnTo>
                  <a:pt x="824" y="1150"/>
                </a:lnTo>
                <a:lnTo>
                  <a:pt x="846" y="1152"/>
                </a:lnTo>
                <a:lnTo>
                  <a:pt x="870" y="1158"/>
                </a:lnTo>
                <a:lnTo>
                  <a:pt x="894" y="1166"/>
                </a:lnTo>
                <a:lnTo>
                  <a:pt x="916" y="1178"/>
                </a:lnTo>
                <a:lnTo>
                  <a:pt x="924" y="1186"/>
                </a:lnTo>
                <a:lnTo>
                  <a:pt x="932" y="1194"/>
                </a:lnTo>
                <a:lnTo>
                  <a:pt x="940" y="1202"/>
                </a:lnTo>
                <a:lnTo>
                  <a:pt x="944" y="1212"/>
                </a:lnTo>
                <a:lnTo>
                  <a:pt x="948" y="1222"/>
                </a:lnTo>
                <a:lnTo>
                  <a:pt x="948" y="1232"/>
                </a:lnTo>
                <a:lnTo>
                  <a:pt x="948" y="1244"/>
                </a:lnTo>
                <a:lnTo>
                  <a:pt x="944" y="1254"/>
                </a:lnTo>
                <a:lnTo>
                  <a:pt x="940" y="1262"/>
                </a:lnTo>
                <a:lnTo>
                  <a:pt x="936" y="1268"/>
                </a:lnTo>
                <a:lnTo>
                  <a:pt x="922" y="1278"/>
                </a:lnTo>
                <a:lnTo>
                  <a:pt x="908" y="1286"/>
                </a:lnTo>
                <a:lnTo>
                  <a:pt x="894" y="1296"/>
                </a:lnTo>
                <a:lnTo>
                  <a:pt x="880" y="1306"/>
                </a:lnTo>
                <a:lnTo>
                  <a:pt x="876" y="1312"/>
                </a:lnTo>
                <a:lnTo>
                  <a:pt x="872" y="1320"/>
                </a:lnTo>
                <a:lnTo>
                  <a:pt x="870" y="1330"/>
                </a:lnTo>
                <a:lnTo>
                  <a:pt x="868" y="1342"/>
                </a:lnTo>
                <a:lnTo>
                  <a:pt x="868" y="1346"/>
                </a:lnTo>
                <a:lnTo>
                  <a:pt x="868" y="1348"/>
                </a:lnTo>
                <a:lnTo>
                  <a:pt x="870" y="1350"/>
                </a:lnTo>
                <a:lnTo>
                  <a:pt x="870" y="1352"/>
                </a:lnTo>
                <a:lnTo>
                  <a:pt x="872" y="1354"/>
                </a:lnTo>
                <a:lnTo>
                  <a:pt x="874" y="1356"/>
                </a:lnTo>
                <a:lnTo>
                  <a:pt x="874" y="1358"/>
                </a:lnTo>
                <a:lnTo>
                  <a:pt x="876" y="1360"/>
                </a:lnTo>
                <a:lnTo>
                  <a:pt x="878" y="1362"/>
                </a:lnTo>
                <a:lnTo>
                  <a:pt x="880" y="1364"/>
                </a:lnTo>
                <a:lnTo>
                  <a:pt x="882" y="1366"/>
                </a:lnTo>
                <a:lnTo>
                  <a:pt x="884" y="1368"/>
                </a:lnTo>
                <a:lnTo>
                  <a:pt x="886" y="1368"/>
                </a:lnTo>
                <a:lnTo>
                  <a:pt x="888" y="1370"/>
                </a:lnTo>
                <a:lnTo>
                  <a:pt x="890" y="1372"/>
                </a:lnTo>
                <a:lnTo>
                  <a:pt x="892" y="1372"/>
                </a:lnTo>
                <a:lnTo>
                  <a:pt x="894" y="1374"/>
                </a:lnTo>
                <a:lnTo>
                  <a:pt x="896" y="1374"/>
                </a:lnTo>
                <a:lnTo>
                  <a:pt x="898" y="1376"/>
                </a:lnTo>
                <a:lnTo>
                  <a:pt x="902" y="1378"/>
                </a:lnTo>
                <a:lnTo>
                  <a:pt x="914" y="1382"/>
                </a:lnTo>
                <a:lnTo>
                  <a:pt x="940" y="1382"/>
                </a:lnTo>
                <a:lnTo>
                  <a:pt x="934" y="1382"/>
                </a:lnTo>
                <a:lnTo>
                  <a:pt x="1198" y="1386"/>
                </a:lnTo>
                <a:lnTo>
                  <a:pt x="1322" y="1172"/>
                </a:lnTo>
                <a:lnTo>
                  <a:pt x="1326" y="1150"/>
                </a:lnTo>
                <a:lnTo>
                  <a:pt x="1330" y="1126"/>
                </a:lnTo>
                <a:lnTo>
                  <a:pt x="1328" y="1114"/>
                </a:lnTo>
                <a:lnTo>
                  <a:pt x="1326" y="1104"/>
                </a:lnTo>
                <a:lnTo>
                  <a:pt x="1322" y="1094"/>
                </a:lnTo>
                <a:lnTo>
                  <a:pt x="1316" y="1088"/>
                </a:lnTo>
                <a:lnTo>
                  <a:pt x="1304" y="1084"/>
                </a:lnTo>
                <a:lnTo>
                  <a:pt x="1294" y="1080"/>
                </a:lnTo>
                <a:lnTo>
                  <a:pt x="1286" y="1080"/>
                </a:lnTo>
                <a:lnTo>
                  <a:pt x="1278" y="1082"/>
                </a:lnTo>
                <a:lnTo>
                  <a:pt x="1262" y="1086"/>
                </a:lnTo>
                <a:lnTo>
                  <a:pt x="1248" y="1096"/>
                </a:lnTo>
                <a:lnTo>
                  <a:pt x="1232" y="1104"/>
                </a:lnTo>
                <a:lnTo>
                  <a:pt x="1218" y="1110"/>
                </a:lnTo>
                <a:lnTo>
                  <a:pt x="1208" y="1110"/>
                </a:lnTo>
                <a:lnTo>
                  <a:pt x="1200" y="1110"/>
                </a:lnTo>
                <a:lnTo>
                  <a:pt x="1190" y="1108"/>
                </a:lnTo>
                <a:lnTo>
                  <a:pt x="1180" y="1102"/>
                </a:lnTo>
                <a:lnTo>
                  <a:pt x="1170" y="1096"/>
                </a:lnTo>
                <a:lnTo>
                  <a:pt x="1164" y="1088"/>
                </a:lnTo>
                <a:lnTo>
                  <a:pt x="1158" y="1080"/>
                </a:lnTo>
                <a:lnTo>
                  <a:pt x="1154" y="1070"/>
                </a:lnTo>
                <a:lnTo>
                  <a:pt x="1152" y="1060"/>
                </a:lnTo>
                <a:lnTo>
                  <a:pt x="1150" y="1048"/>
                </a:lnTo>
                <a:lnTo>
                  <a:pt x="1150" y="1024"/>
                </a:lnTo>
                <a:lnTo>
                  <a:pt x="1154" y="998"/>
                </a:lnTo>
                <a:lnTo>
                  <a:pt x="1162" y="974"/>
                </a:lnTo>
                <a:lnTo>
                  <a:pt x="1170" y="954"/>
                </a:lnTo>
                <a:lnTo>
                  <a:pt x="1180" y="936"/>
                </a:lnTo>
                <a:lnTo>
                  <a:pt x="1190" y="920"/>
                </a:lnTo>
                <a:lnTo>
                  <a:pt x="1204" y="902"/>
                </a:lnTo>
                <a:lnTo>
                  <a:pt x="1220" y="884"/>
                </a:lnTo>
                <a:lnTo>
                  <a:pt x="1240" y="868"/>
                </a:lnTo>
                <a:lnTo>
                  <a:pt x="1260" y="856"/>
                </a:lnTo>
                <a:lnTo>
                  <a:pt x="1272" y="850"/>
                </a:lnTo>
                <a:lnTo>
                  <a:pt x="1282" y="848"/>
                </a:lnTo>
                <a:lnTo>
                  <a:pt x="1292" y="846"/>
                </a:lnTo>
                <a:lnTo>
                  <a:pt x="1304" y="846"/>
                </a:lnTo>
                <a:lnTo>
                  <a:pt x="1314" y="848"/>
                </a:lnTo>
                <a:lnTo>
                  <a:pt x="1324" y="854"/>
                </a:lnTo>
                <a:lnTo>
                  <a:pt x="1334" y="860"/>
                </a:lnTo>
                <a:lnTo>
                  <a:pt x="1340" y="868"/>
                </a:lnTo>
                <a:lnTo>
                  <a:pt x="1346" y="874"/>
                </a:lnTo>
                <a:lnTo>
                  <a:pt x="1348" y="882"/>
                </a:lnTo>
                <a:lnTo>
                  <a:pt x="1350" y="900"/>
                </a:lnTo>
                <a:lnTo>
                  <a:pt x="1350" y="916"/>
                </a:lnTo>
                <a:lnTo>
                  <a:pt x="1350" y="932"/>
                </a:lnTo>
                <a:lnTo>
                  <a:pt x="1354" y="948"/>
                </a:lnTo>
                <a:lnTo>
                  <a:pt x="1358" y="956"/>
                </a:lnTo>
                <a:lnTo>
                  <a:pt x="1362" y="964"/>
                </a:lnTo>
                <a:lnTo>
                  <a:pt x="1370" y="972"/>
                </a:lnTo>
                <a:lnTo>
                  <a:pt x="1380" y="978"/>
                </a:lnTo>
                <a:lnTo>
                  <a:pt x="1388" y="980"/>
                </a:lnTo>
                <a:lnTo>
                  <a:pt x="1398" y="980"/>
                </a:lnTo>
                <a:lnTo>
                  <a:pt x="1408" y="976"/>
                </a:lnTo>
                <a:lnTo>
                  <a:pt x="1418" y="972"/>
                </a:lnTo>
                <a:lnTo>
                  <a:pt x="1438" y="958"/>
                </a:lnTo>
                <a:lnTo>
                  <a:pt x="1456" y="942"/>
                </a:lnTo>
                <a:lnTo>
                  <a:pt x="1598" y="696"/>
                </a:lnTo>
                <a:lnTo>
                  <a:pt x="1436" y="418"/>
                </a:lnTo>
                <a:lnTo>
                  <a:pt x="1434" y="400"/>
                </a:lnTo>
                <a:lnTo>
                  <a:pt x="1432" y="382"/>
                </a:lnTo>
                <a:lnTo>
                  <a:pt x="1432" y="370"/>
                </a:lnTo>
                <a:lnTo>
                  <a:pt x="1434" y="358"/>
                </a:lnTo>
                <a:lnTo>
                  <a:pt x="1440" y="348"/>
                </a:lnTo>
                <a:lnTo>
                  <a:pt x="1446" y="342"/>
                </a:lnTo>
                <a:lnTo>
                  <a:pt x="1456" y="338"/>
                </a:lnTo>
                <a:lnTo>
                  <a:pt x="1466" y="334"/>
                </a:lnTo>
                <a:lnTo>
                  <a:pt x="1476" y="334"/>
                </a:lnTo>
                <a:lnTo>
                  <a:pt x="1484" y="334"/>
                </a:lnTo>
                <a:lnTo>
                  <a:pt x="1500" y="340"/>
                </a:lnTo>
                <a:lnTo>
                  <a:pt x="1514" y="348"/>
                </a:lnTo>
                <a:lnTo>
                  <a:pt x="1528" y="358"/>
                </a:lnTo>
                <a:lnTo>
                  <a:pt x="1544" y="364"/>
                </a:lnTo>
                <a:lnTo>
                  <a:pt x="1552" y="364"/>
                </a:lnTo>
                <a:lnTo>
                  <a:pt x="1562" y="364"/>
                </a:lnTo>
                <a:lnTo>
                  <a:pt x="1572" y="362"/>
                </a:lnTo>
                <a:lnTo>
                  <a:pt x="1582" y="356"/>
                </a:lnTo>
                <a:lnTo>
                  <a:pt x="1590" y="352"/>
                </a:lnTo>
                <a:lnTo>
                  <a:pt x="1596" y="346"/>
                </a:lnTo>
                <a:lnTo>
                  <a:pt x="1600" y="340"/>
                </a:lnTo>
                <a:lnTo>
                  <a:pt x="1604" y="332"/>
                </a:lnTo>
                <a:lnTo>
                  <a:pt x="1610" y="316"/>
                </a:lnTo>
                <a:lnTo>
                  <a:pt x="1612" y="296"/>
                </a:lnTo>
                <a:lnTo>
                  <a:pt x="1608" y="268"/>
                </a:lnTo>
                <a:lnTo>
                  <a:pt x="1602" y="242"/>
                </a:lnTo>
                <a:lnTo>
                  <a:pt x="1592" y="218"/>
                </a:lnTo>
                <a:lnTo>
                  <a:pt x="1582" y="198"/>
                </a:lnTo>
                <a:lnTo>
                  <a:pt x="1572" y="182"/>
                </a:lnTo>
                <a:lnTo>
                  <a:pt x="1558" y="164"/>
                </a:lnTo>
                <a:lnTo>
                  <a:pt x="1542" y="146"/>
                </a:lnTo>
                <a:lnTo>
                  <a:pt x="1522" y="130"/>
                </a:lnTo>
                <a:lnTo>
                  <a:pt x="1500" y="116"/>
                </a:lnTo>
                <a:lnTo>
                  <a:pt x="1490" y="112"/>
                </a:lnTo>
                <a:lnTo>
                  <a:pt x="1480" y="108"/>
                </a:lnTo>
                <a:lnTo>
                  <a:pt x="1468" y="108"/>
                </a:lnTo>
                <a:lnTo>
                  <a:pt x="1458" y="108"/>
                </a:lnTo>
                <a:lnTo>
                  <a:pt x="1448" y="110"/>
                </a:lnTo>
                <a:lnTo>
                  <a:pt x="1438" y="116"/>
                </a:lnTo>
                <a:lnTo>
                  <a:pt x="1430" y="120"/>
                </a:lnTo>
                <a:lnTo>
                  <a:pt x="1424" y="126"/>
                </a:lnTo>
                <a:lnTo>
                  <a:pt x="1416" y="138"/>
                </a:lnTo>
                <a:lnTo>
                  <a:pt x="1412" y="150"/>
                </a:lnTo>
                <a:lnTo>
                  <a:pt x="1410" y="164"/>
                </a:lnTo>
                <a:lnTo>
                  <a:pt x="1412" y="182"/>
                </a:lnTo>
                <a:lnTo>
                  <a:pt x="1410" y="198"/>
                </a:lnTo>
                <a:lnTo>
                  <a:pt x="1408" y="212"/>
                </a:lnTo>
                <a:lnTo>
                  <a:pt x="1404" y="220"/>
                </a:lnTo>
                <a:lnTo>
                  <a:pt x="1398" y="226"/>
                </a:lnTo>
                <a:lnTo>
                  <a:pt x="1392" y="234"/>
                </a:lnTo>
                <a:lnTo>
                  <a:pt x="1382" y="240"/>
                </a:lnTo>
                <a:lnTo>
                  <a:pt x="1376" y="242"/>
                </a:lnTo>
                <a:lnTo>
                  <a:pt x="1368" y="242"/>
                </a:lnTo>
                <a:lnTo>
                  <a:pt x="1360" y="240"/>
                </a:lnTo>
                <a:lnTo>
                  <a:pt x="1352" y="238"/>
                </a:lnTo>
                <a:lnTo>
                  <a:pt x="1334" y="228"/>
                </a:lnTo>
                <a:lnTo>
                  <a:pt x="1320" y="216"/>
                </a:lnTo>
                <a:lnTo>
                  <a:pt x="1198" y="0"/>
                </a:lnTo>
                <a:lnTo>
                  <a:pt x="400" y="0"/>
                </a:lnTo>
                <a:lnTo>
                  <a:pt x="0" y="694"/>
                </a:lnTo>
                <a:lnTo>
                  <a:pt x="398" y="1384"/>
                </a:lnTo>
                <a:lnTo>
                  <a:pt x="400" y="1382"/>
                </a:lnTo>
                <a:lnTo>
                  <a:pt x="674" y="1382"/>
                </a:lnTo>
                <a:close/>
              </a:path>
            </a:pathLst>
          </a:custGeom>
          <a:solidFill>
            <a:srgbClr val="0D64AD"/>
          </a:solidFill>
          <a:ln w="38100" cap="flat" cmpd="sng">
            <a:solidFill>
              <a:srgbClr val="0D64A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8" name="Oval 25">
            <a:extLst>
              <a:ext uri="{FF2B5EF4-FFF2-40B4-BE49-F238E27FC236}">
                <a16:creationId xmlns:a16="http://schemas.microsoft.com/office/drawing/2014/main" xmlns="" id="{ABD94137-0709-4922-89E1-B9D29427E664}"/>
              </a:ext>
            </a:extLst>
          </p:cNvPr>
          <p:cNvSpPr/>
          <p:nvPr/>
        </p:nvSpPr>
        <p:spPr>
          <a:xfrm>
            <a:off x="1289004" y="2412476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30" name="Freeform 4">
            <a:extLst>
              <a:ext uri="{FF2B5EF4-FFF2-40B4-BE49-F238E27FC236}">
                <a16:creationId xmlns:a16="http://schemas.microsoft.com/office/drawing/2014/main" xmlns="" id="{2733FB76-EFC3-4A4A-BFE0-11D985EA3972}"/>
              </a:ext>
            </a:extLst>
          </p:cNvPr>
          <p:cNvSpPr>
            <a:spLocks/>
          </p:cNvSpPr>
          <p:nvPr/>
        </p:nvSpPr>
        <p:spPr bwMode="auto">
          <a:xfrm>
            <a:off x="1539877" y="3292155"/>
            <a:ext cx="2488108" cy="2100921"/>
          </a:xfrm>
          <a:custGeom>
            <a:avLst/>
            <a:gdLst>
              <a:gd name="T0" fmla="*/ 1682237 w 1616"/>
              <a:gd name="T1" fmla="*/ 1724956 h 1618"/>
              <a:gd name="T2" fmla="*/ 1729310 w 1616"/>
              <a:gd name="T3" fmla="*/ 1732391 h 1618"/>
              <a:gd name="T4" fmla="*/ 1751607 w 1616"/>
              <a:gd name="T5" fmla="*/ 1799307 h 1618"/>
              <a:gd name="T6" fmla="*/ 1773905 w 1616"/>
              <a:gd name="T7" fmla="*/ 1868702 h 1618"/>
              <a:gd name="T8" fmla="*/ 1823455 w 1616"/>
              <a:gd name="T9" fmla="*/ 1886051 h 1618"/>
              <a:gd name="T10" fmla="*/ 1912646 w 1616"/>
              <a:gd name="T11" fmla="*/ 1838961 h 1618"/>
              <a:gd name="T12" fmla="*/ 1977062 w 1616"/>
              <a:gd name="T13" fmla="*/ 1754696 h 1618"/>
              <a:gd name="T14" fmla="*/ 1999359 w 1616"/>
              <a:gd name="T15" fmla="*/ 1623342 h 1618"/>
              <a:gd name="T16" fmla="*/ 1964674 w 1616"/>
              <a:gd name="T17" fmla="*/ 1568817 h 1618"/>
              <a:gd name="T18" fmla="*/ 1917601 w 1616"/>
              <a:gd name="T19" fmla="*/ 1561382 h 1618"/>
              <a:gd name="T20" fmla="*/ 1833366 w 1616"/>
              <a:gd name="T21" fmla="*/ 1596080 h 1618"/>
              <a:gd name="T22" fmla="*/ 1788770 w 1616"/>
              <a:gd name="T23" fmla="*/ 1578731 h 1618"/>
              <a:gd name="T24" fmla="*/ 1788770 w 1616"/>
              <a:gd name="T25" fmla="*/ 1484552 h 1618"/>
              <a:gd name="T26" fmla="*/ 1811068 w 1616"/>
              <a:gd name="T27" fmla="*/ 859999 h 1618"/>
              <a:gd name="T28" fmla="*/ 1726832 w 1616"/>
              <a:gd name="T29" fmla="*/ 810432 h 1618"/>
              <a:gd name="T30" fmla="*/ 1689669 w 1616"/>
              <a:gd name="T31" fmla="*/ 840172 h 1618"/>
              <a:gd name="T32" fmla="*/ 1677282 w 1616"/>
              <a:gd name="T33" fmla="*/ 931873 h 1618"/>
              <a:gd name="T34" fmla="*/ 1647551 w 1616"/>
              <a:gd name="T35" fmla="*/ 969048 h 1618"/>
              <a:gd name="T36" fmla="*/ 1583136 w 1616"/>
              <a:gd name="T37" fmla="*/ 971527 h 1618"/>
              <a:gd name="T38" fmla="*/ 1481558 w 1616"/>
              <a:gd name="T39" fmla="*/ 887262 h 1618"/>
              <a:gd name="T40" fmla="*/ 1439440 w 1616"/>
              <a:gd name="T41" fmla="*/ 790605 h 1618"/>
              <a:gd name="T42" fmla="*/ 1441917 w 1616"/>
              <a:gd name="T43" fmla="*/ 688991 h 1618"/>
              <a:gd name="T44" fmla="*/ 1484035 w 1616"/>
              <a:gd name="T45" fmla="*/ 654293 h 1618"/>
              <a:gd name="T46" fmla="*/ 1553406 w 1616"/>
              <a:gd name="T47" fmla="*/ 669164 h 1618"/>
              <a:gd name="T48" fmla="*/ 1625254 w 1616"/>
              <a:gd name="T49" fmla="*/ 684034 h 1618"/>
              <a:gd name="T50" fmla="*/ 1654984 w 1616"/>
              <a:gd name="T51" fmla="*/ 646858 h 1618"/>
              <a:gd name="T52" fmla="*/ 1484035 w 1616"/>
              <a:gd name="T53" fmla="*/ 294928 h 1618"/>
              <a:gd name="T54" fmla="*/ 1117362 w 1616"/>
              <a:gd name="T55" fmla="*/ 285014 h 1618"/>
              <a:gd name="T56" fmla="*/ 1109929 w 1616"/>
              <a:gd name="T57" fmla="*/ 280057 h 1618"/>
              <a:gd name="T58" fmla="*/ 1102497 w 1616"/>
              <a:gd name="T59" fmla="*/ 277579 h 1618"/>
              <a:gd name="T60" fmla="*/ 1097542 w 1616"/>
              <a:gd name="T61" fmla="*/ 272622 h 1618"/>
              <a:gd name="T62" fmla="*/ 1090109 w 1616"/>
              <a:gd name="T63" fmla="*/ 267666 h 1618"/>
              <a:gd name="T64" fmla="*/ 1085154 w 1616"/>
              <a:gd name="T65" fmla="*/ 262709 h 1618"/>
              <a:gd name="T66" fmla="*/ 1082677 w 1616"/>
              <a:gd name="T67" fmla="*/ 257752 h 1618"/>
              <a:gd name="T68" fmla="*/ 1080199 w 1616"/>
              <a:gd name="T69" fmla="*/ 255274 h 1618"/>
              <a:gd name="T70" fmla="*/ 1075244 w 1616"/>
              <a:gd name="T71" fmla="*/ 247838 h 1618"/>
              <a:gd name="T72" fmla="*/ 1075244 w 1616"/>
              <a:gd name="T73" fmla="*/ 240403 h 1618"/>
              <a:gd name="T74" fmla="*/ 1075244 w 1616"/>
              <a:gd name="T75" fmla="*/ 240403 h 1618"/>
              <a:gd name="T76" fmla="*/ 1107452 w 1616"/>
              <a:gd name="T77" fmla="*/ 183400 h 1618"/>
              <a:gd name="T78" fmla="*/ 1169390 w 1616"/>
              <a:gd name="T79" fmla="*/ 131354 h 1618"/>
              <a:gd name="T80" fmla="*/ 1169390 w 1616"/>
              <a:gd name="T81" fmla="*/ 79308 h 1618"/>
              <a:gd name="T82" fmla="*/ 1107452 w 1616"/>
              <a:gd name="T83" fmla="*/ 22305 h 1618"/>
              <a:gd name="T84" fmla="*/ 995963 w 1616"/>
              <a:gd name="T85" fmla="*/ 0 h 1618"/>
              <a:gd name="T86" fmla="*/ 859700 w 1616"/>
              <a:gd name="T87" fmla="*/ 37176 h 1618"/>
              <a:gd name="T88" fmla="*/ 820059 w 1616"/>
              <a:gd name="T89" fmla="*/ 91700 h 1618"/>
              <a:gd name="T90" fmla="*/ 827492 w 1616"/>
              <a:gd name="T91" fmla="*/ 141268 h 1618"/>
              <a:gd name="T92" fmla="*/ 901818 w 1616"/>
              <a:gd name="T93" fmla="*/ 195792 h 1618"/>
              <a:gd name="T94" fmla="*/ 916683 w 1616"/>
              <a:gd name="T95" fmla="*/ 240403 h 1618"/>
              <a:gd name="T96" fmla="*/ 916683 w 1616"/>
              <a:gd name="T97" fmla="*/ 240403 h 1618"/>
              <a:gd name="T98" fmla="*/ 916683 w 1616"/>
              <a:gd name="T99" fmla="*/ 250317 h 1618"/>
              <a:gd name="T100" fmla="*/ 914205 w 1616"/>
              <a:gd name="T101" fmla="*/ 255274 h 1618"/>
              <a:gd name="T102" fmla="*/ 909250 w 1616"/>
              <a:gd name="T103" fmla="*/ 260230 h 1618"/>
              <a:gd name="T104" fmla="*/ 906773 w 1616"/>
              <a:gd name="T105" fmla="*/ 262709 h 1618"/>
              <a:gd name="T106" fmla="*/ 899340 w 1616"/>
              <a:gd name="T107" fmla="*/ 270144 h 1618"/>
              <a:gd name="T108" fmla="*/ 894385 w 1616"/>
              <a:gd name="T109" fmla="*/ 272622 h 1618"/>
              <a:gd name="T110" fmla="*/ 886953 w 1616"/>
              <a:gd name="T111" fmla="*/ 277579 h 1618"/>
              <a:gd name="T112" fmla="*/ 881997 w 1616"/>
              <a:gd name="T113" fmla="*/ 280057 h 1618"/>
              <a:gd name="T114" fmla="*/ 874565 w 1616"/>
              <a:gd name="T115" fmla="*/ 285014 h 1618"/>
              <a:gd name="T116" fmla="*/ 0 w 1616"/>
              <a:gd name="T117" fmla="*/ 1147492 h 161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16" h="1618">
                <a:moveTo>
                  <a:pt x="1312" y="1426"/>
                </a:moveTo>
                <a:lnTo>
                  <a:pt x="1312" y="1426"/>
                </a:lnTo>
                <a:lnTo>
                  <a:pt x="1328" y="1410"/>
                </a:lnTo>
                <a:lnTo>
                  <a:pt x="1348" y="1396"/>
                </a:lnTo>
                <a:lnTo>
                  <a:pt x="1358" y="1392"/>
                </a:lnTo>
                <a:lnTo>
                  <a:pt x="1368" y="1388"/>
                </a:lnTo>
                <a:lnTo>
                  <a:pt x="1378" y="1388"/>
                </a:lnTo>
                <a:lnTo>
                  <a:pt x="1386" y="1390"/>
                </a:lnTo>
                <a:lnTo>
                  <a:pt x="1396" y="1398"/>
                </a:lnTo>
                <a:lnTo>
                  <a:pt x="1402" y="1404"/>
                </a:lnTo>
                <a:lnTo>
                  <a:pt x="1408" y="1412"/>
                </a:lnTo>
                <a:lnTo>
                  <a:pt x="1412" y="1420"/>
                </a:lnTo>
                <a:lnTo>
                  <a:pt x="1414" y="1436"/>
                </a:lnTo>
                <a:lnTo>
                  <a:pt x="1414" y="1452"/>
                </a:lnTo>
                <a:lnTo>
                  <a:pt x="1414" y="1470"/>
                </a:lnTo>
                <a:lnTo>
                  <a:pt x="1418" y="1486"/>
                </a:lnTo>
                <a:lnTo>
                  <a:pt x="1420" y="1494"/>
                </a:lnTo>
                <a:lnTo>
                  <a:pt x="1426" y="1502"/>
                </a:lnTo>
                <a:lnTo>
                  <a:pt x="1432" y="1508"/>
                </a:lnTo>
                <a:lnTo>
                  <a:pt x="1442" y="1516"/>
                </a:lnTo>
                <a:lnTo>
                  <a:pt x="1452" y="1520"/>
                </a:lnTo>
                <a:lnTo>
                  <a:pt x="1462" y="1522"/>
                </a:lnTo>
                <a:lnTo>
                  <a:pt x="1472" y="1522"/>
                </a:lnTo>
                <a:lnTo>
                  <a:pt x="1484" y="1522"/>
                </a:lnTo>
                <a:lnTo>
                  <a:pt x="1494" y="1518"/>
                </a:lnTo>
                <a:lnTo>
                  <a:pt x="1504" y="1514"/>
                </a:lnTo>
                <a:lnTo>
                  <a:pt x="1526" y="1500"/>
                </a:lnTo>
                <a:lnTo>
                  <a:pt x="1544" y="1484"/>
                </a:lnTo>
                <a:lnTo>
                  <a:pt x="1562" y="1466"/>
                </a:lnTo>
                <a:lnTo>
                  <a:pt x="1576" y="1448"/>
                </a:lnTo>
                <a:lnTo>
                  <a:pt x="1586" y="1432"/>
                </a:lnTo>
                <a:lnTo>
                  <a:pt x="1596" y="1416"/>
                </a:lnTo>
                <a:lnTo>
                  <a:pt x="1604" y="1394"/>
                </a:lnTo>
                <a:lnTo>
                  <a:pt x="1610" y="1370"/>
                </a:lnTo>
                <a:lnTo>
                  <a:pt x="1614" y="1346"/>
                </a:lnTo>
                <a:lnTo>
                  <a:pt x="1616" y="1322"/>
                </a:lnTo>
                <a:lnTo>
                  <a:pt x="1614" y="1310"/>
                </a:lnTo>
                <a:lnTo>
                  <a:pt x="1612" y="1298"/>
                </a:lnTo>
                <a:lnTo>
                  <a:pt x="1608" y="1288"/>
                </a:lnTo>
                <a:lnTo>
                  <a:pt x="1602" y="1280"/>
                </a:lnTo>
                <a:lnTo>
                  <a:pt x="1594" y="1272"/>
                </a:lnTo>
                <a:lnTo>
                  <a:pt x="1586" y="1266"/>
                </a:lnTo>
                <a:lnTo>
                  <a:pt x="1574" y="1262"/>
                </a:lnTo>
                <a:lnTo>
                  <a:pt x="1566" y="1258"/>
                </a:lnTo>
                <a:lnTo>
                  <a:pt x="1556" y="1258"/>
                </a:lnTo>
                <a:lnTo>
                  <a:pt x="1548" y="1260"/>
                </a:lnTo>
                <a:lnTo>
                  <a:pt x="1532" y="1266"/>
                </a:lnTo>
                <a:lnTo>
                  <a:pt x="1518" y="1274"/>
                </a:lnTo>
                <a:lnTo>
                  <a:pt x="1504" y="1282"/>
                </a:lnTo>
                <a:lnTo>
                  <a:pt x="1488" y="1288"/>
                </a:lnTo>
                <a:lnTo>
                  <a:pt x="1480" y="1288"/>
                </a:lnTo>
                <a:lnTo>
                  <a:pt x="1470" y="1288"/>
                </a:lnTo>
                <a:lnTo>
                  <a:pt x="1460" y="1286"/>
                </a:lnTo>
                <a:lnTo>
                  <a:pt x="1450" y="1280"/>
                </a:lnTo>
                <a:lnTo>
                  <a:pt x="1444" y="1274"/>
                </a:lnTo>
                <a:lnTo>
                  <a:pt x="1438" y="1266"/>
                </a:lnTo>
                <a:lnTo>
                  <a:pt x="1436" y="1256"/>
                </a:lnTo>
                <a:lnTo>
                  <a:pt x="1436" y="1244"/>
                </a:lnTo>
                <a:lnTo>
                  <a:pt x="1438" y="1220"/>
                </a:lnTo>
                <a:lnTo>
                  <a:pt x="1444" y="1198"/>
                </a:lnTo>
                <a:lnTo>
                  <a:pt x="1598" y="930"/>
                </a:lnTo>
                <a:lnTo>
                  <a:pt x="1600" y="926"/>
                </a:lnTo>
                <a:lnTo>
                  <a:pt x="1596" y="926"/>
                </a:lnTo>
                <a:lnTo>
                  <a:pt x="1462" y="694"/>
                </a:lnTo>
                <a:lnTo>
                  <a:pt x="1446" y="678"/>
                </a:lnTo>
                <a:lnTo>
                  <a:pt x="1426" y="664"/>
                </a:lnTo>
                <a:lnTo>
                  <a:pt x="1414" y="658"/>
                </a:lnTo>
                <a:lnTo>
                  <a:pt x="1404" y="656"/>
                </a:lnTo>
                <a:lnTo>
                  <a:pt x="1394" y="654"/>
                </a:lnTo>
                <a:lnTo>
                  <a:pt x="1386" y="658"/>
                </a:lnTo>
                <a:lnTo>
                  <a:pt x="1376" y="664"/>
                </a:lnTo>
                <a:lnTo>
                  <a:pt x="1368" y="672"/>
                </a:lnTo>
                <a:lnTo>
                  <a:pt x="1364" y="678"/>
                </a:lnTo>
                <a:lnTo>
                  <a:pt x="1360" y="686"/>
                </a:lnTo>
                <a:lnTo>
                  <a:pt x="1358" y="702"/>
                </a:lnTo>
                <a:lnTo>
                  <a:pt x="1358" y="720"/>
                </a:lnTo>
                <a:lnTo>
                  <a:pt x="1358" y="736"/>
                </a:lnTo>
                <a:lnTo>
                  <a:pt x="1354" y="752"/>
                </a:lnTo>
                <a:lnTo>
                  <a:pt x="1352" y="760"/>
                </a:lnTo>
                <a:lnTo>
                  <a:pt x="1346" y="768"/>
                </a:lnTo>
                <a:lnTo>
                  <a:pt x="1340" y="776"/>
                </a:lnTo>
                <a:lnTo>
                  <a:pt x="1330" y="782"/>
                </a:lnTo>
                <a:lnTo>
                  <a:pt x="1320" y="786"/>
                </a:lnTo>
                <a:lnTo>
                  <a:pt x="1310" y="790"/>
                </a:lnTo>
                <a:lnTo>
                  <a:pt x="1300" y="790"/>
                </a:lnTo>
                <a:lnTo>
                  <a:pt x="1288" y="788"/>
                </a:lnTo>
                <a:lnTo>
                  <a:pt x="1278" y="784"/>
                </a:lnTo>
                <a:lnTo>
                  <a:pt x="1268" y="780"/>
                </a:lnTo>
                <a:lnTo>
                  <a:pt x="1246" y="768"/>
                </a:lnTo>
                <a:lnTo>
                  <a:pt x="1228" y="752"/>
                </a:lnTo>
                <a:lnTo>
                  <a:pt x="1210" y="734"/>
                </a:lnTo>
                <a:lnTo>
                  <a:pt x="1196" y="716"/>
                </a:lnTo>
                <a:lnTo>
                  <a:pt x="1186" y="700"/>
                </a:lnTo>
                <a:lnTo>
                  <a:pt x="1176" y="682"/>
                </a:lnTo>
                <a:lnTo>
                  <a:pt x="1168" y="660"/>
                </a:lnTo>
                <a:lnTo>
                  <a:pt x="1162" y="638"/>
                </a:lnTo>
                <a:lnTo>
                  <a:pt x="1156" y="612"/>
                </a:lnTo>
                <a:lnTo>
                  <a:pt x="1156" y="588"/>
                </a:lnTo>
                <a:lnTo>
                  <a:pt x="1158" y="576"/>
                </a:lnTo>
                <a:lnTo>
                  <a:pt x="1160" y="566"/>
                </a:lnTo>
                <a:lnTo>
                  <a:pt x="1164" y="556"/>
                </a:lnTo>
                <a:lnTo>
                  <a:pt x="1170" y="546"/>
                </a:lnTo>
                <a:lnTo>
                  <a:pt x="1178" y="538"/>
                </a:lnTo>
                <a:lnTo>
                  <a:pt x="1186" y="532"/>
                </a:lnTo>
                <a:lnTo>
                  <a:pt x="1198" y="528"/>
                </a:lnTo>
                <a:lnTo>
                  <a:pt x="1206" y="526"/>
                </a:lnTo>
                <a:lnTo>
                  <a:pt x="1216" y="524"/>
                </a:lnTo>
                <a:lnTo>
                  <a:pt x="1224" y="526"/>
                </a:lnTo>
                <a:lnTo>
                  <a:pt x="1240" y="532"/>
                </a:lnTo>
                <a:lnTo>
                  <a:pt x="1254" y="540"/>
                </a:lnTo>
                <a:lnTo>
                  <a:pt x="1268" y="548"/>
                </a:lnTo>
                <a:lnTo>
                  <a:pt x="1284" y="554"/>
                </a:lnTo>
                <a:lnTo>
                  <a:pt x="1292" y="556"/>
                </a:lnTo>
                <a:lnTo>
                  <a:pt x="1302" y="554"/>
                </a:lnTo>
                <a:lnTo>
                  <a:pt x="1312" y="552"/>
                </a:lnTo>
                <a:lnTo>
                  <a:pt x="1322" y="546"/>
                </a:lnTo>
                <a:lnTo>
                  <a:pt x="1328" y="540"/>
                </a:lnTo>
                <a:lnTo>
                  <a:pt x="1334" y="532"/>
                </a:lnTo>
                <a:lnTo>
                  <a:pt x="1336" y="522"/>
                </a:lnTo>
                <a:lnTo>
                  <a:pt x="1336" y="510"/>
                </a:lnTo>
                <a:lnTo>
                  <a:pt x="1334" y="484"/>
                </a:lnTo>
                <a:lnTo>
                  <a:pt x="1328" y="462"/>
                </a:lnTo>
                <a:lnTo>
                  <a:pt x="1198" y="238"/>
                </a:lnTo>
                <a:lnTo>
                  <a:pt x="924" y="238"/>
                </a:lnTo>
                <a:lnTo>
                  <a:pt x="902" y="230"/>
                </a:lnTo>
                <a:lnTo>
                  <a:pt x="898" y="228"/>
                </a:lnTo>
                <a:lnTo>
                  <a:pt x="896" y="226"/>
                </a:lnTo>
                <a:lnTo>
                  <a:pt x="894" y="226"/>
                </a:lnTo>
                <a:lnTo>
                  <a:pt x="892" y="224"/>
                </a:lnTo>
                <a:lnTo>
                  <a:pt x="890" y="224"/>
                </a:lnTo>
                <a:lnTo>
                  <a:pt x="888" y="222"/>
                </a:lnTo>
                <a:lnTo>
                  <a:pt x="886" y="220"/>
                </a:lnTo>
                <a:lnTo>
                  <a:pt x="884" y="220"/>
                </a:lnTo>
                <a:lnTo>
                  <a:pt x="882" y="218"/>
                </a:lnTo>
                <a:lnTo>
                  <a:pt x="880" y="216"/>
                </a:lnTo>
                <a:lnTo>
                  <a:pt x="878" y="214"/>
                </a:lnTo>
                <a:lnTo>
                  <a:pt x="876" y="212"/>
                </a:lnTo>
                <a:lnTo>
                  <a:pt x="874" y="210"/>
                </a:lnTo>
                <a:lnTo>
                  <a:pt x="874" y="208"/>
                </a:lnTo>
                <a:lnTo>
                  <a:pt x="872" y="206"/>
                </a:lnTo>
                <a:lnTo>
                  <a:pt x="870" y="204"/>
                </a:lnTo>
                <a:lnTo>
                  <a:pt x="870" y="202"/>
                </a:lnTo>
                <a:lnTo>
                  <a:pt x="868" y="200"/>
                </a:lnTo>
                <a:lnTo>
                  <a:pt x="868" y="198"/>
                </a:lnTo>
                <a:lnTo>
                  <a:pt x="868" y="194"/>
                </a:lnTo>
                <a:lnTo>
                  <a:pt x="870" y="182"/>
                </a:lnTo>
                <a:lnTo>
                  <a:pt x="872" y="172"/>
                </a:lnTo>
                <a:lnTo>
                  <a:pt x="876" y="164"/>
                </a:lnTo>
                <a:lnTo>
                  <a:pt x="880" y="158"/>
                </a:lnTo>
                <a:lnTo>
                  <a:pt x="894" y="148"/>
                </a:lnTo>
                <a:lnTo>
                  <a:pt x="908" y="138"/>
                </a:lnTo>
                <a:lnTo>
                  <a:pt x="922" y="130"/>
                </a:lnTo>
                <a:lnTo>
                  <a:pt x="936" y="120"/>
                </a:lnTo>
                <a:lnTo>
                  <a:pt x="940" y="114"/>
                </a:lnTo>
                <a:lnTo>
                  <a:pt x="944" y="106"/>
                </a:lnTo>
                <a:lnTo>
                  <a:pt x="948" y="96"/>
                </a:lnTo>
                <a:lnTo>
                  <a:pt x="948" y="84"/>
                </a:lnTo>
                <a:lnTo>
                  <a:pt x="948" y="74"/>
                </a:lnTo>
                <a:lnTo>
                  <a:pt x="944" y="64"/>
                </a:lnTo>
                <a:lnTo>
                  <a:pt x="940" y="54"/>
                </a:lnTo>
                <a:lnTo>
                  <a:pt x="932" y="46"/>
                </a:lnTo>
                <a:lnTo>
                  <a:pt x="924" y="38"/>
                </a:lnTo>
                <a:lnTo>
                  <a:pt x="916" y="30"/>
                </a:lnTo>
                <a:lnTo>
                  <a:pt x="894" y="18"/>
                </a:lnTo>
                <a:lnTo>
                  <a:pt x="870" y="10"/>
                </a:lnTo>
                <a:lnTo>
                  <a:pt x="846" y="4"/>
                </a:lnTo>
                <a:lnTo>
                  <a:pt x="824" y="2"/>
                </a:lnTo>
                <a:lnTo>
                  <a:pt x="804" y="0"/>
                </a:lnTo>
                <a:lnTo>
                  <a:pt x="786" y="2"/>
                </a:lnTo>
                <a:lnTo>
                  <a:pt x="762" y="4"/>
                </a:lnTo>
                <a:lnTo>
                  <a:pt x="738" y="10"/>
                </a:lnTo>
                <a:lnTo>
                  <a:pt x="714" y="18"/>
                </a:lnTo>
                <a:lnTo>
                  <a:pt x="694" y="30"/>
                </a:lnTo>
                <a:lnTo>
                  <a:pt x="684" y="38"/>
                </a:lnTo>
                <a:lnTo>
                  <a:pt x="676" y="46"/>
                </a:lnTo>
                <a:lnTo>
                  <a:pt x="670" y="54"/>
                </a:lnTo>
                <a:lnTo>
                  <a:pt x="664" y="64"/>
                </a:lnTo>
                <a:lnTo>
                  <a:pt x="662" y="74"/>
                </a:lnTo>
                <a:lnTo>
                  <a:pt x="660" y="84"/>
                </a:lnTo>
                <a:lnTo>
                  <a:pt x="662" y="96"/>
                </a:lnTo>
                <a:lnTo>
                  <a:pt x="664" y="106"/>
                </a:lnTo>
                <a:lnTo>
                  <a:pt x="668" y="114"/>
                </a:lnTo>
                <a:lnTo>
                  <a:pt x="674" y="120"/>
                </a:lnTo>
                <a:lnTo>
                  <a:pt x="686" y="130"/>
                </a:lnTo>
                <a:lnTo>
                  <a:pt x="700" y="138"/>
                </a:lnTo>
                <a:lnTo>
                  <a:pt x="716" y="148"/>
                </a:lnTo>
                <a:lnTo>
                  <a:pt x="728" y="158"/>
                </a:lnTo>
                <a:lnTo>
                  <a:pt x="734" y="164"/>
                </a:lnTo>
                <a:lnTo>
                  <a:pt x="736" y="172"/>
                </a:lnTo>
                <a:lnTo>
                  <a:pt x="740" y="182"/>
                </a:lnTo>
                <a:lnTo>
                  <a:pt x="740" y="194"/>
                </a:lnTo>
                <a:lnTo>
                  <a:pt x="740" y="198"/>
                </a:lnTo>
                <a:lnTo>
                  <a:pt x="740" y="200"/>
                </a:lnTo>
                <a:lnTo>
                  <a:pt x="740" y="202"/>
                </a:lnTo>
                <a:lnTo>
                  <a:pt x="738" y="204"/>
                </a:lnTo>
                <a:lnTo>
                  <a:pt x="738" y="206"/>
                </a:lnTo>
                <a:lnTo>
                  <a:pt x="736" y="206"/>
                </a:lnTo>
                <a:lnTo>
                  <a:pt x="736" y="208"/>
                </a:lnTo>
                <a:lnTo>
                  <a:pt x="734" y="210"/>
                </a:lnTo>
                <a:lnTo>
                  <a:pt x="734" y="212"/>
                </a:lnTo>
                <a:lnTo>
                  <a:pt x="732" y="212"/>
                </a:lnTo>
                <a:lnTo>
                  <a:pt x="730" y="214"/>
                </a:lnTo>
                <a:lnTo>
                  <a:pt x="730" y="216"/>
                </a:lnTo>
                <a:lnTo>
                  <a:pt x="726" y="218"/>
                </a:lnTo>
                <a:lnTo>
                  <a:pt x="724" y="220"/>
                </a:lnTo>
                <a:lnTo>
                  <a:pt x="722" y="220"/>
                </a:lnTo>
                <a:lnTo>
                  <a:pt x="720" y="222"/>
                </a:lnTo>
                <a:lnTo>
                  <a:pt x="718" y="224"/>
                </a:lnTo>
                <a:lnTo>
                  <a:pt x="716" y="224"/>
                </a:lnTo>
                <a:lnTo>
                  <a:pt x="714" y="226"/>
                </a:lnTo>
                <a:lnTo>
                  <a:pt x="712" y="226"/>
                </a:lnTo>
                <a:lnTo>
                  <a:pt x="710" y="228"/>
                </a:lnTo>
                <a:lnTo>
                  <a:pt x="708" y="230"/>
                </a:lnTo>
                <a:lnTo>
                  <a:pt x="706" y="230"/>
                </a:lnTo>
                <a:lnTo>
                  <a:pt x="684" y="238"/>
                </a:lnTo>
                <a:lnTo>
                  <a:pt x="400" y="238"/>
                </a:lnTo>
                <a:lnTo>
                  <a:pt x="398" y="236"/>
                </a:lnTo>
                <a:lnTo>
                  <a:pt x="0" y="926"/>
                </a:lnTo>
                <a:lnTo>
                  <a:pt x="400" y="1618"/>
                </a:lnTo>
                <a:lnTo>
                  <a:pt x="1198" y="1618"/>
                </a:lnTo>
                <a:lnTo>
                  <a:pt x="1200" y="1618"/>
                </a:lnTo>
                <a:lnTo>
                  <a:pt x="1312" y="1426"/>
                </a:lnTo>
                <a:close/>
              </a:path>
            </a:pathLst>
          </a:custGeom>
          <a:solidFill>
            <a:srgbClr val="4AA5F1"/>
          </a:solidFill>
          <a:ln w="38100" cap="flat" cmpd="sng">
            <a:solidFill>
              <a:srgbClr val="4AA5F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1" name="Oval 24">
            <a:extLst>
              <a:ext uri="{FF2B5EF4-FFF2-40B4-BE49-F238E27FC236}">
                <a16:creationId xmlns:a16="http://schemas.microsoft.com/office/drawing/2014/main" xmlns="" id="{F93A22EC-8AC7-413D-9ADD-F7478542BA49}"/>
              </a:ext>
            </a:extLst>
          </p:cNvPr>
          <p:cNvSpPr/>
          <p:nvPr/>
        </p:nvSpPr>
        <p:spPr>
          <a:xfrm>
            <a:off x="1289004" y="4313645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32" name="Freeform 3">
            <a:extLst>
              <a:ext uri="{FF2B5EF4-FFF2-40B4-BE49-F238E27FC236}">
                <a16:creationId xmlns:a16="http://schemas.microsoft.com/office/drawing/2014/main" xmlns="" id="{F462D37F-AF17-4AF4-A016-04A5A1D0BB5E}"/>
              </a:ext>
            </a:extLst>
          </p:cNvPr>
          <p:cNvSpPr>
            <a:spLocks/>
          </p:cNvSpPr>
          <p:nvPr/>
        </p:nvSpPr>
        <p:spPr bwMode="auto">
          <a:xfrm>
            <a:off x="3381422" y="4452967"/>
            <a:ext cx="2511786" cy="1799839"/>
          </a:xfrm>
          <a:custGeom>
            <a:avLst/>
            <a:gdLst>
              <a:gd name="T0" fmla="*/ 1983738 w 1632"/>
              <a:gd name="T1" fmla="*/ 473414 h 1386"/>
              <a:gd name="T2" fmla="*/ 2010981 w 1632"/>
              <a:gd name="T3" fmla="*/ 446149 h 1386"/>
              <a:gd name="T4" fmla="*/ 2020887 w 1632"/>
              <a:gd name="T5" fmla="*/ 374270 h 1386"/>
              <a:gd name="T6" fmla="*/ 1983738 w 1632"/>
              <a:gd name="T7" fmla="*/ 267690 h 1386"/>
              <a:gd name="T8" fmla="*/ 1944113 w 1632"/>
              <a:gd name="T9" fmla="*/ 213160 h 1386"/>
              <a:gd name="T10" fmla="*/ 1862386 w 1632"/>
              <a:gd name="T11" fmla="*/ 158631 h 1386"/>
              <a:gd name="T12" fmla="*/ 1825237 w 1632"/>
              <a:gd name="T13" fmla="*/ 158631 h 1386"/>
              <a:gd name="T14" fmla="*/ 1788089 w 1632"/>
              <a:gd name="T15" fmla="*/ 183417 h 1386"/>
              <a:gd name="T16" fmla="*/ 1775706 w 1632"/>
              <a:gd name="T17" fmla="*/ 242904 h 1386"/>
              <a:gd name="T18" fmla="*/ 1760846 w 1632"/>
              <a:gd name="T19" fmla="*/ 302390 h 1386"/>
              <a:gd name="T20" fmla="*/ 1733604 w 1632"/>
              <a:gd name="T21" fmla="*/ 322219 h 1386"/>
              <a:gd name="T22" fmla="*/ 1703885 w 1632"/>
              <a:gd name="T23" fmla="*/ 319740 h 1386"/>
              <a:gd name="T24" fmla="*/ 1485946 w 1632"/>
              <a:gd name="T25" fmla="*/ 0 h 1386"/>
              <a:gd name="T26" fmla="*/ 1102077 w 1632"/>
              <a:gd name="T27" fmla="*/ 22307 h 1386"/>
              <a:gd name="T28" fmla="*/ 1069881 w 1632"/>
              <a:gd name="T29" fmla="*/ 59487 h 1386"/>
              <a:gd name="T30" fmla="*/ 1079788 w 1632"/>
              <a:gd name="T31" fmla="*/ 96666 h 1386"/>
              <a:gd name="T32" fmla="*/ 1136749 w 1632"/>
              <a:gd name="T33" fmla="*/ 138802 h 1386"/>
              <a:gd name="T34" fmla="*/ 1168944 w 1632"/>
              <a:gd name="T35" fmla="*/ 180938 h 1386"/>
              <a:gd name="T36" fmla="*/ 1163991 w 1632"/>
              <a:gd name="T37" fmla="*/ 223075 h 1386"/>
              <a:gd name="T38" fmla="*/ 1129319 w 1632"/>
              <a:gd name="T39" fmla="*/ 262732 h 1386"/>
              <a:gd name="T40" fmla="*/ 1015397 w 1632"/>
              <a:gd name="T41" fmla="*/ 299912 h 1386"/>
              <a:gd name="T42" fmla="*/ 938623 w 1632"/>
              <a:gd name="T43" fmla="*/ 294954 h 1386"/>
              <a:gd name="T44" fmla="*/ 842036 w 1632"/>
              <a:gd name="T45" fmla="*/ 255297 h 1386"/>
              <a:gd name="T46" fmla="*/ 814794 w 1632"/>
              <a:gd name="T47" fmla="*/ 210682 h 1386"/>
              <a:gd name="T48" fmla="*/ 817270 w 1632"/>
              <a:gd name="T49" fmla="*/ 171024 h 1386"/>
              <a:gd name="T50" fmla="*/ 861849 w 1632"/>
              <a:gd name="T51" fmla="*/ 128888 h 1386"/>
              <a:gd name="T52" fmla="*/ 906427 w 1632"/>
              <a:gd name="T53" fmla="*/ 86751 h 1386"/>
              <a:gd name="T54" fmla="*/ 908904 w 1632"/>
              <a:gd name="T55" fmla="*/ 49572 h 1386"/>
              <a:gd name="T56" fmla="*/ 851943 w 1632"/>
              <a:gd name="T57" fmla="*/ 9914 h 1386"/>
              <a:gd name="T58" fmla="*/ 307096 w 1632"/>
              <a:gd name="T59" fmla="*/ 332133 h 1386"/>
              <a:gd name="T60" fmla="*/ 299666 w 1632"/>
              <a:gd name="T61" fmla="*/ 416406 h 1386"/>
              <a:gd name="T62" fmla="*/ 326908 w 1632"/>
              <a:gd name="T63" fmla="*/ 441192 h 1386"/>
              <a:gd name="T64" fmla="*/ 381393 w 1632"/>
              <a:gd name="T65" fmla="*/ 436235 h 1386"/>
              <a:gd name="T66" fmla="*/ 445784 w 1632"/>
              <a:gd name="T67" fmla="*/ 406492 h 1386"/>
              <a:gd name="T68" fmla="*/ 482933 w 1632"/>
              <a:gd name="T69" fmla="*/ 416406 h 1386"/>
              <a:gd name="T70" fmla="*/ 515128 w 1632"/>
              <a:gd name="T71" fmla="*/ 456064 h 1386"/>
              <a:gd name="T72" fmla="*/ 512651 w 1632"/>
              <a:gd name="T73" fmla="*/ 545294 h 1386"/>
              <a:gd name="T74" fmla="*/ 482933 w 1632"/>
              <a:gd name="T75" fmla="*/ 622130 h 1386"/>
              <a:gd name="T76" fmla="*/ 408635 w 1632"/>
              <a:gd name="T77" fmla="*/ 706403 h 1386"/>
              <a:gd name="T78" fmla="*/ 341768 w 1632"/>
              <a:gd name="T79" fmla="*/ 733668 h 1386"/>
              <a:gd name="T80" fmla="*/ 304619 w 1632"/>
              <a:gd name="T81" fmla="*/ 726232 h 1386"/>
              <a:gd name="T82" fmla="*/ 274900 w 1632"/>
              <a:gd name="T83" fmla="*/ 689053 h 1386"/>
              <a:gd name="T84" fmla="*/ 267470 w 1632"/>
              <a:gd name="T85" fmla="*/ 607259 h 1386"/>
              <a:gd name="T86" fmla="*/ 235275 w 1632"/>
              <a:gd name="T87" fmla="*/ 570080 h 1386"/>
              <a:gd name="T88" fmla="*/ 200603 w 1632"/>
              <a:gd name="T89" fmla="*/ 572558 h 1386"/>
              <a:gd name="T90" fmla="*/ 4953 w 1632"/>
              <a:gd name="T91" fmla="*/ 852641 h 1386"/>
              <a:gd name="T92" fmla="*/ 1485946 w 1632"/>
              <a:gd name="T93" fmla="*/ 1717675 h 1386"/>
              <a:gd name="T94" fmla="*/ 1805425 w 1632"/>
              <a:gd name="T95" fmla="*/ 555208 h 1386"/>
              <a:gd name="T96" fmla="*/ 1802948 w 1632"/>
              <a:gd name="T97" fmla="*/ 473414 h 1386"/>
              <a:gd name="T98" fmla="*/ 1835144 w 1632"/>
              <a:gd name="T99" fmla="*/ 448628 h 1386"/>
              <a:gd name="T100" fmla="*/ 1879722 w 1632"/>
              <a:gd name="T101" fmla="*/ 451107 h 1386"/>
              <a:gd name="T102" fmla="*/ 1951543 w 1632"/>
              <a:gd name="T103" fmla="*/ 483328 h 138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1632" h="1386">
                <a:moveTo>
                  <a:pt x="1576" y="390"/>
                </a:moveTo>
                <a:lnTo>
                  <a:pt x="1576" y="390"/>
                </a:lnTo>
                <a:lnTo>
                  <a:pt x="1588" y="388"/>
                </a:lnTo>
                <a:lnTo>
                  <a:pt x="1602" y="382"/>
                </a:lnTo>
                <a:lnTo>
                  <a:pt x="1610" y="376"/>
                </a:lnTo>
                <a:lnTo>
                  <a:pt x="1618" y="368"/>
                </a:lnTo>
                <a:lnTo>
                  <a:pt x="1624" y="360"/>
                </a:lnTo>
                <a:lnTo>
                  <a:pt x="1628" y="350"/>
                </a:lnTo>
                <a:lnTo>
                  <a:pt x="1630" y="338"/>
                </a:lnTo>
                <a:lnTo>
                  <a:pt x="1632" y="328"/>
                </a:lnTo>
                <a:lnTo>
                  <a:pt x="1632" y="302"/>
                </a:lnTo>
                <a:lnTo>
                  <a:pt x="1626" y="278"/>
                </a:lnTo>
                <a:lnTo>
                  <a:pt x="1620" y="254"/>
                </a:lnTo>
                <a:lnTo>
                  <a:pt x="1612" y="234"/>
                </a:lnTo>
                <a:lnTo>
                  <a:pt x="1602" y="216"/>
                </a:lnTo>
                <a:lnTo>
                  <a:pt x="1594" y="202"/>
                </a:lnTo>
                <a:lnTo>
                  <a:pt x="1584" y="188"/>
                </a:lnTo>
                <a:lnTo>
                  <a:pt x="1570" y="172"/>
                </a:lnTo>
                <a:lnTo>
                  <a:pt x="1556" y="158"/>
                </a:lnTo>
                <a:lnTo>
                  <a:pt x="1540" y="146"/>
                </a:lnTo>
                <a:lnTo>
                  <a:pt x="1522" y="136"/>
                </a:lnTo>
                <a:lnTo>
                  <a:pt x="1504" y="128"/>
                </a:lnTo>
                <a:lnTo>
                  <a:pt x="1496" y="126"/>
                </a:lnTo>
                <a:lnTo>
                  <a:pt x="1486" y="126"/>
                </a:lnTo>
                <a:lnTo>
                  <a:pt x="1474" y="128"/>
                </a:lnTo>
                <a:lnTo>
                  <a:pt x="1460" y="134"/>
                </a:lnTo>
                <a:lnTo>
                  <a:pt x="1452" y="140"/>
                </a:lnTo>
                <a:lnTo>
                  <a:pt x="1444" y="148"/>
                </a:lnTo>
                <a:lnTo>
                  <a:pt x="1440" y="154"/>
                </a:lnTo>
                <a:lnTo>
                  <a:pt x="1436" y="162"/>
                </a:lnTo>
                <a:lnTo>
                  <a:pt x="1434" y="178"/>
                </a:lnTo>
                <a:lnTo>
                  <a:pt x="1434" y="196"/>
                </a:lnTo>
                <a:lnTo>
                  <a:pt x="1434" y="212"/>
                </a:lnTo>
                <a:lnTo>
                  <a:pt x="1432" y="228"/>
                </a:lnTo>
                <a:lnTo>
                  <a:pt x="1428" y="236"/>
                </a:lnTo>
                <a:lnTo>
                  <a:pt x="1422" y="244"/>
                </a:lnTo>
                <a:lnTo>
                  <a:pt x="1416" y="250"/>
                </a:lnTo>
                <a:lnTo>
                  <a:pt x="1406" y="258"/>
                </a:lnTo>
                <a:lnTo>
                  <a:pt x="1400" y="260"/>
                </a:lnTo>
                <a:lnTo>
                  <a:pt x="1392" y="260"/>
                </a:lnTo>
                <a:lnTo>
                  <a:pt x="1384" y="260"/>
                </a:lnTo>
                <a:lnTo>
                  <a:pt x="1376" y="258"/>
                </a:lnTo>
                <a:lnTo>
                  <a:pt x="1360" y="248"/>
                </a:lnTo>
                <a:lnTo>
                  <a:pt x="1344" y="236"/>
                </a:lnTo>
                <a:lnTo>
                  <a:pt x="1330" y="224"/>
                </a:lnTo>
                <a:lnTo>
                  <a:pt x="1200" y="0"/>
                </a:lnTo>
                <a:lnTo>
                  <a:pt x="936" y="0"/>
                </a:lnTo>
                <a:lnTo>
                  <a:pt x="914" y="8"/>
                </a:lnTo>
                <a:lnTo>
                  <a:pt x="890" y="18"/>
                </a:lnTo>
                <a:lnTo>
                  <a:pt x="880" y="24"/>
                </a:lnTo>
                <a:lnTo>
                  <a:pt x="872" y="32"/>
                </a:lnTo>
                <a:lnTo>
                  <a:pt x="866" y="40"/>
                </a:lnTo>
                <a:lnTo>
                  <a:pt x="864" y="48"/>
                </a:lnTo>
                <a:lnTo>
                  <a:pt x="866" y="60"/>
                </a:lnTo>
                <a:lnTo>
                  <a:pt x="868" y="70"/>
                </a:lnTo>
                <a:lnTo>
                  <a:pt x="872" y="78"/>
                </a:lnTo>
                <a:lnTo>
                  <a:pt x="876" y="84"/>
                </a:lnTo>
                <a:lnTo>
                  <a:pt x="890" y="96"/>
                </a:lnTo>
                <a:lnTo>
                  <a:pt x="904" y="104"/>
                </a:lnTo>
                <a:lnTo>
                  <a:pt x="918" y="112"/>
                </a:lnTo>
                <a:lnTo>
                  <a:pt x="932" y="122"/>
                </a:lnTo>
                <a:lnTo>
                  <a:pt x="936" y="130"/>
                </a:lnTo>
                <a:lnTo>
                  <a:pt x="940" y="138"/>
                </a:lnTo>
                <a:lnTo>
                  <a:pt x="944" y="146"/>
                </a:lnTo>
                <a:lnTo>
                  <a:pt x="944" y="158"/>
                </a:lnTo>
                <a:lnTo>
                  <a:pt x="944" y="170"/>
                </a:lnTo>
                <a:lnTo>
                  <a:pt x="940" y="180"/>
                </a:lnTo>
                <a:lnTo>
                  <a:pt x="936" y="190"/>
                </a:lnTo>
                <a:lnTo>
                  <a:pt x="928" y="198"/>
                </a:lnTo>
                <a:lnTo>
                  <a:pt x="920" y="206"/>
                </a:lnTo>
                <a:lnTo>
                  <a:pt x="912" y="212"/>
                </a:lnTo>
                <a:lnTo>
                  <a:pt x="890" y="224"/>
                </a:lnTo>
                <a:lnTo>
                  <a:pt x="866" y="232"/>
                </a:lnTo>
                <a:lnTo>
                  <a:pt x="842" y="238"/>
                </a:lnTo>
                <a:lnTo>
                  <a:pt x="820" y="242"/>
                </a:lnTo>
                <a:lnTo>
                  <a:pt x="800" y="242"/>
                </a:lnTo>
                <a:lnTo>
                  <a:pt x="782" y="242"/>
                </a:lnTo>
                <a:lnTo>
                  <a:pt x="758" y="238"/>
                </a:lnTo>
                <a:lnTo>
                  <a:pt x="734" y="232"/>
                </a:lnTo>
                <a:lnTo>
                  <a:pt x="710" y="224"/>
                </a:lnTo>
                <a:lnTo>
                  <a:pt x="690" y="212"/>
                </a:lnTo>
                <a:lnTo>
                  <a:pt x="680" y="206"/>
                </a:lnTo>
                <a:lnTo>
                  <a:pt x="672" y="198"/>
                </a:lnTo>
                <a:lnTo>
                  <a:pt x="666" y="190"/>
                </a:lnTo>
                <a:lnTo>
                  <a:pt x="660" y="180"/>
                </a:lnTo>
                <a:lnTo>
                  <a:pt x="658" y="170"/>
                </a:lnTo>
                <a:lnTo>
                  <a:pt x="656" y="158"/>
                </a:lnTo>
                <a:lnTo>
                  <a:pt x="658" y="146"/>
                </a:lnTo>
                <a:lnTo>
                  <a:pt x="660" y="138"/>
                </a:lnTo>
                <a:lnTo>
                  <a:pt x="664" y="130"/>
                </a:lnTo>
                <a:lnTo>
                  <a:pt x="670" y="122"/>
                </a:lnTo>
                <a:lnTo>
                  <a:pt x="682" y="112"/>
                </a:lnTo>
                <a:lnTo>
                  <a:pt x="696" y="104"/>
                </a:lnTo>
                <a:lnTo>
                  <a:pt x="712" y="96"/>
                </a:lnTo>
                <a:lnTo>
                  <a:pt x="724" y="84"/>
                </a:lnTo>
                <a:lnTo>
                  <a:pt x="730" y="78"/>
                </a:lnTo>
                <a:lnTo>
                  <a:pt x="732" y="70"/>
                </a:lnTo>
                <a:lnTo>
                  <a:pt x="736" y="60"/>
                </a:lnTo>
                <a:lnTo>
                  <a:pt x="736" y="48"/>
                </a:lnTo>
                <a:lnTo>
                  <a:pt x="734" y="40"/>
                </a:lnTo>
                <a:lnTo>
                  <a:pt x="728" y="32"/>
                </a:lnTo>
                <a:lnTo>
                  <a:pt x="720" y="24"/>
                </a:lnTo>
                <a:lnTo>
                  <a:pt x="710" y="18"/>
                </a:lnTo>
                <a:lnTo>
                  <a:pt x="688" y="8"/>
                </a:lnTo>
                <a:lnTo>
                  <a:pt x="666" y="0"/>
                </a:lnTo>
                <a:lnTo>
                  <a:pt x="402" y="0"/>
                </a:lnTo>
                <a:lnTo>
                  <a:pt x="248" y="268"/>
                </a:lnTo>
                <a:lnTo>
                  <a:pt x="242" y="290"/>
                </a:lnTo>
                <a:lnTo>
                  <a:pt x="240" y="314"/>
                </a:lnTo>
                <a:lnTo>
                  <a:pt x="240" y="326"/>
                </a:lnTo>
                <a:lnTo>
                  <a:pt x="242" y="336"/>
                </a:lnTo>
                <a:lnTo>
                  <a:pt x="248" y="344"/>
                </a:lnTo>
                <a:lnTo>
                  <a:pt x="254" y="350"/>
                </a:lnTo>
                <a:lnTo>
                  <a:pt x="264" y="356"/>
                </a:lnTo>
                <a:lnTo>
                  <a:pt x="274" y="358"/>
                </a:lnTo>
                <a:lnTo>
                  <a:pt x="284" y="358"/>
                </a:lnTo>
                <a:lnTo>
                  <a:pt x="292" y="358"/>
                </a:lnTo>
                <a:lnTo>
                  <a:pt x="308" y="352"/>
                </a:lnTo>
                <a:lnTo>
                  <a:pt x="322" y="344"/>
                </a:lnTo>
                <a:lnTo>
                  <a:pt x="336" y="336"/>
                </a:lnTo>
                <a:lnTo>
                  <a:pt x="352" y="330"/>
                </a:lnTo>
                <a:lnTo>
                  <a:pt x="360" y="328"/>
                </a:lnTo>
                <a:lnTo>
                  <a:pt x="370" y="328"/>
                </a:lnTo>
                <a:lnTo>
                  <a:pt x="378" y="332"/>
                </a:lnTo>
                <a:lnTo>
                  <a:pt x="390" y="336"/>
                </a:lnTo>
                <a:lnTo>
                  <a:pt x="398" y="342"/>
                </a:lnTo>
                <a:lnTo>
                  <a:pt x="406" y="350"/>
                </a:lnTo>
                <a:lnTo>
                  <a:pt x="412" y="358"/>
                </a:lnTo>
                <a:lnTo>
                  <a:pt x="416" y="368"/>
                </a:lnTo>
                <a:lnTo>
                  <a:pt x="418" y="380"/>
                </a:lnTo>
                <a:lnTo>
                  <a:pt x="420" y="392"/>
                </a:lnTo>
                <a:lnTo>
                  <a:pt x="418" y="416"/>
                </a:lnTo>
                <a:lnTo>
                  <a:pt x="414" y="440"/>
                </a:lnTo>
                <a:lnTo>
                  <a:pt x="408" y="464"/>
                </a:lnTo>
                <a:lnTo>
                  <a:pt x="400" y="486"/>
                </a:lnTo>
                <a:lnTo>
                  <a:pt x="390" y="502"/>
                </a:lnTo>
                <a:lnTo>
                  <a:pt x="380" y="518"/>
                </a:lnTo>
                <a:lnTo>
                  <a:pt x="366" y="536"/>
                </a:lnTo>
                <a:lnTo>
                  <a:pt x="348" y="554"/>
                </a:lnTo>
                <a:lnTo>
                  <a:pt x="330" y="570"/>
                </a:lnTo>
                <a:lnTo>
                  <a:pt x="308" y="584"/>
                </a:lnTo>
                <a:lnTo>
                  <a:pt x="298" y="588"/>
                </a:lnTo>
                <a:lnTo>
                  <a:pt x="288" y="592"/>
                </a:lnTo>
                <a:lnTo>
                  <a:pt x="276" y="592"/>
                </a:lnTo>
                <a:lnTo>
                  <a:pt x="266" y="592"/>
                </a:lnTo>
                <a:lnTo>
                  <a:pt x="256" y="590"/>
                </a:lnTo>
                <a:lnTo>
                  <a:pt x="246" y="586"/>
                </a:lnTo>
                <a:lnTo>
                  <a:pt x="236" y="578"/>
                </a:lnTo>
                <a:lnTo>
                  <a:pt x="230" y="572"/>
                </a:lnTo>
                <a:lnTo>
                  <a:pt x="224" y="564"/>
                </a:lnTo>
                <a:lnTo>
                  <a:pt x="222" y="556"/>
                </a:lnTo>
                <a:lnTo>
                  <a:pt x="218" y="540"/>
                </a:lnTo>
                <a:lnTo>
                  <a:pt x="218" y="522"/>
                </a:lnTo>
                <a:lnTo>
                  <a:pt x="218" y="506"/>
                </a:lnTo>
                <a:lnTo>
                  <a:pt x="216" y="490"/>
                </a:lnTo>
                <a:lnTo>
                  <a:pt x="212" y="482"/>
                </a:lnTo>
                <a:lnTo>
                  <a:pt x="206" y="474"/>
                </a:lnTo>
                <a:lnTo>
                  <a:pt x="200" y="468"/>
                </a:lnTo>
                <a:lnTo>
                  <a:pt x="190" y="460"/>
                </a:lnTo>
                <a:lnTo>
                  <a:pt x="182" y="458"/>
                </a:lnTo>
                <a:lnTo>
                  <a:pt x="172" y="458"/>
                </a:lnTo>
                <a:lnTo>
                  <a:pt x="162" y="462"/>
                </a:lnTo>
                <a:lnTo>
                  <a:pt x="152" y="466"/>
                </a:lnTo>
                <a:lnTo>
                  <a:pt x="132" y="480"/>
                </a:lnTo>
                <a:lnTo>
                  <a:pt x="116" y="496"/>
                </a:lnTo>
                <a:lnTo>
                  <a:pt x="4" y="688"/>
                </a:lnTo>
                <a:lnTo>
                  <a:pt x="2" y="688"/>
                </a:lnTo>
                <a:lnTo>
                  <a:pt x="0" y="694"/>
                </a:lnTo>
                <a:lnTo>
                  <a:pt x="400" y="1386"/>
                </a:lnTo>
                <a:lnTo>
                  <a:pt x="1200" y="1386"/>
                </a:lnTo>
                <a:lnTo>
                  <a:pt x="1600" y="694"/>
                </a:lnTo>
                <a:lnTo>
                  <a:pt x="1598" y="688"/>
                </a:lnTo>
                <a:lnTo>
                  <a:pt x="1458" y="448"/>
                </a:lnTo>
                <a:lnTo>
                  <a:pt x="1454" y="426"/>
                </a:lnTo>
                <a:lnTo>
                  <a:pt x="1452" y="402"/>
                </a:lnTo>
                <a:lnTo>
                  <a:pt x="1454" y="392"/>
                </a:lnTo>
                <a:lnTo>
                  <a:pt x="1456" y="382"/>
                </a:lnTo>
                <a:lnTo>
                  <a:pt x="1460" y="374"/>
                </a:lnTo>
                <a:lnTo>
                  <a:pt x="1466" y="368"/>
                </a:lnTo>
                <a:lnTo>
                  <a:pt x="1482" y="362"/>
                </a:lnTo>
                <a:lnTo>
                  <a:pt x="1496" y="360"/>
                </a:lnTo>
                <a:lnTo>
                  <a:pt x="1508" y="360"/>
                </a:lnTo>
                <a:lnTo>
                  <a:pt x="1518" y="364"/>
                </a:lnTo>
                <a:lnTo>
                  <a:pt x="1536" y="374"/>
                </a:lnTo>
                <a:lnTo>
                  <a:pt x="1556" y="384"/>
                </a:lnTo>
                <a:lnTo>
                  <a:pt x="1566" y="388"/>
                </a:lnTo>
                <a:lnTo>
                  <a:pt x="1576" y="390"/>
                </a:lnTo>
                <a:close/>
              </a:path>
            </a:pathLst>
          </a:custGeom>
          <a:solidFill>
            <a:srgbClr val="FDB82B"/>
          </a:solidFill>
          <a:ln w="38100" cap="flat" cmpd="sng">
            <a:solidFill>
              <a:srgbClr val="FDB82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3" name="Oval 26">
            <a:extLst>
              <a:ext uri="{FF2B5EF4-FFF2-40B4-BE49-F238E27FC236}">
                <a16:creationId xmlns:a16="http://schemas.microsoft.com/office/drawing/2014/main" xmlns="" id="{217D84B8-D657-407D-A1E6-38E92374B971}"/>
              </a:ext>
            </a:extLst>
          </p:cNvPr>
          <p:cNvSpPr/>
          <p:nvPr/>
        </p:nvSpPr>
        <p:spPr>
          <a:xfrm>
            <a:off x="3483004" y="5770786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4" name="Freeform 6">
            <a:extLst>
              <a:ext uri="{FF2B5EF4-FFF2-40B4-BE49-F238E27FC236}">
                <a16:creationId xmlns:a16="http://schemas.microsoft.com/office/drawing/2014/main" xmlns="" id="{C485EE3C-32C8-4600-A356-F0C19A40E64F}"/>
              </a:ext>
            </a:extLst>
          </p:cNvPr>
          <p:cNvSpPr>
            <a:spLocks/>
          </p:cNvSpPr>
          <p:nvPr/>
        </p:nvSpPr>
        <p:spPr bwMode="auto">
          <a:xfrm>
            <a:off x="5251288" y="3555879"/>
            <a:ext cx="2462458" cy="1793186"/>
          </a:xfrm>
          <a:custGeom>
            <a:avLst/>
            <a:gdLst>
              <a:gd name="T0" fmla="*/ 1124331 w 1600"/>
              <a:gd name="T1" fmla="*/ 4953 h 1382"/>
              <a:gd name="T2" fmla="*/ 1104519 w 1600"/>
              <a:gd name="T3" fmla="*/ 12383 h 1382"/>
              <a:gd name="T4" fmla="*/ 1094613 w 1600"/>
              <a:gd name="T5" fmla="*/ 17336 h 1382"/>
              <a:gd name="T6" fmla="*/ 1084707 w 1600"/>
              <a:gd name="T7" fmla="*/ 22289 h 1382"/>
              <a:gd name="T8" fmla="*/ 1077278 w 1600"/>
              <a:gd name="T9" fmla="*/ 27243 h 1382"/>
              <a:gd name="T10" fmla="*/ 1067372 w 1600"/>
              <a:gd name="T11" fmla="*/ 34672 h 1382"/>
              <a:gd name="T12" fmla="*/ 1062419 w 1600"/>
              <a:gd name="T13" fmla="*/ 42102 h 1382"/>
              <a:gd name="T14" fmla="*/ 1059942 w 1600"/>
              <a:gd name="T15" fmla="*/ 49532 h 1382"/>
              <a:gd name="T16" fmla="*/ 1057466 w 1600"/>
              <a:gd name="T17" fmla="*/ 56962 h 1382"/>
              <a:gd name="T18" fmla="*/ 1059942 w 1600"/>
              <a:gd name="T19" fmla="*/ 71821 h 1382"/>
              <a:gd name="T20" fmla="*/ 1059942 w 1600"/>
              <a:gd name="T21" fmla="*/ 79251 h 1382"/>
              <a:gd name="T22" fmla="*/ 1072325 w 1600"/>
              <a:gd name="T23" fmla="*/ 101540 h 1382"/>
              <a:gd name="T24" fmla="*/ 1121855 w 1600"/>
              <a:gd name="T25" fmla="*/ 136213 h 1382"/>
              <a:gd name="T26" fmla="*/ 1131761 w 1600"/>
              <a:gd name="T27" fmla="*/ 141166 h 1382"/>
              <a:gd name="T28" fmla="*/ 1144143 w 1600"/>
              <a:gd name="T29" fmla="*/ 153549 h 1382"/>
              <a:gd name="T30" fmla="*/ 1149096 w 1600"/>
              <a:gd name="T31" fmla="*/ 160978 h 1382"/>
              <a:gd name="T32" fmla="*/ 1156526 w 1600"/>
              <a:gd name="T33" fmla="*/ 180791 h 1382"/>
              <a:gd name="T34" fmla="*/ 1156526 w 1600"/>
              <a:gd name="T35" fmla="*/ 193174 h 1382"/>
              <a:gd name="T36" fmla="*/ 1126808 w 1600"/>
              <a:gd name="T37" fmla="*/ 252612 h 1382"/>
              <a:gd name="T38" fmla="*/ 978218 w 1600"/>
              <a:gd name="T39" fmla="*/ 297191 h 1382"/>
              <a:gd name="T40" fmla="*/ 842010 w 1600"/>
              <a:gd name="T41" fmla="*/ 260042 h 1382"/>
              <a:gd name="T42" fmla="*/ 799910 w 1600"/>
              <a:gd name="T43" fmla="*/ 193174 h 1382"/>
              <a:gd name="T44" fmla="*/ 802386 w 1600"/>
              <a:gd name="T45" fmla="*/ 183268 h 1382"/>
              <a:gd name="T46" fmla="*/ 804863 w 1600"/>
              <a:gd name="T47" fmla="*/ 170885 h 1382"/>
              <a:gd name="T48" fmla="*/ 812292 w 1600"/>
              <a:gd name="T49" fmla="*/ 153549 h 1382"/>
              <a:gd name="T50" fmla="*/ 819722 w 1600"/>
              <a:gd name="T51" fmla="*/ 146119 h 1382"/>
              <a:gd name="T52" fmla="*/ 832104 w 1600"/>
              <a:gd name="T53" fmla="*/ 136213 h 1382"/>
              <a:gd name="T54" fmla="*/ 869252 w 1600"/>
              <a:gd name="T55" fmla="*/ 113923 h 1382"/>
              <a:gd name="T56" fmla="*/ 896493 w 1600"/>
              <a:gd name="T57" fmla="*/ 79251 h 1382"/>
              <a:gd name="T58" fmla="*/ 898970 w 1600"/>
              <a:gd name="T59" fmla="*/ 71821 h 1382"/>
              <a:gd name="T60" fmla="*/ 898970 w 1600"/>
              <a:gd name="T61" fmla="*/ 56962 h 1382"/>
              <a:gd name="T62" fmla="*/ 898970 w 1600"/>
              <a:gd name="T63" fmla="*/ 49532 h 1382"/>
              <a:gd name="T64" fmla="*/ 894017 w 1600"/>
              <a:gd name="T65" fmla="*/ 42102 h 1382"/>
              <a:gd name="T66" fmla="*/ 889064 w 1600"/>
              <a:gd name="T67" fmla="*/ 34672 h 1382"/>
              <a:gd name="T68" fmla="*/ 879158 w 1600"/>
              <a:gd name="T69" fmla="*/ 27243 h 1382"/>
              <a:gd name="T70" fmla="*/ 871728 w 1600"/>
              <a:gd name="T71" fmla="*/ 22289 h 1382"/>
              <a:gd name="T72" fmla="*/ 861822 w 1600"/>
              <a:gd name="T73" fmla="*/ 17336 h 1382"/>
              <a:gd name="T74" fmla="*/ 851916 w 1600"/>
              <a:gd name="T75" fmla="*/ 12383 h 1382"/>
              <a:gd name="T76" fmla="*/ 834581 w 1600"/>
              <a:gd name="T77" fmla="*/ 4953 h 1382"/>
              <a:gd name="T78" fmla="*/ 497777 w 1600"/>
              <a:gd name="T79" fmla="*/ 2477 h 1382"/>
              <a:gd name="T80" fmla="*/ 324422 w 1600"/>
              <a:gd name="T81" fmla="*/ 371489 h 1382"/>
              <a:gd name="T82" fmla="*/ 373952 w 1600"/>
              <a:gd name="T83" fmla="*/ 398731 h 1382"/>
              <a:gd name="T84" fmla="*/ 470535 w 1600"/>
              <a:gd name="T85" fmla="*/ 361582 h 1382"/>
              <a:gd name="T86" fmla="*/ 525018 w 1600"/>
              <a:gd name="T87" fmla="*/ 388825 h 1382"/>
              <a:gd name="T88" fmla="*/ 537401 w 1600"/>
              <a:gd name="T89" fmla="*/ 500272 h 1382"/>
              <a:gd name="T90" fmla="*/ 475488 w 1600"/>
              <a:gd name="T91" fmla="*/ 619148 h 1382"/>
              <a:gd name="T92" fmla="*/ 366522 w 1600"/>
              <a:gd name="T93" fmla="*/ 688493 h 1382"/>
              <a:gd name="T94" fmla="*/ 307086 w 1600"/>
              <a:gd name="T95" fmla="*/ 661250 h 1382"/>
              <a:gd name="T96" fmla="*/ 289751 w 1600"/>
              <a:gd name="T97" fmla="*/ 562186 h 1382"/>
              <a:gd name="T98" fmla="*/ 250127 w 1600"/>
              <a:gd name="T99" fmla="*/ 522561 h 1382"/>
              <a:gd name="T100" fmla="*/ 4953 w 1600"/>
              <a:gd name="T101" fmla="*/ 854424 h 1382"/>
              <a:gd name="T102" fmla="*/ 180785 w 1600"/>
              <a:gd name="T103" fmla="*/ 1151615 h 1382"/>
              <a:gd name="T104" fmla="*/ 245174 w 1600"/>
              <a:gd name="T105" fmla="*/ 1181334 h 1382"/>
              <a:gd name="T106" fmla="*/ 282321 w 1600"/>
              <a:gd name="T107" fmla="*/ 1141709 h 1382"/>
              <a:gd name="T108" fmla="*/ 299657 w 1600"/>
              <a:gd name="T109" fmla="*/ 1042645 h 1382"/>
              <a:gd name="T110" fmla="*/ 354140 w 1600"/>
              <a:gd name="T111" fmla="*/ 1015403 h 1382"/>
              <a:gd name="T112" fmla="*/ 460629 w 1600"/>
              <a:gd name="T113" fmla="*/ 1072364 h 1382"/>
              <a:gd name="T114" fmla="*/ 525018 w 1600"/>
              <a:gd name="T115" fmla="*/ 1173905 h 1382"/>
              <a:gd name="T116" fmla="*/ 529971 w 1600"/>
              <a:gd name="T117" fmla="*/ 1305164 h 1382"/>
              <a:gd name="T118" fmla="*/ 465582 w 1600"/>
              <a:gd name="T119" fmla="*/ 1342313 h 1382"/>
              <a:gd name="T120" fmla="*/ 381381 w 1600"/>
              <a:gd name="T121" fmla="*/ 1307641 h 1382"/>
              <a:gd name="T122" fmla="*/ 326898 w 1600"/>
              <a:gd name="T123" fmla="*/ 1322500 h 1382"/>
              <a:gd name="T124" fmla="*/ 497777 w 1600"/>
              <a:gd name="T125" fmla="*/ 1711325 h 138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00" h="1382">
                <a:moveTo>
                  <a:pt x="1200" y="2"/>
                </a:moveTo>
                <a:lnTo>
                  <a:pt x="912" y="2"/>
                </a:lnTo>
                <a:lnTo>
                  <a:pt x="908" y="4"/>
                </a:lnTo>
                <a:lnTo>
                  <a:pt x="906" y="4"/>
                </a:lnTo>
                <a:lnTo>
                  <a:pt x="894" y="8"/>
                </a:lnTo>
                <a:lnTo>
                  <a:pt x="892" y="10"/>
                </a:lnTo>
                <a:lnTo>
                  <a:pt x="890" y="10"/>
                </a:lnTo>
                <a:lnTo>
                  <a:pt x="886" y="12"/>
                </a:lnTo>
                <a:lnTo>
                  <a:pt x="884" y="14"/>
                </a:lnTo>
                <a:lnTo>
                  <a:pt x="882" y="14"/>
                </a:lnTo>
                <a:lnTo>
                  <a:pt x="880" y="16"/>
                </a:lnTo>
                <a:lnTo>
                  <a:pt x="876" y="18"/>
                </a:lnTo>
                <a:lnTo>
                  <a:pt x="874" y="18"/>
                </a:lnTo>
                <a:lnTo>
                  <a:pt x="870" y="22"/>
                </a:lnTo>
                <a:lnTo>
                  <a:pt x="866" y="26"/>
                </a:lnTo>
                <a:lnTo>
                  <a:pt x="864" y="26"/>
                </a:lnTo>
                <a:lnTo>
                  <a:pt x="862" y="28"/>
                </a:lnTo>
                <a:lnTo>
                  <a:pt x="862" y="30"/>
                </a:lnTo>
                <a:lnTo>
                  <a:pt x="860" y="32"/>
                </a:lnTo>
                <a:lnTo>
                  <a:pt x="858" y="34"/>
                </a:lnTo>
                <a:lnTo>
                  <a:pt x="856" y="36"/>
                </a:lnTo>
                <a:lnTo>
                  <a:pt x="856" y="38"/>
                </a:lnTo>
                <a:lnTo>
                  <a:pt x="856" y="40"/>
                </a:lnTo>
                <a:lnTo>
                  <a:pt x="854" y="42"/>
                </a:lnTo>
                <a:lnTo>
                  <a:pt x="854" y="46"/>
                </a:lnTo>
                <a:lnTo>
                  <a:pt x="854" y="52"/>
                </a:lnTo>
                <a:lnTo>
                  <a:pt x="854" y="54"/>
                </a:lnTo>
                <a:lnTo>
                  <a:pt x="856" y="58"/>
                </a:lnTo>
                <a:lnTo>
                  <a:pt x="856" y="60"/>
                </a:lnTo>
                <a:lnTo>
                  <a:pt x="856" y="64"/>
                </a:lnTo>
                <a:lnTo>
                  <a:pt x="858" y="70"/>
                </a:lnTo>
                <a:lnTo>
                  <a:pt x="862" y="76"/>
                </a:lnTo>
                <a:lnTo>
                  <a:pt x="866" y="82"/>
                </a:lnTo>
                <a:lnTo>
                  <a:pt x="878" y="92"/>
                </a:lnTo>
                <a:lnTo>
                  <a:pt x="890" y="100"/>
                </a:lnTo>
                <a:lnTo>
                  <a:pt x="904" y="108"/>
                </a:lnTo>
                <a:lnTo>
                  <a:pt x="906" y="110"/>
                </a:lnTo>
                <a:lnTo>
                  <a:pt x="908" y="110"/>
                </a:lnTo>
                <a:lnTo>
                  <a:pt x="912" y="114"/>
                </a:lnTo>
                <a:lnTo>
                  <a:pt x="914" y="114"/>
                </a:lnTo>
                <a:lnTo>
                  <a:pt x="918" y="118"/>
                </a:lnTo>
                <a:lnTo>
                  <a:pt x="920" y="120"/>
                </a:lnTo>
                <a:lnTo>
                  <a:pt x="924" y="124"/>
                </a:lnTo>
                <a:lnTo>
                  <a:pt x="928" y="130"/>
                </a:lnTo>
                <a:lnTo>
                  <a:pt x="930" y="138"/>
                </a:lnTo>
                <a:lnTo>
                  <a:pt x="932" y="138"/>
                </a:lnTo>
                <a:lnTo>
                  <a:pt x="934" y="146"/>
                </a:lnTo>
                <a:lnTo>
                  <a:pt x="934" y="148"/>
                </a:lnTo>
                <a:lnTo>
                  <a:pt x="934" y="156"/>
                </a:lnTo>
                <a:lnTo>
                  <a:pt x="934" y="168"/>
                </a:lnTo>
                <a:lnTo>
                  <a:pt x="930" y="178"/>
                </a:lnTo>
                <a:lnTo>
                  <a:pt x="926" y="188"/>
                </a:lnTo>
                <a:lnTo>
                  <a:pt x="918" y="196"/>
                </a:lnTo>
                <a:lnTo>
                  <a:pt x="910" y="204"/>
                </a:lnTo>
                <a:lnTo>
                  <a:pt x="902" y="210"/>
                </a:lnTo>
                <a:lnTo>
                  <a:pt x="880" y="222"/>
                </a:lnTo>
                <a:lnTo>
                  <a:pt x="856" y="230"/>
                </a:lnTo>
                <a:lnTo>
                  <a:pt x="832" y="236"/>
                </a:lnTo>
                <a:lnTo>
                  <a:pt x="810" y="240"/>
                </a:lnTo>
                <a:lnTo>
                  <a:pt x="790" y="240"/>
                </a:lnTo>
                <a:lnTo>
                  <a:pt x="770" y="240"/>
                </a:lnTo>
                <a:lnTo>
                  <a:pt x="748" y="236"/>
                </a:lnTo>
                <a:lnTo>
                  <a:pt x="724" y="230"/>
                </a:lnTo>
                <a:lnTo>
                  <a:pt x="700" y="222"/>
                </a:lnTo>
                <a:lnTo>
                  <a:pt x="680" y="210"/>
                </a:lnTo>
                <a:lnTo>
                  <a:pt x="670" y="204"/>
                </a:lnTo>
                <a:lnTo>
                  <a:pt x="662" y="196"/>
                </a:lnTo>
                <a:lnTo>
                  <a:pt x="656" y="188"/>
                </a:lnTo>
                <a:lnTo>
                  <a:pt x="650" y="178"/>
                </a:lnTo>
                <a:lnTo>
                  <a:pt x="648" y="168"/>
                </a:lnTo>
                <a:lnTo>
                  <a:pt x="646" y="156"/>
                </a:lnTo>
                <a:lnTo>
                  <a:pt x="648" y="148"/>
                </a:lnTo>
                <a:lnTo>
                  <a:pt x="648" y="146"/>
                </a:lnTo>
                <a:lnTo>
                  <a:pt x="650" y="138"/>
                </a:lnTo>
                <a:lnTo>
                  <a:pt x="652" y="130"/>
                </a:lnTo>
                <a:lnTo>
                  <a:pt x="656" y="124"/>
                </a:lnTo>
                <a:lnTo>
                  <a:pt x="660" y="120"/>
                </a:lnTo>
                <a:lnTo>
                  <a:pt x="662" y="118"/>
                </a:lnTo>
                <a:lnTo>
                  <a:pt x="666" y="114"/>
                </a:lnTo>
                <a:lnTo>
                  <a:pt x="668" y="114"/>
                </a:lnTo>
                <a:lnTo>
                  <a:pt x="672" y="110"/>
                </a:lnTo>
                <a:lnTo>
                  <a:pt x="674" y="110"/>
                </a:lnTo>
                <a:lnTo>
                  <a:pt x="676" y="108"/>
                </a:lnTo>
                <a:lnTo>
                  <a:pt x="690" y="100"/>
                </a:lnTo>
                <a:lnTo>
                  <a:pt x="702" y="92"/>
                </a:lnTo>
                <a:lnTo>
                  <a:pt x="714" y="82"/>
                </a:lnTo>
                <a:lnTo>
                  <a:pt x="718" y="76"/>
                </a:lnTo>
                <a:lnTo>
                  <a:pt x="722" y="70"/>
                </a:lnTo>
                <a:lnTo>
                  <a:pt x="724" y="64"/>
                </a:lnTo>
                <a:lnTo>
                  <a:pt x="724" y="60"/>
                </a:lnTo>
                <a:lnTo>
                  <a:pt x="726" y="58"/>
                </a:lnTo>
                <a:lnTo>
                  <a:pt x="726" y="54"/>
                </a:lnTo>
                <a:lnTo>
                  <a:pt x="726" y="52"/>
                </a:lnTo>
                <a:lnTo>
                  <a:pt x="726" y="46"/>
                </a:lnTo>
                <a:lnTo>
                  <a:pt x="726" y="42"/>
                </a:lnTo>
                <a:lnTo>
                  <a:pt x="726" y="40"/>
                </a:lnTo>
                <a:lnTo>
                  <a:pt x="724" y="38"/>
                </a:lnTo>
                <a:lnTo>
                  <a:pt x="724" y="36"/>
                </a:lnTo>
                <a:lnTo>
                  <a:pt x="722" y="34"/>
                </a:lnTo>
                <a:lnTo>
                  <a:pt x="722" y="32"/>
                </a:lnTo>
                <a:lnTo>
                  <a:pt x="720" y="30"/>
                </a:lnTo>
                <a:lnTo>
                  <a:pt x="718" y="28"/>
                </a:lnTo>
                <a:lnTo>
                  <a:pt x="716" y="26"/>
                </a:lnTo>
                <a:lnTo>
                  <a:pt x="714" y="26"/>
                </a:lnTo>
                <a:lnTo>
                  <a:pt x="710" y="22"/>
                </a:lnTo>
                <a:lnTo>
                  <a:pt x="706" y="18"/>
                </a:lnTo>
                <a:lnTo>
                  <a:pt x="704" y="18"/>
                </a:lnTo>
                <a:lnTo>
                  <a:pt x="702" y="16"/>
                </a:lnTo>
                <a:lnTo>
                  <a:pt x="700" y="14"/>
                </a:lnTo>
                <a:lnTo>
                  <a:pt x="696" y="14"/>
                </a:lnTo>
                <a:lnTo>
                  <a:pt x="694" y="12"/>
                </a:lnTo>
                <a:lnTo>
                  <a:pt x="692" y="10"/>
                </a:lnTo>
                <a:lnTo>
                  <a:pt x="688" y="10"/>
                </a:lnTo>
                <a:lnTo>
                  <a:pt x="686" y="8"/>
                </a:lnTo>
                <a:lnTo>
                  <a:pt x="674" y="4"/>
                </a:lnTo>
                <a:lnTo>
                  <a:pt x="668" y="2"/>
                </a:lnTo>
                <a:lnTo>
                  <a:pt x="402" y="2"/>
                </a:lnTo>
                <a:lnTo>
                  <a:pt x="264" y="238"/>
                </a:lnTo>
                <a:lnTo>
                  <a:pt x="260" y="260"/>
                </a:lnTo>
                <a:lnTo>
                  <a:pt x="260" y="282"/>
                </a:lnTo>
                <a:lnTo>
                  <a:pt x="260" y="292"/>
                </a:lnTo>
                <a:lnTo>
                  <a:pt x="262" y="300"/>
                </a:lnTo>
                <a:lnTo>
                  <a:pt x="268" y="308"/>
                </a:lnTo>
                <a:lnTo>
                  <a:pt x="274" y="314"/>
                </a:lnTo>
                <a:lnTo>
                  <a:pt x="284" y="318"/>
                </a:lnTo>
                <a:lnTo>
                  <a:pt x="294" y="322"/>
                </a:lnTo>
                <a:lnTo>
                  <a:pt x="302" y="322"/>
                </a:lnTo>
                <a:lnTo>
                  <a:pt x="312" y="322"/>
                </a:lnTo>
                <a:lnTo>
                  <a:pt x="326" y="316"/>
                </a:lnTo>
                <a:lnTo>
                  <a:pt x="342" y="308"/>
                </a:lnTo>
                <a:lnTo>
                  <a:pt x="356" y="298"/>
                </a:lnTo>
                <a:lnTo>
                  <a:pt x="372" y="292"/>
                </a:lnTo>
                <a:lnTo>
                  <a:pt x="380" y="292"/>
                </a:lnTo>
                <a:lnTo>
                  <a:pt x="388" y="292"/>
                </a:lnTo>
                <a:lnTo>
                  <a:pt x="398" y="294"/>
                </a:lnTo>
                <a:lnTo>
                  <a:pt x="408" y="300"/>
                </a:lnTo>
                <a:lnTo>
                  <a:pt x="418" y="306"/>
                </a:lnTo>
                <a:lnTo>
                  <a:pt x="424" y="314"/>
                </a:lnTo>
                <a:lnTo>
                  <a:pt x="430" y="322"/>
                </a:lnTo>
                <a:lnTo>
                  <a:pt x="434" y="332"/>
                </a:lnTo>
                <a:lnTo>
                  <a:pt x="438" y="344"/>
                </a:lnTo>
                <a:lnTo>
                  <a:pt x="438" y="354"/>
                </a:lnTo>
                <a:lnTo>
                  <a:pt x="438" y="380"/>
                </a:lnTo>
                <a:lnTo>
                  <a:pt x="434" y="404"/>
                </a:lnTo>
                <a:lnTo>
                  <a:pt x="426" y="428"/>
                </a:lnTo>
                <a:lnTo>
                  <a:pt x="418" y="448"/>
                </a:lnTo>
                <a:lnTo>
                  <a:pt x="410" y="466"/>
                </a:lnTo>
                <a:lnTo>
                  <a:pt x="398" y="482"/>
                </a:lnTo>
                <a:lnTo>
                  <a:pt x="384" y="500"/>
                </a:lnTo>
                <a:lnTo>
                  <a:pt x="368" y="518"/>
                </a:lnTo>
                <a:lnTo>
                  <a:pt x="348" y="534"/>
                </a:lnTo>
                <a:lnTo>
                  <a:pt x="328" y="548"/>
                </a:lnTo>
                <a:lnTo>
                  <a:pt x="318" y="552"/>
                </a:lnTo>
                <a:lnTo>
                  <a:pt x="306" y="554"/>
                </a:lnTo>
                <a:lnTo>
                  <a:pt x="296" y="556"/>
                </a:lnTo>
                <a:lnTo>
                  <a:pt x="284" y="556"/>
                </a:lnTo>
                <a:lnTo>
                  <a:pt x="274" y="554"/>
                </a:lnTo>
                <a:lnTo>
                  <a:pt x="264" y="548"/>
                </a:lnTo>
                <a:lnTo>
                  <a:pt x="256" y="542"/>
                </a:lnTo>
                <a:lnTo>
                  <a:pt x="248" y="534"/>
                </a:lnTo>
                <a:lnTo>
                  <a:pt x="244" y="528"/>
                </a:lnTo>
                <a:lnTo>
                  <a:pt x="240" y="520"/>
                </a:lnTo>
                <a:lnTo>
                  <a:pt x="238" y="504"/>
                </a:lnTo>
                <a:lnTo>
                  <a:pt x="238" y="486"/>
                </a:lnTo>
                <a:lnTo>
                  <a:pt x="238" y="470"/>
                </a:lnTo>
                <a:lnTo>
                  <a:pt x="234" y="454"/>
                </a:lnTo>
                <a:lnTo>
                  <a:pt x="232" y="446"/>
                </a:lnTo>
                <a:lnTo>
                  <a:pt x="226" y="438"/>
                </a:lnTo>
                <a:lnTo>
                  <a:pt x="218" y="430"/>
                </a:lnTo>
                <a:lnTo>
                  <a:pt x="210" y="424"/>
                </a:lnTo>
                <a:lnTo>
                  <a:pt x="202" y="422"/>
                </a:lnTo>
                <a:lnTo>
                  <a:pt x="194" y="422"/>
                </a:lnTo>
                <a:lnTo>
                  <a:pt x="184" y="424"/>
                </a:lnTo>
                <a:lnTo>
                  <a:pt x="174" y="428"/>
                </a:lnTo>
                <a:lnTo>
                  <a:pt x="156" y="440"/>
                </a:lnTo>
                <a:lnTo>
                  <a:pt x="140" y="454"/>
                </a:lnTo>
                <a:lnTo>
                  <a:pt x="4" y="690"/>
                </a:lnTo>
                <a:lnTo>
                  <a:pt x="0" y="690"/>
                </a:lnTo>
                <a:lnTo>
                  <a:pt x="2" y="694"/>
                </a:lnTo>
                <a:lnTo>
                  <a:pt x="4" y="694"/>
                </a:lnTo>
                <a:lnTo>
                  <a:pt x="132" y="918"/>
                </a:lnTo>
                <a:lnTo>
                  <a:pt x="146" y="930"/>
                </a:lnTo>
                <a:lnTo>
                  <a:pt x="160" y="942"/>
                </a:lnTo>
                <a:lnTo>
                  <a:pt x="176" y="950"/>
                </a:lnTo>
                <a:lnTo>
                  <a:pt x="184" y="954"/>
                </a:lnTo>
                <a:lnTo>
                  <a:pt x="192" y="954"/>
                </a:lnTo>
                <a:lnTo>
                  <a:pt x="198" y="954"/>
                </a:lnTo>
                <a:lnTo>
                  <a:pt x="202" y="952"/>
                </a:lnTo>
                <a:lnTo>
                  <a:pt x="212" y="944"/>
                </a:lnTo>
                <a:lnTo>
                  <a:pt x="220" y="938"/>
                </a:lnTo>
                <a:lnTo>
                  <a:pt x="224" y="930"/>
                </a:lnTo>
                <a:lnTo>
                  <a:pt x="228" y="922"/>
                </a:lnTo>
                <a:lnTo>
                  <a:pt x="230" y="906"/>
                </a:lnTo>
                <a:lnTo>
                  <a:pt x="230" y="890"/>
                </a:lnTo>
                <a:lnTo>
                  <a:pt x="230" y="872"/>
                </a:lnTo>
                <a:lnTo>
                  <a:pt x="234" y="856"/>
                </a:lnTo>
                <a:lnTo>
                  <a:pt x="236" y="848"/>
                </a:lnTo>
                <a:lnTo>
                  <a:pt x="242" y="842"/>
                </a:lnTo>
                <a:lnTo>
                  <a:pt x="248" y="834"/>
                </a:lnTo>
                <a:lnTo>
                  <a:pt x="258" y="828"/>
                </a:lnTo>
                <a:lnTo>
                  <a:pt x="272" y="822"/>
                </a:lnTo>
                <a:lnTo>
                  <a:pt x="286" y="820"/>
                </a:lnTo>
                <a:lnTo>
                  <a:pt x="296" y="820"/>
                </a:lnTo>
                <a:lnTo>
                  <a:pt x="304" y="822"/>
                </a:lnTo>
                <a:lnTo>
                  <a:pt x="322" y="828"/>
                </a:lnTo>
                <a:lnTo>
                  <a:pt x="340" y="838"/>
                </a:lnTo>
                <a:lnTo>
                  <a:pt x="358" y="852"/>
                </a:lnTo>
                <a:lnTo>
                  <a:pt x="372" y="866"/>
                </a:lnTo>
                <a:lnTo>
                  <a:pt x="386" y="882"/>
                </a:lnTo>
                <a:lnTo>
                  <a:pt x="398" y="896"/>
                </a:lnTo>
                <a:lnTo>
                  <a:pt x="406" y="910"/>
                </a:lnTo>
                <a:lnTo>
                  <a:pt x="414" y="928"/>
                </a:lnTo>
                <a:lnTo>
                  <a:pt x="424" y="948"/>
                </a:lnTo>
                <a:lnTo>
                  <a:pt x="430" y="972"/>
                </a:lnTo>
                <a:lnTo>
                  <a:pt x="434" y="996"/>
                </a:lnTo>
                <a:lnTo>
                  <a:pt x="436" y="1022"/>
                </a:lnTo>
                <a:lnTo>
                  <a:pt x="434" y="1032"/>
                </a:lnTo>
                <a:lnTo>
                  <a:pt x="432" y="1044"/>
                </a:lnTo>
                <a:lnTo>
                  <a:pt x="428" y="1054"/>
                </a:lnTo>
                <a:lnTo>
                  <a:pt x="422" y="1062"/>
                </a:lnTo>
                <a:lnTo>
                  <a:pt x="414" y="1070"/>
                </a:lnTo>
                <a:lnTo>
                  <a:pt x="404" y="1076"/>
                </a:lnTo>
                <a:lnTo>
                  <a:pt x="390" y="1082"/>
                </a:lnTo>
                <a:lnTo>
                  <a:pt x="376" y="1084"/>
                </a:lnTo>
                <a:lnTo>
                  <a:pt x="366" y="1084"/>
                </a:lnTo>
                <a:lnTo>
                  <a:pt x="354" y="1080"/>
                </a:lnTo>
                <a:lnTo>
                  <a:pt x="336" y="1070"/>
                </a:lnTo>
                <a:lnTo>
                  <a:pt x="318" y="1060"/>
                </a:lnTo>
                <a:lnTo>
                  <a:pt x="308" y="1056"/>
                </a:lnTo>
                <a:lnTo>
                  <a:pt x="296" y="1054"/>
                </a:lnTo>
                <a:lnTo>
                  <a:pt x="284" y="1056"/>
                </a:lnTo>
                <a:lnTo>
                  <a:pt x="270" y="1062"/>
                </a:lnTo>
                <a:lnTo>
                  <a:pt x="264" y="1068"/>
                </a:lnTo>
                <a:lnTo>
                  <a:pt x="258" y="1076"/>
                </a:lnTo>
                <a:lnTo>
                  <a:pt x="256" y="1086"/>
                </a:lnTo>
                <a:lnTo>
                  <a:pt x="256" y="1096"/>
                </a:lnTo>
                <a:lnTo>
                  <a:pt x="258" y="1120"/>
                </a:lnTo>
                <a:lnTo>
                  <a:pt x="262" y="1142"/>
                </a:lnTo>
                <a:lnTo>
                  <a:pt x="402" y="1382"/>
                </a:lnTo>
                <a:lnTo>
                  <a:pt x="1200" y="1382"/>
                </a:lnTo>
                <a:lnTo>
                  <a:pt x="1600" y="690"/>
                </a:lnTo>
                <a:lnTo>
                  <a:pt x="1200" y="0"/>
                </a:lnTo>
                <a:lnTo>
                  <a:pt x="1200" y="2"/>
                </a:lnTo>
                <a:close/>
              </a:path>
            </a:pathLst>
          </a:custGeom>
          <a:solidFill>
            <a:srgbClr val="B4B4B7"/>
          </a:solidFill>
          <a:ln w="38100" cap="flat" cmpd="sng">
            <a:solidFill>
              <a:srgbClr val="B4B4B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5" name="Freeform 7">
            <a:extLst>
              <a:ext uri="{FF2B5EF4-FFF2-40B4-BE49-F238E27FC236}">
                <a16:creationId xmlns:a16="http://schemas.microsoft.com/office/drawing/2014/main" xmlns="" id="{E8D870AB-E609-4633-84A9-052D4D9CED8F}"/>
              </a:ext>
            </a:extLst>
          </p:cNvPr>
          <p:cNvSpPr>
            <a:spLocks/>
          </p:cNvSpPr>
          <p:nvPr/>
        </p:nvSpPr>
        <p:spPr bwMode="auto">
          <a:xfrm>
            <a:off x="3375638" y="834399"/>
            <a:ext cx="2519679" cy="1799839"/>
          </a:xfrm>
          <a:custGeom>
            <a:avLst/>
            <a:gdLst>
              <a:gd name="T0" fmla="*/ 245350 w 1636"/>
              <a:gd name="T1" fmla="*/ 1122809 h 1386"/>
              <a:gd name="T2" fmla="*/ 265176 w 1636"/>
              <a:gd name="T3" fmla="*/ 1075716 h 1386"/>
              <a:gd name="T4" fmla="*/ 265176 w 1636"/>
              <a:gd name="T5" fmla="*/ 1033579 h 1386"/>
              <a:gd name="T6" fmla="*/ 287481 w 1636"/>
              <a:gd name="T7" fmla="*/ 991443 h 1386"/>
              <a:gd name="T8" fmla="*/ 322177 w 1636"/>
              <a:gd name="T9" fmla="*/ 974093 h 1386"/>
              <a:gd name="T10" fmla="*/ 374221 w 1636"/>
              <a:gd name="T11" fmla="*/ 984007 h 1386"/>
              <a:gd name="T12" fmla="*/ 463439 w 1636"/>
              <a:gd name="T13" fmla="*/ 1065801 h 1386"/>
              <a:gd name="T14" fmla="*/ 503092 w 1636"/>
              <a:gd name="T15" fmla="*/ 1145117 h 1386"/>
              <a:gd name="T16" fmla="*/ 513005 w 1636"/>
              <a:gd name="T17" fmla="*/ 1216996 h 1386"/>
              <a:gd name="T18" fmla="*/ 500614 w 1636"/>
              <a:gd name="T19" fmla="*/ 1278961 h 1386"/>
              <a:gd name="T20" fmla="*/ 475831 w 1636"/>
              <a:gd name="T21" fmla="*/ 1301269 h 1386"/>
              <a:gd name="T22" fmla="*/ 428743 w 1636"/>
              <a:gd name="T23" fmla="*/ 1311183 h 1386"/>
              <a:gd name="T24" fmla="*/ 354395 w 1636"/>
              <a:gd name="T25" fmla="*/ 1274004 h 1386"/>
              <a:gd name="T26" fmla="*/ 307307 w 1636"/>
              <a:gd name="T27" fmla="*/ 1283919 h 1386"/>
              <a:gd name="T28" fmla="*/ 292438 w 1636"/>
              <a:gd name="T29" fmla="*/ 1311183 h 1386"/>
              <a:gd name="T30" fmla="*/ 297394 w 1636"/>
              <a:gd name="T31" fmla="*/ 1365713 h 1386"/>
              <a:gd name="T32" fmla="*/ 495657 w 1636"/>
              <a:gd name="T33" fmla="*/ 1712718 h 1386"/>
              <a:gd name="T34" fmla="*/ 822791 w 1636"/>
              <a:gd name="T35" fmla="*/ 1717675 h 1386"/>
              <a:gd name="T36" fmla="*/ 899617 w 1636"/>
              <a:gd name="T37" fmla="*/ 1680496 h 1386"/>
              <a:gd name="T38" fmla="*/ 909531 w 1636"/>
              <a:gd name="T39" fmla="*/ 1643317 h 1386"/>
              <a:gd name="T40" fmla="*/ 879791 w 1636"/>
              <a:gd name="T41" fmla="*/ 1598702 h 1386"/>
              <a:gd name="T42" fmla="*/ 820312 w 1636"/>
              <a:gd name="T43" fmla="*/ 1556566 h 1386"/>
              <a:gd name="T44" fmla="*/ 810399 w 1636"/>
              <a:gd name="T45" fmla="*/ 1521865 h 1386"/>
              <a:gd name="T46" fmla="*/ 830225 w 1636"/>
              <a:gd name="T47" fmla="*/ 1472293 h 1386"/>
              <a:gd name="T48" fmla="*/ 907052 w 1636"/>
              <a:gd name="T49" fmla="*/ 1430157 h 1386"/>
              <a:gd name="T50" fmla="*/ 988836 w 1636"/>
              <a:gd name="T51" fmla="*/ 1417763 h 1386"/>
              <a:gd name="T52" fmla="*/ 1100358 w 1636"/>
              <a:gd name="T53" fmla="*/ 1440071 h 1386"/>
              <a:gd name="T54" fmla="*/ 1157359 w 1636"/>
              <a:gd name="T55" fmla="*/ 1484686 h 1386"/>
              <a:gd name="T56" fmla="*/ 1167272 w 1636"/>
              <a:gd name="T57" fmla="*/ 1521865 h 1386"/>
              <a:gd name="T58" fmla="*/ 1152402 w 1636"/>
              <a:gd name="T59" fmla="*/ 1566480 h 1386"/>
              <a:gd name="T60" fmla="*/ 1083010 w 1636"/>
              <a:gd name="T61" fmla="*/ 1613573 h 1386"/>
              <a:gd name="T62" fmla="*/ 1068141 w 1636"/>
              <a:gd name="T63" fmla="*/ 1658188 h 1386"/>
              <a:gd name="T64" fmla="*/ 1087967 w 1636"/>
              <a:gd name="T65" fmla="*/ 1687932 h 1386"/>
              <a:gd name="T66" fmla="*/ 1479536 w 1636"/>
              <a:gd name="T67" fmla="*/ 1717675 h 1386"/>
              <a:gd name="T68" fmla="*/ 1489449 w 1636"/>
              <a:gd name="T69" fmla="*/ 1707761 h 1386"/>
              <a:gd name="T70" fmla="*/ 1660451 w 1636"/>
              <a:gd name="T71" fmla="*/ 1410328 h 1386"/>
              <a:gd name="T72" fmla="*/ 1727365 w 1636"/>
              <a:gd name="T73" fmla="*/ 1368191 h 1386"/>
              <a:gd name="T74" fmla="*/ 1759582 w 1636"/>
              <a:gd name="T75" fmla="*/ 1380584 h 1386"/>
              <a:gd name="T76" fmla="*/ 1781887 w 1636"/>
              <a:gd name="T77" fmla="*/ 1427678 h 1386"/>
              <a:gd name="T78" fmla="*/ 1789322 w 1636"/>
              <a:gd name="T79" fmla="*/ 1499558 h 1386"/>
              <a:gd name="T80" fmla="*/ 1816583 w 1636"/>
              <a:gd name="T81" fmla="*/ 1526822 h 1386"/>
              <a:gd name="T82" fmla="*/ 1866148 w 1636"/>
              <a:gd name="T83" fmla="*/ 1534258 h 1386"/>
              <a:gd name="T84" fmla="*/ 1942975 w 1636"/>
              <a:gd name="T85" fmla="*/ 1489643 h 1386"/>
              <a:gd name="T86" fmla="*/ 1995019 w 1636"/>
              <a:gd name="T87" fmla="*/ 1425199 h 1386"/>
              <a:gd name="T88" fmla="*/ 2022280 w 1636"/>
              <a:gd name="T89" fmla="*/ 1355798 h 1386"/>
              <a:gd name="T90" fmla="*/ 2024759 w 1636"/>
              <a:gd name="T91" fmla="*/ 1271526 h 1386"/>
              <a:gd name="T92" fmla="*/ 1990063 w 1636"/>
              <a:gd name="T93" fmla="*/ 1226911 h 1386"/>
              <a:gd name="T94" fmla="*/ 1945454 w 1636"/>
              <a:gd name="T95" fmla="*/ 1219475 h 1386"/>
              <a:gd name="T96" fmla="*/ 1871105 w 1636"/>
              <a:gd name="T97" fmla="*/ 1254175 h 1386"/>
              <a:gd name="T98" fmla="*/ 1824018 w 1636"/>
              <a:gd name="T99" fmla="*/ 1244261 h 1386"/>
              <a:gd name="T100" fmla="*/ 1806670 w 1636"/>
              <a:gd name="T101" fmla="*/ 1216996 h 1386"/>
              <a:gd name="T102" fmla="*/ 1814105 w 1636"/>
              <a:gd name="T103" fmla="*/ 1147595 h 1386"/>
              <a:gd name="T104" fmla="*/ 1960323 w 1636"/>
              <a:gd name="T105" fmla="*/ 827855 h 1386"/>
              <a:gd name="T106" fmla="*/ 399004 w 1636"/>
              <a:gd name="T107" fmla="*/ 163588 h 1386"/>
              <a:gd name="T108" fmla="*/ 163567 w 1636"/>
              <a:gd name="T109" fmla="*/ 1117852 h 1386"/>
              <a:gd name="T110" fmla="*/ 218089 w 1636"/>
              <a:gd name="T111" fmla="*/ 1140159 h 138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36" h="1386">
                <a:moveTo>
                  <a:pt x="184" y="918"/>
                </a:moveTo>
                <a:lnTo>
                  <a:pt x="184" y="918"/>
                </a:lnTo>
                <a:lnTo>
                  <a:pt x="192" y="912"/>
                </a:lnTo>
                <a:lnTo>
                  <a:pt x="198" y="906"/>
                </a:lnTo>
                <a:lnTo>
                  <a:pt x="204" y="900"/>
                </a:lnTo>
                <a:lnTo>
                  <a:pt x="208" y="894"/>
                </a:lnTo>
                <a:lnTo>
                  <a:pt x="212" y="882"/>
                </a:lnTo>
                <a:lnTo>
                  <a:pt x="214" y="868"/>
                </a:lnTo>
                <a:lnTo>
                  <a:pt x="212" y="850"/>
                </a:lnTo>
                <a:lnTo>
                  <a:pt x="214" y="834"/>
                </a:lnTo>
                <a:lnTo>
                  <a:pt x="216" y="820"/>
                </a:lnTo>
                <a:lnTo>
                  <a:pt x="220" y="812"/>
                </a:lnTo>
                <a:lnTo>
                  <a:pt x="224" y="806"/>
                </a:lnTo>
                <a:lnTo>
                  <a:pt x="232" y="800"/>
                </a:lnTo>
                <a:lnTo>
                  <a:pt x="240" y="794"/>
                </a:lnTo>
                <a:lnTo>
                  <a:pt x="250" y="788"/>
                </a:lnTo>
                <a:lnTo>
                  <a:pt x="260" y="786"/>
                </a:lnTo>
                <a:lnTo>
                  <a:pt x="270" y="786"/>
                </a:lnTo>
                <a:lnTo>
                  <a:pt x="282" y="786"/>
                </a:lnTo>
                <a:lnTo>
                  <a:pt x="292" y="790"/>
                </a:lnTo>
                <a:lnTo>
                  <a:pt x="302" y="794"/>
                </a:lnTo>
                <a:lnTo>
                  <a:pt x="324" y="808"/>
                </a:lnTo>
                <a:lnTo>
                  <a:pt x="344" y="824"/>
                </a:lnTo>
                <a:lnTo>
                  <a:pt x="360" y="842"/>
                </a:lnTo>
                <a:lnTo>
                  <a:pt x="374" y="860"/>
                </a:lnTo>
                <a:lnTo>
                  <a:pt x="384" y="876"/>
                </a:lnTo>
                <a:lnTo>
                  <a:pt x="396" y="898"/>
                </a:lnTo>
                <a:lnTo>
                  <a:pt x="406" y="924"/>
                </a:lnTo>
                <a:lnTo>
                  <a:pt x="412" y="954"/>
                </a:lnTo>
                <a:lnTo>
                  <a:pt x="414" y="968"/>
                </a:lnTo>
                <a:lnTo>
                  <a:pt x="414" y="982"/>
                </a:lnTo>
                <a:lnTo>
                  <a:pt x="414" y="1004"/>
                </a:lnTo>
                <a:lnTo>
                  <a:pt x="412" y="1014"/>
                </a:lnTo>
                <a:lnTo>
                  <a:pt x="408" y="1022"/>
                </a:lnTo>
                <a:lnTo>
                  <a:pt x="404" y="1032"/>
                </a:lnTo>
                <a:lnTo>
                  <a:pt x="398" y="1038"/>
                </a:lnTo>
                <a:lnTo>
                  <a:pt x="392" y="1046"/>
                </a:lnTo>
                <a:lnTo>
                  <a:pt x="384" y="1050"/>
                </a:lnTo>
                <a:lnTo>
                  <a:pt x="374" y="1056"/>
                </a:lnTo>
                <a:lnTo>
                  <a:pt x="364" y="1058"/>
                </a:lnTo>
                <a:lnTo>
                  <a:pt x="354" y="1058"/>
                </a:lnTo>
                <a:lnTo>
                  <a:pt x="346" y="1058"/>
                </a:lnTo>
                <a:lnTo>
                  <a:pt x="330" y="1052"/>
                </a:lnTo>
                <a:lnTo>
                  <a:pt x="316" y="1042"/>
                </a:lnTo>
                <a:lnTo>
                  <a:pt x="302" y="1034"/>
                </a:lnTo>
                <a:lnTo>
                  <a:pt x="286" y="1028"/>
                </a:lnTo>
                <a:lnTo>
                  <a:pt x="278" y="1028"/>
                </a:lnTo>
                <a:lnTo>
                  <a:pt x="268" y="1028"/>
                </a:lnTo>
                <a:lnTo>
                  <a:pt x="258" y="1032"/>
                </a:lnTo>
                <a:lnTo>
                  <a:pt x="248" y="1036"/>
                </a:lnTo>
                <a:lnTo>
                  <a:pt x="242" y="1042"/>
                </a:lnTo>
                <a:lnTo>
                  <a:pt x="238" y="1048"/>
                </a:lnTo>
                <a:lnTo>
                  <a:pt x="236" y="1058"/>
                </a:lnTo>
                <a:lnTo>
                  <a:pt x="234" y="1068"/>
                </a:lnTo>
                <a:lnTo>
                  <a:pt x="236" y="1086"/>
                </a:lnTo>
                <a:lnTo>
                  <a:pt x="240" y="1102"/>
                </a:lnTo>
                <a:lnTo>
                  <a:pt x="398" y="1378"/>
                </a:lnTo>
                <a:lnTo>
                  <a:pt x="402" y="1378"/>
                </a:lnTo>
                <a:lnTo>
                  <a:pt x="402" y="1380"/>
                </a:lnTo>
                <a:lnTo>
                  <a:pt x="400" y="1382"/>
                </a:lnTo>
                <a:lnTo>
                  <a:pt x="402" y="1386"/>
                </a:lnTo>
                <a:lnTo>
                  <a:pt x="664" y="1386"/>
                </a:lnTo>
                <a:lnTo>
                  <a:pt x="686" y="1380"/>
                </a:lnTo>
                <a:lnTo>
                  <a:pt x="708" y="1368"/>
                </a:lnTo>
                <a:lnTo>
                  <a:pt x="718" y="1362"/>
                </a:lnTo>
                <a:lnTo>
                  <a:pt x="726" y="1356"/>
                </a:lnTo>
                <a:lnTo>
                  <a:pt x="732" y="1346"/>
                </a:lnTo>
                <a:lnTo>
                  <a:pt x="734" y="1338"/>
                </a:lnTo>
                <a:lnTo>
                  <a:pt x="734" y="1326"/>
                </a:lnTo>
                <a:lnTo>
                  <a:pt x="730" y="1316"/>
                </a:lnTo>
                <a:lnTo>
                  <a:pt x="728" y="1308"/>
                </a:lnTo>
                <a:lnTo>
                  <a:pt x="722" y="1302"/>
                </a:lnTo>
                <a:lnTo>
                  <a:pt x="710" y="1290"/>
                </a:lnTo>
                <a:lnTo>
                  <a:pt x="694" y="1282"/>
                </a:lnTo>
                <a:lnTo>
                  <a:pt x="680" y="1274"/>
                </a:lnTo>
                <a:lnTo>
                  <a:pt x="668" y="1264"/>
                </a:lnTo>
                <a:lnTo>
                  <a:pt x="662" y="1256"/>
                </a:lnTo>
                <a:lnTo>
                  <a:pt x="658" y="1248"/>
                </a:lnTo>
                <a:lnTo>
                  <a:pt x="656" y="1240"/>
                </a:lnTo>
                <a:lnTo>
                  <a:pt x="654" y="1228"/>
                </a:lnTo>
                <a:lnTo>
                  <a:pt x="656" y="1216"/>
                </a:lnTo>
                <a:lnTo>
                  <a:pt x="658" y="1206"/>
                </a:lnTo>
                <a:lnTo>
                  <a:pt x="664" y="1198"/>
                </a:lnTo>
                <a:lnTo>
                  <a:pt x="670" y="1188"/>
                </a:lnTo>
                <a:lnTo>
                  <a:pt x="678" y="1180"/>
                </a:lnTo>
                <a:lnTo>
                  <a:pt x="688" y="1174"/>
                </a:lnTo>
                <a:lnTo>
                  <a:pt x="708" y="1162"/>
                </a:lnTo>
                <a:lnTo>
                  <a:pt x="732" y="1154"/>
                </a:lnTo>
                <a:lnTo>
                  <a:pt x="756" y="1148"/>
                </a:lnTo>
                <a:lnTo>
                  <a:pt x="780" y="1144"/>
                </a:lnTo>
                <a:lnTo>
                  <a:pt x="798" y="1144"/>
                </a:lnTo>
                <a:lnTo>
                  <a:pt x="818" y="1144"/>
                </a:lnTo>
                <a:lnTo>
                  <a:pt x="840" y="1148"/>
                </a:lnTo>
                <a:lnTo>
                  <a:pt x="864" y="1154"/>
                </a:lnTo>
                <a:lnTo>
                  <a:pt x="888" y="1162"/>
                </a:lnTo>
                <a:lnTo>
                  <a:pt x="910" y="1174"/>
                </a:lnTo>
                <a:lnTo>
                  <a:pt x="918" y="1180"/>
                </a:lnTo>
                <a:lnTo>
                  <a:pt x="926" y="1188"/>
                </a:lnTo>
                <a:lnTo>
                  <a:pt x="934" y="1198"/>
                </a:lnTo>
                <a:lnTo>
                  <a:pt x="938" y="1206"/>
                </a:lnTo>
                <a:lnTo>
                  <a:pt x="942" y="1216"/>
                </a:lnTo>
                <a:lnTo>
                  <a:pt x="942" y="1228"/>
                </a:lnTo>
                <a:lnTo>
                  <a:pt x="942" y="1240"/>
                </a:lnTo>
                <a:lnTo>
                  <a:pt x="938" y="1248"/>
                </a:lnTo>
                <a:lnTo>
                  <a:pt x="934" y="1256"/>
                </a:lnTo>
                <a:lnTo>
                  <a:pt x="930" y="1264"/>
                </a:lnTo>
                <a:lnTo>
                  <a:pt x="916" y="1274"/>
                </a:lnTo>
                <a:lnTo>
                  <a:pt x="902" y="1282"/>
                </a:lnTo>
                <a:lnTo>
                  <a:pt x="888" y="1290"/>
                </a:lnTo>
                <a:lnTo>
                  <a:pt x="874" y="1302"/>
                </a:lnTo>
                <a:lnTo>
                  <a:pt x="870" y="1308"/>
                </a:lnTo>
                <a:lnTo>
                  <a:pt x="866" y="1316"/>
                </a:lnTo>
                <a:lnTo>
                  <a:pt x="864" y="1326"/>
                </a:lnTo>
                <a:lnTo>
                  <a:pt x="862" y="1338"/>
                </a:lnTo>
                <a:lnTo>
                  <a:pt x="864" y="1346"/>
                </a:lnTo>
                <a:lnTo>
                  <a:pt x="870" y="1356"/>
                </a:lnTo>
                <a:lnTo>
                  <a:pt x="878" y="1362"/>
                </a:lnTo>
                <a:lnTo>
                  <a:pt x="888" y="1368"/>
                </a:lnTo>
                <a:lnTo>
                  <a:pt x="912" y="1380"/>
                </a:lnTo>
                <a:lnTo>
                  <a:pt x="934" y="1386"/>
                </a:lnTo>
                <a:lnTo>
                  <a:pt x="1194" y="1386"/>
                </a:lnTo>
                <a:lnTo>
                  <a:pt x="1198" y="1380"/>
                </a:lnTo>
                <a:lnTo>
                  <a:pt x="1198" y="1378"/>
                </a:lnTo>
                <a:lnTo>
                  <a:pt x="1202" y="1378"/>
                </a:lnTo>
                <a:lnTo>
                  <a:pt x="1204" y="1372"/>
                </a:lnTo>
                <a:lnTo>
                  <a:pt x="1240" y="1310"/>
                </a:lnTo>
                <a:lnTo>
                  <a:pt x="1340" y="1138"/>
                </a:lnTo>
                <a:lnTo>
                  <a:pt x="1356" y="1124"/>
                </a:lnTo>
                <a:lnTo>
                  <a:pt x="1376" y="1112"/>
                </a:lnTo>
                <a:lnTo>
                  <a:pt x="1384" y="1108"/>
                </a:lnTo>
                <a:lnTo>
                  <a:pt x="1394" y="1104"/>
                </a:lnTo>
                <a:lnTo>
                  <a:pt x="1402" y="1104"/>
                </a:lnTo>
                <a:lnTo>
                  <a:pt x="1410" y="1108"/>
                </a:lnTo>
                <a:lnTo>
                  <a:pt x="1420" y="1114"/>
                </a:lnTo>
                <a:lnTo>
                  <a:pt x="1426" y="1122"/>
                </a:lnTo>
                <a:lnTo>
                  <a:pt x="1432" y="1128"/>
                </a:lnTo>
                <a:lnTo>
                  <a:pt x="1436" y="1136"/>
                </a:lnTo>
                <a:lnTo>
                  <a:pt x="1438" y="1152"/>
                </a:lnTo>
                <a:lnTo>
                  <a:pt x="1438" y="1170"/>
                </a:lnTo>
                <a:lnTo>
                  <a:pt x="1438" y="1186"/>
                </a:lnTo>
                <a:lnTo>
                  <a:pt x="1440" y="1202"/>
                </a:lnTo>
                <a:lnTo>
                  <a:pt x="1444" y="1210"/>
                </a:lnTo>
                <a:lnTo>
                  <a:pt x="1448" y="1218"/>
                </a:lnTo>
                <a:lnTo>
                  <a:pt x="1456" y="1226"/>
                </a:lnTo>
                <a:lnTo>
                  <a:pt x="1466" y="1232"/>
                </a:lnTo>
                <a:lnTo>
                  <a:pt x="1476" y="1236"/>
                </a:lnTo>
                <a:lnTo>
                  <a:pt x="1486" y="1240"/>
                </a:lnTo>
                <a:lnTo>
                  <a:pt x="1496" y="1240"/>
                </a:lnTo>
                <a:lnTo>
                  <a:pt x="1506" y="1238"/>
                </a:lnTo>
                <a:lnTo>
                  <a:pt x="1518" y="1234"/>
                </a:lnTo>
                <a:lnTo>
                  <a:pt x="1528" y="1230"/>
                </a:lnTo>
                <a:lnTo>
                  <a:pt x="1550" y="1218"/>
                </a:lnTo>
                <a:lnTo>
                  <a:pt x="1568" y="1202"/>
                </a:lnTo>
                <a:lnTo>
                  <a:pt x="1586" y="1184"/>
                </a:lnTo>
                <a:lnTo>
                  <a:pt x="1600" y="1166"/>
                </a:lnTo>
                <a:lnTo>
                  <a:pt x="1610" y="1150"/>
                </a:lnTo>
                <a:lnTo>
                  <a:pt x="1618" y="1132"/>
                </a:lnTo>
                <a:lnTo>
                  <a:pt x="1628" y="1112"/>
                </a:lnTo>
                <a:lnTo>
                  <a:pt x="1632" y="1094"/>
                </a:lnTo>
                <a:lnTo>
                  <a:pt x="1636" y="1076"/>
                </a:lnTo>
                <a:lnTo>
                  <a:pt x="1636" y="1060"/>
                </a:lnTo>
                <a:lnTo>
                  <a:pt x="1636" y="1042"/>
                </a:lnTo>
                <a:lnTo>
                  <a:pt x="1634" y="1026"/>
                </a:lnTo>
                <a:lnTo>
                  <a:pt x="1628" y="1012"/>
                </a:lnTo>
                <a:lnTo>
                  <a:pt x="1618" y="1000"/>
                </a:lnTo>
                <a:lnTo>
                  <a:pt x="1606" y="990"/>
                </a:lnTo>
                <a:lnTo>
                  <a:pt x="1596" y="986"/>
                </a:lnTo>
                <a:lnTo>
                  <a:pt x="1586" y="984"/>
                </a:lnTo>
                <a:lnTo>
                  <a:pt x="1578" y="982"/>
                </a:lnTo>
                <a:lnTo>
                  <a:pt x="1570" y="984"/>
                </a:lnTo>
                <a:lnTo>
                  <a:pt x="1554" y="990"/>
                </a:lnTo>
                <a:lnTo>
                  <a:pt x="1540" y="998"/>
                </a:lnTo>
                <a:lnTo>
                  <a:pt x="1524" y="1006"/>
                </a:lnTo>
                <a:lnTo>
                  <a:pt x="1510" y="1012"/>
                </a:lnTo>
                <a:lnTo>
                  <a:pt x="1500" y="1014"/>
                </a:lnTo>
                <a:lnTo>
                  <a:pt x="1492" y="1012"/>
                </a:lnTo>
                <a:lnTo>
                  <a:pt x="1482" y="1010"/>
                </a:lnTo>
                <a:lnTo>
                  <a:pt x="1472" y="1004"/>
                </a:lnTo>
                <a:lnTo>
                  <a:pt x="1464" y="1000"/>
                </a:lnTo>
                <a:lnTo>
                  <a:pt x="1460" y="992"/>
                </a:lnTo>
                <a:lnTo>
                  <a:pt x="1458" y="982"/>
                </a:lnTo>
                <a:lnTo>
                  <a:pt x="1458" y="972"/>
                </a:lnTo>
                <a:lnTo>
                  <a:pt x="1458" y="950"/>
                </a:lnTo>
                <a:lnTo>
                  <a:pt x="1462" y="928"/>
                </a:lnTo>
                <a:lnTo>
                  <a:pt x="1464" y="926"/>
                </a:lnTo>
                <a:lnTo>
                  <a:pt x="1466" y="920"/>
                </a:lnTo>
                <a:lnTo>
                  <a:pt x="1598" y="692"/>
                </a:lnTo>
                <a:lnTo>
                  <a:pt x="1582" y="668"/>
                </a:lnTo>
                <a:lnTo>
                  <a:pt x="1584" y="668"/>
                </a:lnTo>
                <a:lnTo>
                  <a:pt x="1198" y="0"/>
                </a:lnTo>
                <a:lnTo>
                  <a:pt x="398" y="0"/>
                </a:lnTo>
                <a:lnTo>
                  <a:pt x="322" y="132"/>
                </a:lnTo>
                <a:lnTo>
                  <a:pt x="0" y="690"/>
                </a:lnTo>
                <a:lnTo>
                  <a:pt x="116" y="888"/>
                </a:lnTo>
                <a:lnTo>
                  <a:pt x="132" y="902"/>
                </a:lnTo>
                <a:lnTo>
                  <a:pt x="150" y="914"/>
                </a:lnTo>
                <a:lnTo>
                  <a:pt x="160" y="918"/>
                </a:lnTo>
                <a:lnTo>
                  <a:pt x="168" y="920"/>
                </a:lnTo>
                <a:lnTo>
                  <a:pt x="176" y="920"/>
                </a:lnTo>
                <a:lnTo>
                  <a:pt x="184" y="918"/>
                </a:lnTo>
                <a:close/>
              </a:path>
            </a:pathLst>
          </a:custGeom>
          <a:solidFill>
            <a:srgbClr val="179A9D"/>
          </a:solidFill>
          <a:ln w="38100" cap="flat" cmpd="sng">
            <a:solidFill>
              <a:srgbClr val="179A9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6" name="Freeform 8">
            <a:extLst>
              <a:ext uri="{FF2B5EF4-FFF2-40B4-BE49-F238E27FC236}">
                <a16:creationId xmlns:a16="http://schemas.microsoft.com/office/drawing/2014/main" xmlns="" id="{6231788E-BAE6-4562-904C-A39F506A8F39}"/>
              </a:ext>
            </a:extLst>
          </p:cNvPr>
          <p:cNvSpPr>
            <a:spLocks/>
          </p:cNvSpPr>
          <p:nvPr/>
        </p:nvSpPr>
        <p:spPr bwMode="auto">
          <a:xfrm>
            <a:off x="5254903" y="1734865"/>
            <a:ext cx="2462458" cy="2107574"/>
          </a:xfrm>
          <a:custGeom>
            <a:avLst/>
            <a:gdLst>
              <a:gd name="T0" fmla="*/ 324422 w 1600"/>
              <a:gd name="T1" fmla="*/ 322016 h 1624"/>
              <a:gd name="T2" fmla="*/ 354140 w 1600"/>
              <a:gd name="T3" fmla="*/ 391373 h 1624"/>
              <a:gd name="T4" fmla="*/ 463106 w 1600"/>
              <a:gd name="T5" fmla="*/ 359172 h 1624"/>
              <a:gd name="T6" fmla="*/ 525018 w 1600"/>
              <a:gd name="T7" fmla="*/ 378988 h 1624"/>
              <a:gd name="T8" fmla="*/ 532448 w 1600"/>
              <a:gd name="T9" fmla="*/ 527611 h 1624"/>
              <a:gd name="T10" fmla="*/ 455676 w 1600"/>
              <a:gd name="T11" fmla="*/ 648986 h 1624"/>
              <a:gd name="T12" fmla="*/ 339281 w 1600"/>
              <a:gd name="T13" fmla="*/ 691096 h 1624"/>
              <a:gd name="T14" fmla="*/ 294704 w 1600"/>
              <a:gd name="T15" fmla="*/ 629170 h 1624"/>
              <a:gd name="T16" fmla="*/ 260033 w 1600"/>
              <a:gd name="T17" fmla="*/ 532565 h 1624"/>
              <a:gd name="T18" fmla="*/ 173355 w 1600"/>
              <a:gd name="T19" fmla="*/ 569721 h 1624"/>
              <a:gd name="T20" fmla="*/ 173355 w 1600"/>
              <a:gd name="T21" fmla="*/ 1156781 h 1624"/>
              <a:gd name="T22" fmla="*/ 264986 w 1600"/>
              <a:gd name="T23" fmla="*/ 1198891 h 1624"/>
              <a:gd name="T24" fmla="*/ 299657 w 1600"/>
              <a:gd name="T25" fmla="*/ 1122102 h 1624"/>
              <a:gd name="T26" fmla="*/ 331851 w 1600"/>
              <a:gd name="T27" fmla="*/ 1045314 h 1624"/>
              <a:gd name="T28" fmla="*/ 435864 w 1600"/>
              <a:gd name="T29" fmla="*/ 1062653 h 1624"/>
              <a:gd name="T30" fmla="*/ 534924 w 1600"/>
              <a:gd name="T31" fmla="*/ 1193937 h 1624"/>
              <a:gd name="T32" fmla="*/ 532448 w 1600"/>
              <a:gd name="T33" fmla="*/ 1335128 h 1624"/>
              <a:gd name="T34" fmla="*/ 465582 w 1600"/>
              <a:gd name="T35" fmla="*/ 1362376 h 1624"/>
              <a:gd name="T36" fmla="*/ 356616 w 1600"/>
              <a:gd name="T37" fmla="*/ 1330174 h 1624"/>
              <a:gd name="T38" fmla="*/ 329375 w 1600"/>
              <a:gd name="T39" fmla="*/ 1406963 h 1624"/>
              <a:gd name="T40" fmla="*/ 827151 w 1600"/>
              <a:gd name="T41" fmla="*/ 1716593 h 1624"/>
              <a:gd name="T42" fmla="*/ 849440 w 1600"/>
              <a:gd name="T43" fmla="*/ 1724025 h 1624"/>
              <a:gd name="T44" fmla="*/ 861822 w 1600"/>
              <a:gd name="T45" fmla="*/ 1731456 h 1624"/>
              <a:gd name="T46" fmla="*/ 871728 w 1600"/>
              <a:gd name="T47" fmla="*/ 1736410 h 1624"/>
              <a:gd name="T48" fmla="*/ 884111 w 1600"/>
              <a:gd name="T49" fmla="*/ 1746318 h 1624"/>
              <a:gd name="T50" fmla="*/ 891540 w 1600"/>
              <a:gd name="T51" fmla="*/ 1751272 h 1624"/>
              <a:gd name="T52" fmla="*/ 896493 w 1600"/>
              <a:gd name="T53" fmla="*/ 1761180 h 1624"/>
              <a:gd name="T54" fmla="*/ 898970 w 1600"/>
              <a:gd name="T55" fmla="*/ 1771088 h 1624"/>
              <a:gd name="T56" fmla="*/ 898970 w 1600"/>
              <a:gd name="T57" fmla="*/ 1778520 h 1624"/>
              <a:gd name="T58" fmla="*/ 896493 w 1600"/>
              <a:gd name="T59" fmla="*/ 1793382 h 1624"/>
              <a:gd name="T60" fmla="*/ 871728 w 1600"/>
              <a:gd name="T61" fmla="*/ 1828061 h 1624"/>
              <a:gd name="T62" fmla="*/ 832104 w 1600"/>
              <a:gd name="T63" fmla="*/ 1850354 h 1624"/>
              <a:gd name="T64" fmla="*/ 817245 w 1600"/>
              <a:gd name="T65" fmla="*/ 1862739 h 1624"/>
              <a:gd name="T66" fmla="*/ 807339 w 1600"/>
              <a:gd name="T67" fmla="*/ 1875124 h 1624"/>
              <a:gd name="T68" fmla="*/ 802386 w 1600"/>
              <a:gd name="T69" fmla="*/ 1894941 h 1624"/>
              <a:gd name="T70" fmla="*/ 804863 w 1600"/>
              <a:gd name="T71" fmla="*/ 1934574 h 1624"/>
              <a:gd name="T72" fmla="*/ 926211 w 1600"/>
              <a:gd name="T73" fmla="*/ 2006408 h 1624"/>
              <a:gd name="T74" fmla="*/ 1089660 w 1600"/>
              <a:gd name="T75" fmla="*/ 1989069 h 1624"/>
              <a:gd name="T76" fmla="*/ 1156526 w 1600"/>
              <a:gd name="T77" fmla="*/ 1907326 h 1624"/>
              <a:gd name="T78" fmla="*/ 1154049 w 1600"/>
              <a:gd name="T79" fmla="*/ 1885033 h 1624"/>
              <a:gd name="T80" fmla="*/ 1144143 w 1600"/>
              <a:gd name="T81" fmla="*/ 1867693 h 1624"/>
              <a:gd name="T82" fmla="*/ 1136714 w 1600"/>
              <a:gd name="T83" fmla="*/ 1860262 h 1624"/>
              <a:gd name="T84" fmla="*/ 1121855 w 1600"/>
              <a:gd name="T85" fmla="*/ 1850354 h 1624"/>
              <a:gd name="T86" fmla="*/ 1067372 w 1600"/>
              <a:gd name="T87" fmla="*/ 1808244 h 1624"/>
              <a:gd name="T88" fmla="*/ 1059942 w 1600"/>
              <a:gd name="T89" fmla="*/ 1793382 h 1624"/>
              <a:gd name="T90" fmla="*/ 1057466 w 1600"/>
              <a:gd name="T91" fmla="*/ 1780997 h 1624"/>
              <a:gd name="T92" fmla="*/ 1057466 w 1600"/>
              <a:gd name="T93" fmla="*/ 1771088 h 1624"/>
              <a:gd name="T94" fmla="*/ 1059942 w 1600"/>
              <a:gd name="T95" fmla="*/ 1761180 h 1624"/>
              <a:gd name="T96" fmla="*/ 1064895 w 1600"/>
              <a:gd name="T97" fmla="*/ 1753749 h 1624"/>
              <a:gd name="T98" fmla="*/ 1072325 w 1600"/>
              <a:gd name="T99" fmla="*/ 1746318 h 1624"/>
              <a:gd name="T100" fmla="*/ 1082231 w 1600"/>
              <a:gd name="T101" fmla="*/ 1736410 h 1624"/>
              <a:gd name="T102" fmla="*/ 1094613 w 1600"/>
              <a:gd name="T103" fmla="*/ 1731456 h 1624"/>
              <a:gd name="T104" fmla="*/ 1104519 w 1600"/>
              <a:gd name="T105" fmla="*/ 1726502 h 1624"/>
              <a:gd name="T106" fmla="*/ 1129284 w 1600"/>
              <a:gd name="T107" fmla="*/ 1716593 h 1624"/>
              <a:gd name="T108" fmla="*/ 1485900 w 1600"/>
              <a:gd name="T109" fmla="*/ 0 h 162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00" h="1624">
                <a:moveTo>
                  <a:pt x="1200" y="0"/>
                </a:moveTo>
                <a:lnTo>
                  <a:pt x="402" y="0"/>
                </a:lnTo>
                <a:lnTo>
                  <a:pt x="400" y="6"/>
                </a:lnTo>
                <a:lnTo>
                  <a:pt x="400" y="8"/>
                </a:lnTo>
                <a:lnTo>
                  <a:pt x="266" y="240"/>
                </a:lnTo>
                <a:lnTo>
                  <a:pt x="262" y="260"/>
                </a:lnTo>
                <a:lnTo>
                  <a:pt x="262" y="282"/>
                </a:lnTo>
                <a:lnTo>
                  <a:pt x="264" y="290"/>
                </a:lnTo>
                <a:lnTo>
                  <a:pt x="266" y="298"/>
                </a:lnTo>
                <a:lnTo>
                  <a:pt x="270" y="306"/>
                </a:lnTo>
                <a:lnTo>
                  <a:pt x="276" y="310"/>
                </a:lnTo>
                <a:lnTo>
                  <a:pt x="286" y="316"/>
                </a:lnTo>
                <a:lnTo>
                  <a:pt x="296" y="318"/>
                </a:lnTo>
                <a:lnTo>
                  <a:pt x="306" y="320"/>
                </a:lnTo>
                <a:lnTo>
                  <a:pt x="314" y="318"/>
                </a:lnTo>
                <a:lnTo>
                  <a:pt x="330" y="312"/>
                </a:lnTo>
                <a:lnTo>
                  <a:pt x="344" y="304"/>
                </a:lnTo>
                <a:lnTo>
                  <a:pt x="358" y="296"/>
                </a:lnTo>
                <a:lnTo>
                  <a:pt x="374" y="290"/>
                </a:lnTo>
                <a:lnTo>
                  <a:pt x="382" y="288"/>
                </a:lnTo>
                <a:lnTo>
                  <a:pt x="392" y="290"/>
                </a:lnTo>
                <a:lnTo>
                  <a:pt x="400" y="292"/>
                </a:lnTo>
                <a:lnTo>
                  <a:pt x="412" y="296"/>
                </a:lnTo>
                <a:lnTo>
                  <a:pt x="418" y="302"/>
                </a:lnTo>
                <a:lnTo>
                  <a:pt x="424" y="306"/>
                </a:lnTo>
                <a:lnTo>
                  <a:pt x="434" y="320"/>
                </a:lnTo>
                <a:lnTo>
                  <a:pt x="438" y="336"/>
                </a:lnTo>
                <a:lnTo>
                  <a:pt x="442" y="352"/>
                </a:lnTo>
                <a:lnTo>
                  <a:pt x="442" y="370"/>
                </a:lnTo>
                <a:lnTo>
                  <a:pt x="438" y="390"/>
                </a:lnTo>
                <a:lnTo>
                  <a:pt x="434" y="408"/>
                </a:lnTo>
                <a:lnTo>
                  <a:pt x="430" y="426"/>
                </a:lnTo>
                <a:lnTo>
                  <a:pt x="420" y="450"/>
                </a:lnTo>
                <a:lnTo>
                  <a:pt x="410" y="472"/>
                </a:lnTo>
                <a:lnTo>
                  <a:pt x="398" y="488"/>
                </a:lnTo>
                <a:lnTo>
                  <a:pt x="384" y="506"/>
                </a:lnTo>
                <a:lnTo>
                  <a:pt x="368" y="524"/>
                </a:lnTo>
                <a:lnTo>
                  <a:pt x="348" y="540"/>
                </a:lnTo>
                <a:lnTo>
                  <a:pt x="328" y="552"/>
                </a:lnTo>
                <a:lnTo>
                  <a:pt x="318" y="556"/>
                </a:lnTo>
                <a:lnTo>
                  <a:pt x="306" y="560"/>
                </a:lnTo>
                <a:lnTo>
                  <a:pt x="296" y="562"/>
                </a:lnTo>
                <a:lnTo>
                  <a:pt x="284" y="562"/>
                </a:lnTo>
                <a:lnTo>
                  <a:pt x="274" y="558"/>
                </a:lnTo>
                <a:lnTo>
                  <a:pt x="264" y="554"/>
                </a:lnTo>
                <a:lnTo>
                  <a:pt x="256" y="548"/>
                </a:lnTo>
                <a:lnTo>
                  <a:pt x="248" y="540"/>
                </a:lnTo>
                <a:lnTo>
                  <a:pt x="244" y="532"/>
                </a:lnTo>
                <a:lnTo>
                  <a:pt x="240" y="524"/>
                </a:lnTo>
                <a:lnTo>
                  <a:pt x="238" y="508"/>
                </a:lnTo>
                <a:lnTo>
                  <a:pt x="238" y="492"/>
                </a:lnTo>
                <a:lnTo>
                  <a:pt x="238" y="474"/>
                </a:lnTo>
                <a:lnTo>
                  <a:pt x="234" y="458"/>
                </a:lnTo>
                <a:lnTo>
                  <a:pt x="232" y="450"/>
                </a:lnTo>
                <a:lnTo>
                  <a:pt x="226" y="444"/>
                </a:lnTo>
                <a:lnTo>
                  <a:pt x="218" y="436"/>
                </a:lnTo>
                <a:lnTo>
                  <a:pt x="210" y="430"/>
                </a:lnTo>
                <a:lnTo>
                  <a:pt x="202" y="426"/>
                </a:lnTo>
                <a:lnTo>
                  <a:pt x="192" y="426"/>
                </a:lnTo>
                <a:lnTo>
                  <a:pt x="184" y="430"/>
                </a:lnTo>
                <a:lnTo>
                  <a:pt x="174" y="434"/>
                </a:lnTo>
                <a:lnTo>
                  <a:pt x="156" y="446"/>
                </a:lnTo>
                <a:lnTo>
                  <a:pt x="140" y="460"/>
                </a:lnTo>
                <a:lnTo>
                  <a:pt x="40" y="632"/>
                </a:lnTo>
                <a:lnTo>
                  <a:pt x="4" y="694"/>
                </a:lnTo>
                <a:lnTo>
                  <a:pt x="0" y="694"/>
                </a:lnTo>
                <a:lnTo>
                  <a:pt x="2" y="696"/>
                </a:lnTo>
                <a:lnTo>
                  <a:pt x="4" y="696"/>
                </a:lnTo>
                <a:lnTo>
                  <a:pt x="140" y="934"/>
                </a:lnTo>
                <a:lnTo>
                  <a:pt x="158" y="948"/>
                </a:lnTo>
                <a:lnTo>
                  <a:pt x="176" y="962"/>
                </a:lnTo>
                <a:lnTo>
                  <a:pt x="186" y="968"/>
                </a:lnTo>
                <a:lnTo>
                  <a:pt x="196" y="970"/>
                </a:lnTo>
                <a:lnTo>
                  <a:pt x="206" y="970"/>
                </a:lnTo>
                <a:lnTo>
                  <a:pt x="214" y="968"/>
                </a:lnTo>
                <a:lnTo>
                  <a:pt x="224" y="960"/>
                </a:lnTo>
                <a:lnTo>
                  <a:pt x="230" y="954"/>
                </a:lnTo>
                <a:lnTo>
                  <a:pt x="236" y="946"/>
                </a:lnTo>
                <a:lnTo>
                  <a:pt x="240" y="938"/>
                </a:lnTo>
                <a:lnTo>
                  <a:pt x="242" y="922"/>
                </a:lnTo>
                <a:lnTo>
                  <a:pt x="242" y="906"/>
                </a:lnTo>
                <a:lnTo>
                  <a:pt x="242" y="888"/>
                </a:lnTo>
                <a:lnTo>
                  <a:pt x="244" y="872"/>
                </a:lnTo>
                <a:lnTo>
                  <a:pt x="248" y="864"/>
                </a:lnTo>
                <a:lnTo>
                  <a:pt x="252" y="858"/>
                </a:lnTo>
                <a:lnTo>
                  <a:pt x="260" y="850"/>
                </a:lnTo>
                <a:lnTo>
                  <a:pt x="268" y="844"/>
                </a:lnTo>
                <a:lnTo>
                  <a:pt x="278" y="838"/>
                </a:lnTo>
                <a:lnTo>
                  <a:pt x="290" y="836"/>
                </a:lnTo>
                <a:lnTo>
                  <a:pt x="300" y="836"/>
                </a:lnTo>
                <a:lnTo>
                  <a:pt x="310" y="836"/>
                </a:lnTo>
                <a:lnTo>
                  <a:pt x="322" y="840"/>
                </a:lnTo>
                <a:lnTo>
                  <a:pt x="332" y="844"/>
                </a:lnTo>
                <a:lnTo>
                  <a:pt x="352" y="858"/>
                </a:lnTo>
                <a:lnTo>
                  <a:pt x="372" y="874"/>
                </a:lnTo>
                <a:lnTo>
                  <a:pt x="390" y="892"/>
                </a:lnTo>
                <a:lnTo>
                  <a:pt x="404" y="910"/>
                </a:lnTo>
                <a:lnTo>
                  <a:pt x="414" y="926"/>
                </a:lnTo>
                <a:lnTo>
                  <a:pt x="422" y="944"/>
                </a:lnTo>
                <a:lnTo>
                  <a:pt x="432" y="964"/>
                </a:lnTo>
                <a:lnTo>
                  <a:pt x="438" y="988"/>
                </a:lnTo>
                <a:lnTo>
                  <a:pt x="442" y="1012"/>
                </a:lnTo>
                <a:lnTo>
                  <a:pt x="444" y="1038"/>
                </a:lnTo>
                <a:lnTo>
                  <a:pt x="442" y="1048"/>
                </a:lnTo>
                <a:lnTo>
                  <a:pt x="440" y="1060"/>
                </a:lnTo>
                <a:lnTo>
                  <a:pt x="436" y="1070"/>
                </a:lnTo>
                <a:lnTo>
                  <a:pt x="430" y="1078"/>
                </a:lnTo>
                <a:lnTo>
                  <a:pt x="422" y="1086"/>
                </a:lnTo>
                <a:lnTo>
                  <a:pt x="412" y="1092"/>
                </a:lnTo>
                <a:lnTo>
                  <a:pt x="402" y="1098"/>
                </a:lnTo>
                <a:lnTo>
                  <a:pt x="392" y="1100"/>
                </a:lnTo>
                <a:lnTo>
                  <a:pt x="384" y="1100"/>
                </a:lnTo>
                <a:lnTo>
                  <a:pt x="376" y="1100"/>
                </a:lnTo>
                <a:lnTo>
                  <a:pt x="360" y="1094"/>
                </a:lnTo>
                <a:lnTo>
                  <a:pt x="346" y="1084"/>
                </a:lnTo>
                <a:lnTo>
                  <a:pt x="330" y="1076"/>
                </a:lnTo>
                <a:lnTo>
                  <a:pt x="316" y="1070"/>
                </a:lnTo>
                <a:lnTo>
                  <a:pt x="306" y="1070"/>
                </a:lnTo>
                <a:lnTo>
                  <a:pt x="298" y="1070"/>
                </a:lnTo>
                <a:lnTo>
                  <a:pt x="288" y="1074"/>
                </a:lnTo>
                <a:lnTo>
                  <a:pt x="278" y="1078"/>
                </a:lnTo>
                <a:lnTo>
                  <a:pt x="272" y="1084"/>
                </a:lnTo>
                <a:lnTo>
                  <a:pt x="266" y="1092"/>
                </a:lnTo>
                <a:lnTo>
                  <a:pt x="264" y="1102"/>
                </a:lnTo>
                <a:lnTo>
                  <a:pt x="264" y="1114"/>
                </a:lnTo>
                <a:lnTo>
                  <a:pt x="266" y="1136"/>
                </a:lnTo>
                <a:lnTo>
                  <a:pt x="270" y="1158"/>
                </a:lnTo>
                <a:lnTo>
                  <a:pt x="402" y="1386"/>
                </a:lnTo>
                <a:lnTo>
                  <a:pt x="668" y="1386"/>
                </a:lnTo>
                <a:lnTo>
                  <a:pt x="674" y="1388"/>
                </a:lnTo>
                <a:lnTo>
                  <a:pt x="686" y="1392"/>
                </a:lnTo>
                <a:lnTo>
                  <a:pt x="688" y="1394"/>
                </a:lnTo>
                <a:lnTo>
                  <a:pt x="692" y="1394"/>
                </a:lnTo>
                <a:lnTo>
                  <a:pt x="694" y="1396"/>
                </a:lnTo>
                <a:lnTo>
                  <a:pt x="696" y="1398"/>
                </a:lnTo>
                <a:lnTo>
                  <a:pt x="700" y="1398"/>
                </a:lnTo>
                <a:lnTo>
                  <a:pt x="702" y="1400"/>
                </a:lnTo>
                <a:lnTo>
                  <a:pt x="704" y="1402"/>
                </a:lnTo>
                <a:lnTo>
                  <a:pt x="706" y="1402"/>
                </a:lnTo>
                <a:lnTo>
                  <a:pt x="710" y="1406"/>
                </a:lnTo>
                <a:lnTo>
                  <a:pt x="714" y="1410"/>
                </a:lnTo>
                <a:lnTo>
                  <a:pt x="716" y="1410"/>
                </a:lnTo>
                <a:lnTo>
                  <a:pt x="718" y="1412"/>
                </a:lnTo>
                <a:lnTo>
                  <a:pt x="720" y="1414"/>
                </a:lnTo>
                <a:lnTo>
                  <a:pt x="722" y="1416"/>
                </a:lnTo>
                <a:lnTo>
                  <a:pt x="722" y="1418"/>
                </a:lnTo>
                <a:lnTo>
                  <a:pt x="724" y="1420"/>
                </a:lnTo>
                <a:lnTo>
                  <a:pt x="724" y="1422"/>
                </a:lnTo>
                <a:lnTo>
                  <a:pt x="726" y="1424"/>
                </a:lnTo>
                <a:lnTo>
                  <a:pt x="726" y="1426"/>
                </a:lnTo>
                <a:lnTo>
                  <a:pt x="726" y="1430"/>
                </a:lnTo>
                <a:lnTo>
                  <a:pt x="726" y="1436"/>
                </a:lnTo>
                <a:lnTo>
                  <a:pt x="726" y="1438"/>
                </a:lnTo>
                <a:lnTo>
                  <a:pt x="726" y="1442"/>
                </a:lnTo>
                <a:lnTo>
                  <a:pt x="724" y="1444"/>
                </a:lnTo>
                <a:lnTo>
                  <a:pt x="724" y="1448"/>
                </a:lnTo>
                <a:lnTo>
                  <a:pt x="720" y="1458"/>
                </a:lnTo>
                <a:lnTo>
                  <a:pt x="716" y="1464"/>
                </a:lnTo>
                <a:lnTo>
                  <a:pt x="710" y="1470"/>
                </a:lnTo>
                <a:lnTo>
                  <a:pt x="704" y="1476"/>
                </a:lnTo>
                <a:lnTo>
                  <a:pt x="690" y="1484"/>
                </a:lnTo>
                <a:lnTo>
                  <a:pt x="676" y="1492"/>
                </a:lnTo>
                <a:lnTo>
                  <a:pt x="674" y="1494"/>
                </a:lnTo>
                <a:lnTo>
                  <a:pt x="672" y="1494"/>
                </a:lnTo>
                <a:lnTo>
                  <a:pt x="668" y="1498"/>
                </a:lnTo>
                <a:lnTo>
                  <a:pt x="666" y="1498"/>
                </a:lnTo>
                <a:lnTo>
                  <a:pt x="662" y="1502"/>
                </a:lnTo>
                <a:lnTo>
                  <a:pt x="660" y="1504"/>
                </a:lnTo>
                <a:lnTo>
                  <a:pt x="656" y="1508"/>
                </a:lnTo>
                <a:lnTo>
                  <a:pt x="652" y="1514"/>
                </a:lnTo>
                <a:lnTo>
                  <a:pt x="650" y="1522"/>
                </a:lnTo>
                <a:lnTo>
                  <a:pt x="648" y="1530"/>
                </a:lnTo>
                <a:lnTo>
                  <a:pt x="648" y="1532"/>
                </a:lnTo>
                <a:lnTo>
                  <a:pt x="646" y="1540"/>
                </a:lnTo>
                <a:lnTo>
                  <a:pt x="648" y="1552"/>
                </a:lnTo>
                <a:lnTo>
                  <a:pt x="650" y="1562"/>
                </a:lnTo>
                <a:lnTo>
                  <a:pt x="656" y="1572"/>
                </a:lnTo>
                <a:lnTo>
                  <a:pt x="662" y="1580"/>
                </a:lnTo>
                <a:lnTo>
                  <a:pt x="670" y="1588"/>
                </a:lnTo>
                <a:lnTo>
                  <a:pt x="680" y="1594"/>
                </a:lnTo>
                <a:lnTo>
                  <a:pt x="700" y="1606"/>
                </a:lnTo>
                <a:lnTo>
                  <a:pt x="724" y="1614"/>
                </a:lnTo>
                <a:lnTo>
                  <a:pt x="748" y="1620"/>
                </a:lnTo>
                <a:lnTo>
                  <a:pt x="770" y="1624"/>
                </a:lnTo>
                <a:lnTo>
                  <a:pt x="790" y="1624"/>
                </a:lnTo>
                <a:lnTo>
                  <a:pt x="810" y="1624"/>
                </a:lnTo>
                <a:lnTo>
                  <a:pt x="832" y="1620"/>
                </a:lnTo>
                <a:lnTo>
                  <a:pt x="856" y="1614"/>
                </a:lnTo>
                <a:lnTo>
                  <a:pt x="880" y="1606"/>
                </a:lnTo>
                <a:lnTo>
                  <a:pt x="902" y="1594"/>
                </a:lnTo>
                <a:lnTo>
                  <a:pt x="910" y="1588"/>
                </a:lnTo>
                <a:lnTo>
                  <a:pt x="918" y="1580"/>
                </a:lnTo>
                <a:lnTo>
                  <a:pt x="926" y="1572"/>
                </a:lnTo>
                <a:lnTo>
                  <a:pt x="930" y="1562"/>
                </a:lnTo>
                <a:lnTo>
                  <a:pt x="934" y="1552"/>
                </a:lnTo>
                <a:lnTo>
                  <a:pt x="934" y="1540"/>
                </a:lnTo>
                <a:lnTo>
                  <a:pt x="934" y="1532"/>
                </a:lnTo>
                <a:lnTo>
                  <a:pt x="934" y="1530"/>
                </a:lnTo>
                <a:lnTo>
                  <a:pt x="932" y="1522"/>
                </a:lnTo>
                <a:lnTo>
                  <a:pt x="930" y="1522"/>
                </a:lnTo>
                <a:lnTo>
                  <a:pt x="928" y="1514"/>
                </a:lnTo>
                <a:lnTo>
                  <a:pt x="924" y="1508"/>
                </a:lnTo>
                <a:lnTo>
                  <a:pt x="920" y="1504"/>
                </a:lnTo>
                <a:lnTo>
                  <a:pt x="918" y="1502"/>
                </a:lnTo>
                <a:lnTo>
                  <a:pt x="914" y="1498"/>
                </a:lnTo>
                <a:lnTo>
                  <a:pt x="912" y="1498"/>
                </a:lnTo>
                <a:lnTo>
                  <a:pt x="908" y="1494"/>
                </a:lnTo>
                <a:lnTo>
                  <a:pt x="906" y="1494"/>
                </a:lnTo>
                <a:lnTo>
                  <a:pt x="904" y="1492"/>
                </a:lnTo>
                <a:lnTo>
                  <a:pt x="890" y="1484"/>
                </a:lnTo>
                <a:lnTo>
                  <a:pt x="878" y="1476"/>
                </a:lnTo>
                <a:lnTo>
                  <a:pt x="866" y="1466"/>
                </a:lnTo>
                <a:lnTo>
                  <a:pt x="862" y="1460"/>
                </a:lnTo>
                <a:lnTo>
                  <a:pt x="858" y="1454"/>
                </a:lnTo>
                <a:lnTo>
                  <a:pt x="856" y="1448"/>
                </a:lnTo>
                <a:lnTo>
                  <a:pt x="856" y="1444"/>
                </a:lnTo>
                <a:lnTo>
                  <a:pt x="856" y="1442"/>
                </a:lnTo>
                <a:lnTo>
                  <a:pt x="854" y="1438"/>
                </a:lnTo>
                <a:lnTo>
                  <a:pt x="854" y="1436"/>
                </a:lnTo>
                <a:lnTo>
                  <a:pt x="854" y="1430"/>
                </a:lnTo>
                <a:lnTo>
                  <a:pt x="854" y="1426"/>
                </a:lnTo>
                <a:lnTo>
                  <a:pt x="856" y="1424"/>
                </a:lnTo>
                <a:lnTo>
                  <a:pt x="856" y="1422"/>
                </a:lnTo>
                <a:lnTo>
                  <a:pt x="856" y="1420"/>
                </a:lnTo>
                <a:lnTo>
                  <a:pt x="858" y="1418"/>
                </a:lnTo>
                <a:lnTo>
                  <a:pt x="860" y="1416"/>
                </a:lnTo>
                <a:lnTo>
                  <a:pt x="862" y="1414"/>
                </a:lnTo>
                <a:lnTo>
                  <a:pt x="862" y="1412"/>
                </a:lnTo>
                <a:lnTo>
                  <a:pt x="864" y="1410"/>
                </a:lnTo>
                <a:lnTo>
                  <a:pt x="866" y="1410"/>
                </a:lnTo>
                <a:lnTo>
                  <a:pt x="870" y="1406"/>
                </a:lnTo>
                <a:lnTo>
                  <a:pt x="874" y="1402"/>
                </a:lnTo>
                <a:lnTo>
                  <a:pt x="876" y="1402"/>
                </a:lnTo>
                <a:lnTo>
                  <a:pt x="880" y="1400"/>
                </a:lnTo>
                <a:lnTo>
                  <a:pt x="882" y="1398"/>
                </a:lnTo>
                <a:lnTo>
                  <a:pt x="884" y="1398"/>
                </a:lnTo>
                <a:lnTo>
                  <a:pt x="886" y="1396"/>
                </a:lnTo>
                <a:lnTo>
                  <a:pt x="890" y="1394"/>
                </a:lnTo>
                <a:lnTo>
                  <a:pt x="892" y="1394"/>
                </a:lnTo>
                <a:lnTo>
                  <a:pt x="894" y="1392"/>
                </a:lnTo>
                <a:lnTo>
                  <a:pt x="906" y="1388"/>
                </a:lnTo>
                <a:lnTo>
                  <a:pt x="908" y="1388"/>
                </a:lnTo>
                <a:lnTo>
                  <a:pt x="912" y="1386"/>
                </a:lnTo>
                <a:lnTo>
                  <a:pt x="1200" y="1386"/>
                </a:lnTo>
                <a:lnTo>
                  <a:pt x="1200" y="1384"/>
                </a:lnTo>
                <a:lnTo>
                  <a:pt x="1600" y="694"/>
                </a:lnTo>
                <a:lnTo>
                  <a:pt x="1200" y="0"/>
                </a:lnTo>
                <a:close/>
              </a:path>
            </a:pathLst>
          </a:custGeom>
          <a:solidFill>
            <a:srgbClr val="D0E6A7"/>
          </a:solidFill>
          <a:ln w="38100" cap="flat" cmpd="sng">
            <a:solidFill>
              <a:srgbClr val="D0E6A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37" name="Oval 1">
            <a:extLst>
              <a:ext uri="{FF2B5EF4-FFF2-40B4-BE49-F238E27FC236}">
                <a16:creationId xmlns:a16="http://schemas.microsoft.com/office/drawing/2014/main" xmlns="" id="{BEBC934E-895D-447C-92AC-BD8418248EB4}"/>
              </a:ext>
            </a:extLst>
          </p:cNvPr>
          <p:cNvSpPr/>
          <p:nvPr/>
        </p:nvSpPr>
        <p:spPr>
          <a:xfrm>
            <a:off x="3483004" y="954329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Oval 22">
            <a:extLst>
              <a:ext uri="{FF2B5EF4-FFF2-40B4-BE49-F238E27FC236}">
                <a16:creationId xmlns:a16="http://schemas.microsoft.com/office/drawing/2014/main" xmlns="" id="{FC57B859-61A8-48D0-9AD7-B47DA04BB439}"/>
              </a:ext>
            </a:extLst>
          </p:cNvPr>
          <p:cNvSpPr/>
          <p:nvPr/>
        </p:nvSpPr>
        <p:spPr>
          <a:xfrm>
            <a:off x="7452790" y="2384342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9" name="Oval 23">
            <a:extLst>
              <a:ext uri="{FF2B5EF4-FFF2-40B4-BE49-F238E27FC236}">
                <a16:creationId xmlns:a16="http://schemas.microsoft.com/office/drawing/2014/main" xmlns="" id="{8DDA097B-695B-45FD-AE55-D206B34901EB}"/>
              </a:ext>
            </a:extLst>
          </p:cNvPr>
          <p:cNvSpPr/>
          <p:nvPr/>
        </p:nvSpPr>
        <p:spPr>
          <a:xfrm>
            <a:off x="7452790" y="4286349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40" name="CaixaDeTexto 44">
            <a:extLst>
              <a:ext uri="{FF2B5EF4-FFF2-40B4-BE49-F238E27FC236}">
                <a16:creationId xmlns:a16="http://schemas.microsoft.com/office/drawing/2014/main" xmlns="" id="{8FF904A2-BA52-4B34-AFA4-0F8EF6B304A5}"/>
              </a:ext>
            </a:extLst>
          </p:cNvPr>
          <p:cNvSpPr txBox="1"/>
          <p:nvPr/>
        </p:nvSpPr>
        <p:spPr>
          <a:xfrm>
            <a:off x="3947784" y="914624"/>
            <a:ext cx="171099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b="1" dirty="0">
                <a:solidFill>
                  <a:srgbClr val="FFFFFF"/>
                </a:solidFill>
                <a:latin typeface="Candara"/>
              </a:rPr>
              <a:t>O caso de Pernambuco: 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resultados positivos em </a:t>
            </a:r>
            <a:r>
              <a:rPr lang="pt-BR" b="1" dirty="0">
                <a:solidFill>
                  <a:srgbClr val="FFFFFF"/>
                </a:solidFill>
                <a:latin typeface="Candara"/>
              </a:rPr>
              <a:t>aprendizagem e fluxo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.</a:t>
            </a:r>
          </a:p>
        </p:txBody>
      </p:sp>
      <p:sp>
        <p:nvSpPr>
          <p:cNvPr id="41" name="CaixaDeTexto 45">
            <a:extLst>
              <a:ext uri="{FF2B5EF4-FFF2-40B4-BE49-F238E27FC236}">
                <a16:creationId xmlns:a16="http://schemas.microsoft.com/office/drawing/2014/main" xmlns="" id="{064D554D-5E66-44AB-A2A9-337A9D5E67CA}"/>
              </a:ext>
            </a:extLst>
          </p:cNvPr>
          <p:cNvSpPr txBox="1"/>
          <p:nvPr/>
        </p:nvSpPr>
        <p:spPr>
          <a:xfrm>
            <a:off x="5884668" y="1766446"/>
            <a:ext cx="176256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O caso de Pernambuco: resultados positivos na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diminuição das desigualdades sociais.</a:t>
            </a:r>
          </a:p>
        </p:txBody>
      </p:sp>
      <p:sp>
        <p:nvSpPr>
          <p:cNvPr id="42" name="CaixaDeTexto 51">
            <a:extLst>
              <a:ext uri="{FF2B5EF4-FFF2-40B4-BE49-F238E27FC236}">
                <a16:creationId xmlns:a16="http://schemas.microsoft.com/office/drawing/2014/main" xmlns="" id="{56EDCF84-C42F-4D6B-9FA3-BFC049EFE9F1}"/>
              </a:ext>
            </a:extLst>
          </p:cNvPr>
          <p:cNvSpPr txBox="1"/>
          <p:nvPr/>
        </p:nvSpPr>
        <p:spPr>
          <a:xfrm>
            <a:off x="5951798" y="3842439"/>
            <a:ext cx="162830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Política de fomento às escolas integrais e os seus resultados iniciais.  </a:t>
            </a:r>
          </a:p>
        </p:txBody>
      </p:sp>
      <p:sp>
        <p:nvSpPr>
          <p:cNvPr id="43" name="CaixaDeTexto 51">
            <a:extLst>
              <a:ext uri="{FF2B5EF4-FFF2-40B4-BE49-F238E27FC236}">
                <a16:creationId xmlns:a16="http://schemas.microsoft.com/office/drawing/2014/main" xmlns="" id="{704DCEA1-97BD-49D3-9F02-3F567338BF58}"/>
              </a:ext>
            </a:extLst>
          </p:cNvPr>
          <p:cNvSpPr txBox="1"/>
          <p:nvPr/>
        </p:nvSpPr>
        <p:spPr>
          <a:xfrm>
            <a:off x="3898558" y="4687692"/>
            <a:ext cx="191959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chemeClr val="tx2"/>
                </a:solidFill>
                <a:latin typeface="Candara"/>
              </a:rPr>
              <a:t>É possível expandir as escolas integrais, de forma </a:t>
            </a:r>
            <a:r>
              <a:rPr lang="pt-BR" b="1" dirty="0">
                <a:solidFill>
                  <a:schemeClr val="tx2"/>
                </a:solidFill>
                <a:latin typeface="Candara"/>
              </a:rPr>
              <a:t>eficiente</a:t>
            </a:r>
            <a:r>
              <a:rPr lang="pt-BR" dirty="0">
                <a:solidFill>
                  <a:schemeClr val="tx2"/>
                </a:solidFill>
                <a:latin typeface="Candara"/>
              </a:rPr>
              <a:t> e priorizando as comunidades </a:t>
            </a:r>
            <a:r>
              <a:rPr lang="pt-BR" b="1" dirty="0">
                <a:solidFill>
                  <a:schemeClr val="tx2"/>
                </a:solidFill>
                <a:latin typeface="Candara"/>
              </a:rPr>
              <a:t>vulneráveis </a:t>
            </a:r>
          </a:p>
          <a:p>
            <a:endParaRPr lang="pt-BR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xmlns="" id="{C76A547C-98DC-4233-A717-582AAAEBA35C}"/>
              </a:ext>
            </a:extLst>
          </p:cNvPr>
          <p:cNvSpPr/>
          <p:nvPr/>
        </p:nvSpPr>
        <p:spPr>
          <a:xfrm>
            <a:off x="1868244" y="3942717"/>
            <a:ext cx="17109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FFFFFF"/>
                </a:solidFill>
                <a:latin typeface="+mj-lt"/>
              </a:rPr>
              <a:t>Os estudantes demonstram </a:t>
            </a:r>
            <a:r>
              <a:rPr lang="pt-BR" b="1" dirty="0">
                <a:solidFill>
                  <a:srgbClr val="FFFFFF"/>
                </a:solidFill>
                <a:latin typeface="+mj-lt"/>
              </a:rPr>
              <a:t>satisfação com as escolas integrais</a:t>
            </a:r>
          </a:p>
        </p:txBody>
      </p:sp>
      <p:sp>
        <p:nvSpPr>
          <p:cNvPr id="45" name="CaixaDeTexto 48">
            <a:extLst>
              <a:ext uri="{FF2B5EF4-FFF2-40B4-BE49-F238E27FC236}">
                <a16:creationId xmlns:a16="http://schemas.microsoft.com/office/drawing/2014/main" xmlns="" id="{42021399-6090-4881-900A-DD5F9715C01F}"/>
              </a:ext>
            </a:extLst>
          </p:cNvPr>
          <p:cNvSpPr txBox="1"/>
          <p:nvPr/>
        </p:nvSpPr>
        <p:spPr>
          <a:xfrm>
            <a:off x="1929789" y="1778155"/>
            <a:ext cx="181360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FFFFFF"/>
                </a:solidFill>
                <a:latin typeface="Candara"/>
              </a:rPr>
              <a:t>As escolas integrais podem contribuir na </a:t>
            </a:r>
            <a:r>
              <a:rPr lang="pt-BR" b="1" dirty="0">
                <a:solidFill>
                  <a:srgbClr val="FFFFFF"/>
                </a:solidFill>
                <a:latin typeface="Candara"/>
              </a:rPr>
              <a:t>ressignificação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 do ensino médio para os jovens </a:t>
            </a:r>
          </a:p>
        </p:txBody>
      </p:sp>
      <p:sp>
        <p:nvSpPr>
          <p:cNvPr id="22" name="Freeform 2">
            <a:extLst>
              <a:ext uri="{FF2B5EF4-FFF2-40B4-BE49-F238E27FC236}">
                <a16:creationId xmlns:a16="http://schemas.microsoft.com/office/drawing/2014/main" xmlns="" id="{D4898DFF-F192-4581-AE77-C252C096A126}"/>
              </a:ext>
            </a:extLst>
          </p:cNvPr>
          <p:cNvSpPr>
            <a:spLocks/>
          </p:cNvSpPr>
          <p:nvPr/>
        </p:nvSpPr>
        <p:spPr bwMode="auto">
          <a:xfrm>
            <a:off x="3308374" y="2372653"/>
            <a:ext cx="2602550" cy="2416976"/>
          </a:xfrm>
          <a:custGeom>
            <a:avLst/>
            <a:gdLst>
              <a:gd name="T0" fmla="*/ 1129970 w 1690"/>
              <a:gd name="T1" fmla="*/ 250237 h 1862"/>
              <a:gd name="T2" fmla="*/ 1159706 w 1690"/>
              <a:gd name="T3" fmla="*/ 180864 h 1862"/>
              <a:gd name="T4" fmla="*/ 1226612 w 1690"/>
              <a:gd name="T5" fmla="*/ 104059 h 1862"/>
              <a:gd name="T6" fmla="*/ 1186964 w 1690"/>
              <a:gd name="T7" fmla="*/ 37164 h 1862"/>
              <a:gd name="T8" fmla="*/ 1025893 w 1690"/>
              <a:gd name="T9" fmla="*/ 0 h 1862"/>
              <a:gd name="T10" fmla="*/ 882169 w 1690"/>
              <a:gd name="T11" fmla="*/ 66895 h 1862"/>
              <a:gd name="T12" fmla="*/ 879691 w 1690"/>
              <a:gd name="T13" fmla="*/ 138745 h 1862"/>
              <a:gd name="T14" fmla="*/ 963943 w 1690"/>
              <a:gd name="T15" fmla="*/ 213073 h 1862"/>
              <a:gd name="T16" fmla="*/ 936685 w 1690"/>
              <a:gd name="T17" fmla="*/ 277490 h 1862"/>
              <a:gd name="T18" fmla="*/ 332052 w 1690"/>
              <a:gd name="T19" fmla="*/ 636741 h 1862"/>
              <a:gd name="T20" fmla="*/ 262668 w 1690"/>
              <a:gd name="T21" fmla="*/ 626831 h 1862"/>
              <a:gd name="T22" fmla="*/ 242844 w 1690"/>
              <a:gd name="T23" fmla="*/ 515339 h 1862"/>
              <a:gd name="T24" fmla="*/ 175938 w 1690"/>
              <a:gd name="T25" fmla="*/ 480653 h 1862"/>
              <a:gd name="T26" fmla="*/ 49560 w 1690"/>
              <a:gd name="T27" fmla="*/ 572324 h 1862"/>
              <a:gd name="T28" fmla="*/ 0 w 1690"/>
              <a:gd name="T29" fmla="*/ 730890 h 1862"/>
              <a:gd name="T30" fmla="*/ 37170 w 1690"/>
              <a:gd name="T31" fmla="*/ 797785 h 1862"/>
              <a:gd name="T32" fmla="*/ 138768 w 1690"/>
              <a:gd name="T33" fmla="*/ 777964 h 1862"/>
              <a:gd name="T34" fmla="*/ 213108 w 1690"/>
              <a:gd name="T35" fmla="*/ 787874 h 1862"/>
              <a:gd name="T36" fmla="*/ 220542 w 1690"/>
              <a:gd name="T37" fmla="*/ 1427093 h 1862"/>
              <a:gd name="T38" fmla="*/ 213108 w 1690"/>
              <a:gd name="T39" fmla="*/ 1531152 h 1862"/>
              <a:gd name="T40" fmla="*/ 128856 w 1690"/>
              <a:gd name="T41" fmla="*/ 1523719 h 1862"/>
              <a:gd name="T42" fmla="*/ 44604 w 1690"/>
              <a:gd name="T43" fmla="*/ 1513809 h 1862"/>
              <a:gd name="T44" fmla="*/ 7434 w 1690"/>
              <a:gd name="T45" fmla="*/ 1612912 h 1862"/>
              <a:gd name="T46" fmla="*/ 74340 w 1690"/>
              <a:gd name="T47" fmla="*/ 1764045 h 1862"/>
              <a:gd name="T48" fmla="*/ 198240 w 1690"/>
              <a:gd name="T49" fmla="*/ 1833418 h 1862"/>
              <a:gd name="T50" fmla="*/ 252756 w 1690"/>
              <a:gd name="T51" fmla="*/ 1786344 h 1862"/>
              <a:gd name="T52" fmla="*/ 280014 w 1690"/>
              <a:gd name="T53" fmla="*/ 1677330 h 1862"/>
              <a:gd name="T54" fmla="*/ 366745 w 1690"/>
              <a:gd name="T55" fmla="*/ 1694673 h 1862"/>
              <a:gd name="T56" fmla="*/ 949075 w 1690"/>
              <a:gd name="T57" fmla="*/ 2036580 h 1862"/>
              <a:gd name="T58" fmla="*/ 961465 w 1690"/>
              <a:gd name="T59" fmla="*/ 2103475 h 1862"/>
              <a:gd name="T60" fmla="*/ 874735 w 1690"/>
              <a:gd name="T61" fmla="*/ 2177803 h 1862"/>
              <a:gd name="T62" fmla="*/ 889603 w 1690"/>
              <a:gd name="T63" fmla="*/ 2252131 h 1862"/>
              <a:gd name="T64" fmla="*/ 1048196 w 1690"/>
              <a:gd name="T65" fmla="*/ 2306638 h 1862"/>
              <a:gd name="T66" fmla="*/ 1196876 w 1690"/>
              <a:gd name="T67" fmla="*/ 2262041 h 1862"/>
              <a:gd name="T68" fmla="*/ 1226612 w 1690"/>
              <a:gd name="T69" fmla="*/ 2187714 h 1862"/>
              <a:gd name="T70" fmla="*/ 1142360 w 1690"/>
              <a:gd name="T71" fmla="*/ 2110908 h 1862"/>
              <a:gd name="T72" fmla="*/ 1137404 w 1690"/>
              <a:gd name="T73" fmla="*/ 2046491 h 1862"/>
              <a:gd name="T74" fmla="*/ 1717256 w 1690"/>
              <a:gd name="T75" fmla="*/ 1709538 h 1862"/>
              <a:gd name="T76" fmla="*/ 1803987 w 1690"/>
              <a:gd name="T77" fmla="*/ 1672374 h 1862"/>
              <a:gd name="T78" fmla="*/ 1838679 w 1690"/>
              <a:gd name="T79" fmla="*/ 1771478 h 1862"/>
              <a:gd name="T80" fmla="*/ 1883283 w 1690"/>
              <a:gd name="T81" fmla="*/ 1833418 h 1862"/>
              <a:gd name="T82" fmla="*/ 1999749 w 1690"/>
              <a:gd name="T83" fmla="*/ 1788821 h 1862"/>
              <a:gd name="T84" fmla="*/ 2081523 w 1690"/>
              <a:gd name="T85" fmla="*/ 1647599 h 1862"/>
              <a:gd name="T86" fmla="*/ 2061699 w 1690"/>
              <a:gd name="T87" fmla="*/ 1526197 h 1862"/>
              <a:gd name="T88" fmla="*/ 1984881 w 1690"/>
              <a:gd name="T89" fmla="*/ 1516286 h 1862"/>
              <a:gd name="T90" fmla="*/ 1883283 w 1690"/>
              <a:gd name="T91" fmla="*/ 1536107 h 1862"/>
              <a:gd name="T92" fmla="*/ 1870893 w 1690"/>
              <a:gd name="T93" fmla="*/ 1441958 h 1862"/>
              <a:gd name="T94" fmla="*/ 1873371 w 1690"/>
              <a:gd name="T95" fmla="*/ 785397 h 1862"/>
              <a:gd name="T96" fmla="*/ 1935321 w 1690"/>
              <a:gd name="T97" fmla="*/ 758143 h 1862"/>
              <a:gd name="T98" fmla="*/ 2041875 w 1690"/>
              <a:gd name="T99" fmla="*/ 792829 h 1862"/>
              <a:gd name="T100" fmla="*/ 2091435 w 1690"/>
              <a:gd name="T101" fmla="*/ 730890 h 1862"/>
              <a:gd name="T102" fmla="*/ 2056743 w 1690"/>
              <a:gd name="T103" fmla="*/ 579756 h 1862"/>
              <a:gd name="T104" fmla="*/ 1927887 w 1690"/>
              <a:gd name="T105" fmla="*/ 468265 h 1862"/>
              <a:gd name="T106" fmla="*/ 1856025 w 1690"/>
              <a:gd name="T107" fmla="*/ 495518 h 1862"/>
              <a:gd name="T108" fmla="*/ 1836201 w 1690"/>
              <a:gd name="T109" fmla="*/ 604532 h 1862"/>
              <a:gd name="T110" fmla="*/ 1774251 w 1690"/>
              <a:gd name="T111" fmla="*/ 631786 h 186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90" h="1862">
                <a:moveTo>
                  <a:pt x="982" y="242"/>
                </a:moveTo>
                <a:lnTo>
                  <a:pt x="982" y="242"/>
                </a:lnTo>
                <a:lnTo>
                  <a:pt x="960" y="236"/>
                </a:lnTo>
                <a:lnTo>
                  <a:pt x="936" y="224"/>
                </a:lnTo>
                <a:lnTo>
                  <a:pt x="926" y="218"/>
                </a:lnTo>
                <a:lnTo>
                  <a:pt x="918" y="212"/>
                </a:lnTo>
                <a:lnTo>
                  <a:pt x="912" y="202"/>
                </a:lnTo>
                <a:lnTo>
                  <a:pt x="910" y="194"/>
                </a:lnTo>
                <a:lnTo>
                  <a:pt x="912" y="182"/>
                </a:lnTo>
                <a:lnTo>
                  <a:pt x="914" y="172"/>
                </a:lnTo>
                <a:lnTo>
                  <a:pt x="918" y="164"/>
                </a:lnTo>
                <a:lnTo>
                  <a:pt x="922" y="158"/>
                </a:lnTo>
                <a:lnTo>
                  <a:pt x="936" y="146"/>
                </a:lnTo>
                <a:lnTo>
                  <a:pt x="950" y="138"/>
                </a:lnTo>
                <a:lnTo>
                  <a:pt x="964" y="130"/>
                </a:lnTo>
                <a:lnTo>
                  <a:pt x="978" y="120"/>
                </a:lnTo>
                <a:lnTo>
                  <a:pt x="982" y="112"/>
                </a:lnTo>
                <a:lnTo>
                  <a:pt x="986" y="104"/>
                </a:lnTo>
                <a:lnTo>
                  <a:pt x="990" y="96"/>
                </a:lnTo>
                <a:lnTo>
                  <a:pt x="990" y="84"/>
                </a:lnTo>
                <a:lnTo>
                  <a:pt x="990" y="72"/>
                </a:lnTo>
                <a:lnTo>
                  <a:pt x="986" y="62"/>
                </a:lnTo>
                <a:lnTo>
                  <a:pt x="982" y="54"/>
                </a:lnTo>
                <a:lnTo>
                  <a:pt x="974" y="44"/>
                </a:lnTo>
                <a:lnTo>
                  <a:pt x="966" y="36"/>
                </a:lnTo>
                <a:lnTo>
                  <a:pt x="958" y="30"/>
                </a:lnTo>
                <a:lnTo>
                  <a:pt x="936" y="18"/>
                </a:lnTo>
                <a:lnTo>
                  <a:pt x="912" y="10"/>
                </a:lnTo>
                <a:lnTo>
                  <a:pt x="888" y="4"/>
                </a:lnTo>
                <a:lnTo>
                  <a:pt x="866" y="0"/>
                </a:lnTo>
                <a:lnTo>
                  <a:pt x="846" y="0"/>
                </a:lnTo>
                <a:lnTo>
                  <a:pt x="828" y="0"/>
                </a:lnTo>
                <a:lnTo>
                  <a:pt x="804" y="4"/>
                </a:lnTo>
                <a:lnTo>
                  <a:pt x="780" y="10"/>
                </a:lnTo>
                <a:lnTo>
                  <a:pt x="756" y="18"/>
                </a:lnTo>
                <a:lnTo>
                  <a:pt x="736" y="30"/>
                </a:lnTo>
                <a:lnTo>
                  <a:pt x="726" y="36"/>
                </a:lnTo>
                <a:lnTo>
                  <a:pt x="718" y="44"/>
                </a:lnTo>
                <a:lnTo>
                  <a:pt x="712" y="54"/>
                </a:lnTo>
                <a:lnTo>
                  <a:pt x="706" y="62"/>
                </a:lnTo>
                <a:lnTo>
                  <a:pt x="704" y="72"/>
                </a:lnTo>
                <a:lnTo>
                  <a:pt x="702" y="84"/>
                </a:lnTo>
                <a:lnTo>
                  <a:pt x="704" y="96"/>
                </a:lnTo>
                <a:lnTo>
                  <a:pt x="706" y="104"/>
                </a:lnTo>
                <a:lnTo>
                  <a:pt x="710" y="112"/>
                </a:lnTo>
                <a:lnTo>
                  <a:pt x="716" y="120"/>
                </a:lnTo>
                <a:lnTo>
                  <a:pt x="728" y="130"/>
                </a:lnTo>
                <a:lnTo>
                  <a:pt x="742" y="138"/>
                </a:lnTo>
                <a:lnTo>
                  <a:pt x="758" y="146"/>
                </a:lnTo>
                <a:lnTo>
                  <a:pt x="770" y="158"/>
                </a:lnTo>
                <a:lnTo>
                  <a:pt x="776" y="164"/>
                </a:lnTo>
                <a:lnTo>
                  <a:pt x="778" y="172"/>
                </a:lnTo>
                <a:lnTo>
                  <a:pt x="782" y="182"/>
                </a:lnTo>
                <a:lnTo>
                  <a:pt x="782" y="194"/>
                </a:lnTo>
                <a:lnTo>
                  <a:pt x="780" y="202"/>
                </a:lnTo>
                <a:lnTo>
                  <a:pt x="774" y="212"/>
                </a:lnTo>
                <a:lnTo>
                  <a:pt x="766" y="218"/>
                </a:lnTo>
                <a:lnTo>
                  <a:pt x="756" y="224"/>
                </a:lnTo>
                <a:lnTo>
                  <a:pt x="734" y="236"/>
                </a:lnTo>
                <a:lnTo>
                  <a:pt x="712" y="242"/>
                </a:lnTo>
                <a:lnTo>
                  <a:pt x="446" y="238"/>
                </a:lnTo>
                <a:lnTo>
                  <a:pt x="306" y="484"/>
                </a:lnTo>
                <a:lnTo>
                  <a:pt x="288" y="500"/>
                </a:lnTo>
                <a:lnTo>
                  <a:pt x="268" y="514"/>
                </a:lnTo>
                <a:lnTo>
                  <a:pt x="258" y="518"/>
                </a:lnTo>
                <a:lnTo>
                  <a:pt x="248" y="522"/>
                </a:lnTo>
                <a:lnTo>
                  <a:pt x="238" y="522"/>
                </a:lnTo>
                <a:lnTo>
                  <a:pt x="230" y="520"/>
                </a:lnTo>
                <a:lnTo>
                  <a:pt x="220" y="514"/>
                </a:lnTo>
                <a:lnTo>
                  <a:pt x="212" y="506"/>
                </a:lnTo>
                <a:lnTo>
                  <a:pt x="208" y="498"/>
                </a:lnTo>
                <a:lnTo>
                  <a:pt x="204" y="490"/>
                </a:lnTo>
                <a:lnTo>
                  <a:pt x="200" y="474"/>
                </a:lnTo>
                <a:lnTo>
                  <a:pt x="200" y="458"/>
                </a:lnTo>
                <a:lnTo>
                  <a:pt x="200" y="442"/>
                </a:lnTo>
                <a:lnTo>
                  <a:pt x="198" y="424"/>
                </a:lnTo>
                <a:lnTo>
                  <a:pt x="196" y="416"/>
                </a:lnTo>
                <a:lnTo>
                  <a:pt x="190" y="410"/>
                </a:lnTo>
                <a:lnTo>
                  <a:pt x="184" y="402"/>
                </a:lnTo>
                <a:lnTo>
                  <a:pt x="174" y="396"/>
                </a:lnTo>
                <a:lnTo>
                  <a:pt x="164" y="390"/>
                </a:lnTo>
                <a:lnTo>
                  <a:pt x="154" y="388"/>
                </a:lnTo>
                <a:lnTo>
                  <a:pt x="142" y="388"/>
                </a:lnTo>
                <a:lnTo>
                  <a:pt x="132" y="390"/>
                </a:lnTo>
                <a:lnTo>
                  <a:pt x="122" y="392"/>
                </a:lnTo>
                <a:lnTo>
                  <a:pt x="110" y="398"/>
                </a:lnTo>
                <a:lnTo>
                  <a:pt x="90" y="410"/>
                </a:lnTo>
                <a:lnTo>
                  <a:pt x="70" y="426"/>
                </a:lnTo>
                <a:lnTo>
                  <a:pt x="54" y="444"/>
                </a:lnTo>
                <a:lnTo>
                  <a:pt x="40" y="462"/>
                </a:lnTo>
                <a:lnTo>
                  <a:pt x="30" y="478"/>
                </a:lnTo>
                <a:lnTo>
                  <a:pt x="20" y="496"/>
                </a:lnTo>
                <a:lnTo>
                  <a:pt x="12" y="516"/>
                </a:lnTo>
                <a:lnTo>
                  <a:pt x="4" y="540"/>
                </a:lnTo>
                <a:lnTo>
                  <a:pt x="0" y="566"/>
                </a:lnTo>
                <a:lnTo>
                  <a:pt x="0" y="590"/>
                </a:lnTo>
                <a:lnTo>
                  <a:pt x="2" y="602"/>
                </a:lnTo>
                <a:lnTo>
                  <a:pt x="4" y="612"/>
                </a:lnTo>
                <a:lnTo>
                  <a:pt x="8" y="622"/>
                </a:lnTo>
                <a:lnTo>
                  <a:pt x="14" y="630"/>
                </a:lnTo>
                <a:lnTo>
                  <a:pt x="20" y="638"/>
                </a:lnTo>
                <a:lnTo>
                  <a:pt x="30" y="644"/>
                </a:lnTo>
                <a:lnTo>
                  <a:pt x="40" y="650"/>
                </a:lnTo>
                <a:lnTo>
                  <a:pt x="50" y="652"/>
                </a:lnTo>
                <a:lnTo>
                  <a:pt x="58" y="652"/>
                </a:lnTo>
                <a:lnTo>
                  <a:pt x="68" y="652"/>
                </a:lnTo>
                <a:lnTo>
                  <a:pt x="82" y="646"/>
                </a:lnTo>
                <a:lnTo>
                  <a:pt x="98" y="638"/>
                </a:lnTo>
                <a:lnTo>
                  <a:pt x="112" y="628"/>
                </a:lnTo>
                <a:lnTo>
                  <a:pt x="128" y="624"/>
                </a:lnTo>
                <a:lnTo>
                  <a:pt x="136" y="622"/>
                </a:lnTo>
                <a:lnTo>
                  <a:pt x="144" y="622"/>
                </a:lnTo>
                <a:lnTo>
                  <a:pt x="154" y="626"/>
                </a:lnTo>
                <a:lnTo>
                  <a:pt x="166" y="630"/>
                </a:lnTo>
                <a:lnTo>
                  <a:pt x="172" y="636"/>
                </a:lnTo>
                <a:lnTo>
                  <a:pt x="176" y="646"/>
                </a:lnTo>
                <a:lnTo>
                  <a:pt x="178" y="656"/>
                </a:lnTo>
                <a:lnTo>
                  <a:pt x="180" y="668"/>
                </a:lnTo>
                <a:lnTo>
                  <a:pt x="176" y="692"/>
                </a:lnTo>
                <a:lnTo>
                  <a:pt x="172" y="714"/>
                </a:lnTo>
                <a:lnTo>
                  <a:pt x="48" y="928"/>
                </a:lnTo>
                <a:lnTo>
                  <a:pt x="178" y="1152"/>
                </a:lnTo>
                <a:lnTo>
                  <a:pt x="184" y="1174"/>
                </a:lnTo>
                <a:lnTo>
                  <a:pt x="186" y="1200"/>
                </a:lnTo>
                <a:lnTo>
                  <a:pt x="186" y="1212"/>
                </a:lnTo>
                <a:lnTo>
                  <a:pt x="184" y="1222"/>
                </a:lnTo>
                <a:lnTo>
                  <a:pt x="178" y="1230"/>
                </a:lnTo>
                <a:lnTo>
                  <a:pt x="172" y="1236"/>
                </a:lnTo>
                <a:lnTo>
                  <a:pt x="162" y="1242"/>
                </a:lnTo>
                <a:lnTo>
                  <a:pt x="152" y="1244"/>
                </a:lnTo>
                <a:lnTo>
                  <a:pt x="142" y="1246"/>
                </a:lnTo>
                <a:lnTo>
                  <a:pt x="134" y="1244"/>
                </a:lnTo>
                <a:lnTo>
                  <a:pt x="118" y="1238"/>
                </a:lnTo>
                <a:lnTo>
                  <a:pt x="104" y="1230"/>
                </a:lnTo>
                <a:lnTo>
                  <a:pt x="90" y="1222"/>
                </a:lnTo>
                <a:lnTo>
                  <a:pt x="74" y="1216"/>
                </a:lnTo>
                <a:lnTo>
                  <a:pt x="66" y="1214"/>
                </a:lnTo>
                <a:lnTo>
                  <a:pt x="56" y="1216"/>
                </a:lnTo>
                <a:lnTo>
                  <a:pt x="48" y="1218"/>
                </a:lnTo>
                <a:lnTo>
                  <a:pt x="36" y="1222"/>
                </a:lnTo>
                <a:lnTo>
                  <a:pt x="28" y="1228"/>
                </a:lnTo>
                <a:lnTo>
                  <a:pt x="20" y="1236"/>
                </a:lnTo>
                <a:lnTo>
                  <a:pt x="14" y="1246"/>
                </a:lnTo>
                <a:lnTo>
                  <a:pt x="10" y="1256"/>
                </a:lnTo>
                <a:lnTo>
                  <a:pt x="8" y="1266"/>
                </a:lnTo>
                <a:lnTo>
                  <a:pt x="6" y="1278"/>
                </a:lnTo>
                <a:lnTo>
                  <a:pt x="6" y="1302"/>
                </a:lnTo>
                <a:lnTo>
                  <a:pt x="12" y="1328"/>
                </a:lnTo>
                <a:lnTo>
                  <a:pt x="18" y="1350"/>
                </a:lnTo>
                <a:lnTo>
                  <a:pt x="26" y="1372"/>
                </a:lnTo>
                <a:lnTo>
                  <a:pt x="36" y="1390"/>
                </a:lnTo>
                <a:lnTo>
                  <a:pt x="46" y="1406"/>
                </a:lnTo>
                <a:lnTo>
                  <a:pt x="60" y="1424"/>
                </a:lnTo>
                <a:lnTo>
                  <a:pt x="78" y="1442"/>
                </a:lnTo>
                <a:lnTo>
                  <a:pt x="96" y="1458"/>
                </a:lnTo>
                <a:lnTo>
                  <a:pt x="118" y="1470"/>
                </a:lnTo>
                <a:lnTo>
                  <a:pt x="128" y="1474"/>
                </a:lnTo>
                <a:lnTo>
                  <a:pt x="138" y="1478"/>
                </a:lnTo>
                <a:lnTo>
                  <a:pt x="150" y="1480"/>
                </a:lnTo>
                <a:lnTo>
                  <a:pt x="160" y="1480"/>
                </a:lnTo>
                <a:lnTo>
                  <a:pt x="170" y="1476"/>
                </a:lnTo>
                <a:lnTo>
                  <a:pt x="180" y="1472"/>
                </a:lnTo>
                <a:lnTo>
                  <a:pt x="190" y="1466"/>
                </a:lnTo>
                <a:lnTo>
                  <a:pt x="196" y="1458"/>
                </a:lnTo>
                <a:lnTo>
                  <a:pt x="202" y="1450"/>
                </a:lnTo>
                <a:lnTo>
                  <a:pt x="204" y="1442"/>
                </a:lnTo>
                <a:lnTo>
                  <a:pt x="208" y="1426"/>
                </a:lnTo>
                <a:lnTo>
                  <a:pt x="208" y="1410"/>
                </a:lnTo>
                <a:lnTo>
                  <a:pt x="208" y="1392"/>
                </a:lnTo>
                <a:lnTo>
                  <a:pt x="210" y="1376"/>
                </a:lnTo>
                <a:lnTo>
                  <a:pt x="214" y="1368"/>
                </a:lnTo>
                <a:lnTo>
                  <a:pt x="218" y="1362"/>
                </a:lnTo>
                <a:lnTo>
                  <a:pt x="226" y="1354"/>
                </a:lnTo>
                <a:lnTo>
                  <a:pt x="236" y="1348"/>
                </a:lnTo>
                <a:lnTo>
                  <a:pt x="244" y="1344"/>
                </a:lnTo>
                <a:lnTo>
                  <a:pt x="254" y="1346"/>
                </a:lnTo>
                <a:lnTo>
                  <a:pt x="264" y="1348"/>
                </a:lnTo>
                <a:lnTo>
                  <a:pt x="276" y="1354"/>
                </a:lnTo>
                <a:lnTo>
                  <a:pt x="296" y="1368"/>
                </a:lnTo>
                <a:lnTo>
                  <a:pt x="312" y="1384"/>
                </a:lnTo>
                <a:lnTo>
                  <a:pt x="448" y="1620"/>
                </a:lnTo>
                <a:lnTo>
                  <a:pt x="712" y="1620"/>
                </a:lnTo>
                <a:lnTo>
                  <a:pt x="734" y="1628"/>
                </a:lnTo>
                <a:lnTo>
                  <a:pt x="756" y="1638"/>
                </a:lnTo>
                <a:lnTo>
                  <a:pt x="766" y="1644"/>
                </a:lnTo>
                <a:lnTo>
                  <a:pt x="774" y="1652"/>
                </a:lnTo>
                <a:lnTo>
                  <a:pt x="780" y="1660"/>
                </a:lnTo>
                <a:lnTo>
                  <a:pt x="782" y="1668"/>
                </a:lnTo>
                <a:lnTo>
                  <a:pt x="782" y="1680"/>
                </a:lnTo>
                <a:lnTo>
                  <a:pt x="778" y="1690"/>
                </a:lnTo>
                <a:lnTo>
                  <a:pt x="776" y="1698"/>
                </a:lnTo>
                <a:lnTo>
                  <a:pt x="770" y="1704"/>
                </a:lnTo>
                <a:lnTo>
                  <a:pt x="758" y="1716"/>
                </a:lnTo>
                <a:lnTo>
                  <a:pt x="742" y="1724"/>
                </a:lnTo>
                <a:lnTo>
                  <a:pt x="728" y="1732"/>
                </a:lnTo>
                <a:lnTo>
                  <a:pt x="716" y="1742"/>
                </a:lnTo>
                <a:lnTo>
                  <a:pt x="710" y="1750"/>
                </a:lnTo>
                <a:lnTo>
                  <a:pt x="706" y="1758"/>
                </a:lnTo>
                <a:lnTo>
                  <a:pt x="704" y="1766"/>
                </a:lnTo>
                <a:lnTo>
                  <a:pt x="702" y="1778"/>
                </a:lnTo>
                <a:lnTo>
                  <a:pt x="704" y="1790"/>
                </a:lnTo>
                <a:lnTo>
                  <a:pt x="706" y="1800"/>
                </a:lnTo>
                <a:lnTo>
                  <a:pt x="712" y="1810"/>
                </a:lnTo>
                <a:lnTo>
                  <a:pt x="718" y="1818"/>
                </a:lnTo>
                <a:lnTo>
                  <a:pt x="726" y="1826"/>
                </a:lnTo>
                <a:lnTo>
                  <a:pt x="736" y="1832"/>
                </a:lnTo>
                <a:lnTo>
                  <a:pt x="756" y="1844"/>
                </a:lnTo>
                <a:lnTo>
                  <a:pt x="780" y="1852"/>
                </a:lnTo>
                <a:lnTo>
                  <a:pt x="804" y="1858"/>
                </a:lnTo>
                <a:lnTo>
                  <a:pt x="828" y="1862"/>
                </a:lnTo>
                <a:lnTo>
                  <a:pt x="846" y="1862"/>
                </a:lnTo>
                <a:lnTo>
                  <a:pt x="866" y="1862"/>
                </a:lnTo>
                <a:lnTo>
                  <a:pt x="888" y="1858"/>
                </a:lnTo>
                <a:lnTo>
                  <a:pt x="912" y="1852"/>
                </a:lnTo>
                <a:lnTo>
                  <a:pt x="936" y="1844"/>
                </a:lnTo>
                <a:lnTo>
                  <a:pt x="958" y="1832"/>
                </a:lnTo>
                <a:lnTo>
                  <a:pt x="966" y="1826"/>
                </a:lnTo>
                <a:lnTo>
                  <a:pt x="974" y="1818"/>
                </a:lnTo>
                <a:lnTo>
                  <a:pt x="982" y="1810"/>
                </a:lnTo>
                <a:lnTo>
                  <a:pt x="986" y="1800"/>
                </a:lnTo>
                <a:lnTo>
                  <a:pt x="990" y="1790"/>
                </a:lnTo>
                <a:lnTo>
                  <a:pt x="990" y="1778"/>
                </a:lnTo>
                <a:lnTo>
                  <a:pt x="990" y="1766"/>
                </a:lnTo>
                <a:lnTo>
                  <a:pt x="986" y="1758"/>
                </a:lnTo>
                <a:lnTo>
                  <a:pt x="982" y="1750"/>
                </a:lnTo>
                <a:lnTo>
                  <a:pt x="978" y="1742"/>
                </a:lnTo>
                <a:lnTo>
                  <a:pt x="964" y="1732"/>
                </a:lnTo>
                <a:lnTo>
                  <a:pt x="950" y="1724"/>
                </a:lnTo>
                <a:lnTo>
                  <a:pt x="936" y="1716"/>
                </a:lnTo>
                <a:lnTo>
                  <a:pt x="922" y="1704"/>
                </a:lnTo>
                <a:lnTo>
                  <a:pt x="918" y="1698"/>
                </a:lnTo>
                <a:lnTo>
                  <a:pt x="914" y="1690"/>
                </a:lnTo>
                <a:lnTo>
                  <a:pt x="912" y="1680"/>
                </a:lnTo>
                <a:lnTo>
                  <a:pt x="910" y="1668"/>
                </a:lnTo>
                <a:lnTo>
                  <a:pt x="912" y="1660"/>
                </a:lnTo>
                <a:lnTo>
                  <a:pt x="918" y="1652"/>
                </a:lnTo>
                <a:lnTo>
                  <a:pt x="926" y="1644"/>
                </a:lnTo>
                <a:lnTo>
                  <a:pt x="936" y="1638"/>
                </a:lnTo>
                <a:lnTo>
                  <a:pt x="960" y="1628"/>
                </a:lnTo>
                <a:lnTo>
                  <a:pt x="982" y="1620"/>
                </a:lnTo>
                <a:lnTo>
                  <a:pt x="1248" y="1620"/>
                </a:lnTo>
                <a:lnTo>
                  <a:pt x="1386" y="1380"/>
                </a:lnTo>
                <a:lnTo>
                  <a:pt x="1402" y="1366"/>
                </a:lnTo>
                <a:lnTo>
                  <a:pt x="1420" y="1354"/>
                </a:lnTo>
                <a:lnTo>
                  <a:pt x="1430" y="1350"/>
                </a:lnTo>
                <a:lnTo>
                  <a:pt x="1440" y="1348"/>
                </a:lnTo>
                <a:lnTo>
                  <a:pt x="1448" y="1348"/>
                </a:lnTo>
                <a:lnTo>
                  <a:pt x="1456" y="1350"/>
                </a:lnTo>
                <a:lnTo>
                  <a:pt x="1464" y="1356"/>
                </a:lnTo>
                <a:lnTo>
                  <a:pt x="1472" y="1364"/>
                </a:lnTo>
                <a:lnTo>
                  <a:pt x="1478" y="1372"/>
                </a:lnTo>
                <a:lnTo>
                  <a:pt x="1480" y="1380"/>
                </a:lnTo>
                <a:lnTo>
                  <a:pt x="1484" y="1396"/>
                </a:lnTo>
                <a:lnTo>
                  <a:pt x="1484" y="1412"/>
                </a:lnTo>
                <a:lnTo>
                  <a:pt x="1484" y="1430"/>
                </a:lnTo>
                <a:lnTo>
                  <a:pt x="1486" y="1446"/>
                </a:lnTo>
                <a:lnTo>
                  <a:pt x="1490" y="1454"/>
                </a:lnTo>
                <a:lnTo>
                  <a:pt x="1494" y="1460"/>
                </a:lnTo>
                <a:lnTo>
                  <a:pt x="1502" y="1468"/>
                </a:lnTo>
                <a:lnTo>
                  <a:pt x="1510" y="1474"/>
                </a:lnTo>
                <a:lnTo>
                  <a:pt x="1520" y="1480"/>
                </a:lnTo>
                <a:lnTo>
                  <a:pt x="1530" y="1482"/>
                </a:lnTo>
                <a:lnTo>
                  <a:pt x="1542" y="1482"/>
                </a:lnTo>
                <a:lnTo>
                  <a:pt x="1552" y="1480"/>
                </a:lnTo>
                <a:lnTo>
                  <a:pt x="1564" y="1478"/>
                </a:lnTo>
                <a:lnTo>
                  <a:pt x="1574" y="1474"/>
                </a:lnTo>
                <a:lnTo>
                  <a:pt x="1594" y="1460"/>
                </a:lnTo>
                <a:lnTo>
                  <a:pt x="1614" y="1444"/>
                </a:lnTo>
                <a:lnTo>
                  <a:pt x="1630" y="1426"/>
                </a:lnTo>
                <a:lnTo>
                  <a:pt x="1644" y="1408"/>
                </a:lnTo>
                <a:lnTo>
                  <a:pt x="1656" y="1392"/>
                </a:lnTo>
                <a:lnTo>
                  <a:pt x="1664" y="1374"/>
                </a:lnTo>
                <a:lnTo>
                  <a:pt x="1672" y="1354"/>
                </a:lnTo>
                <a:lnTo>
                  <a:pt x="1680" y="1330"/>
                </a:lnTo>
                <a:lnTo>
                  <a:pt x="1684" y="1306"/>
                </a:lnTo>
                <a:lnTo>
                  <a:pt x="1684" y="1280"/>
                </a:lnTo>
                <a:lnTo>
                  <a:pt x="1684" y="1270"/>
                </a:lnTo>
                <a:lnTo>
                  <a:pt x="1680" y="1258"/>
                </a:lnTo>
                <a:lnTo>
                  <a:pt x="1676" y="1248"/>
                </a:lnTo>
                <a:lnTo>
                  <a:pt x="1670" y="1240"/>
                </a:lnTo>
                <a:lnTo>
                  <a:pt x="1664" y="1232"/>
                </a:lnTo>
                <a:lnTo>
                  <a:pt x="1654" y="1226"/>
                </a:lnTo>
                <a:lnTo>
                  <a:pt x="1644" y="1220"/>
                </a:lnTo>
                <a:lnTo>
                  <a:pt x="1634" y="1218"/>
                </a:lnTo>
                <a:lnTo>
                  <a:pt x="1626" y="1218"/>
                </a:lnTo>
                <a:lnTo>
                  <a:pt x="1618" y="1218"/>
                </a:lnTo>
                <a:lnTo>
                  <a:pt x="1602" y="1224"/>
                </a:lnTo>
                <a:lnTo>
                  <a:pt x="1588" y="1234"/>
                </a:lnTo>
                <a:lnTo>
                  <a:pt x="1572" y="1242"/>
                </a:lnTo>
                <a:lnTo>
                  <a:pt x="1558" y="1248"/>
                </a:lnTo>
                <a:lnTo>
                  <a:pt x="1548" y="1248"/>
                </a:lnTo>
                <a:lnTo>
                  <a:pt x="1540" y="1248"/>
                </a:lnTo>
                <a:lnTo>
                  <a:pt x="1530" y="1244"/>
                </a:lnTo>
                <a:lnTo>
                  <a:pt x="1520" y="1240"/>
                </a:lnTo>
                <a:lnTo>
                  <a:pt x="1514" y="1234"/>
                </a:lnTo>
                <a:lnTo>
                  <a:pt x="1508" y="1226"/>
                </a:lnTo>
                <a:lnTo>
                  <a:pt x="1506" y="1218"/>
                </a:lnTo>
                <a:lnTo>
                  <a:pt x="1506" y="1208"/>
                </a:lnTo>
                <a:lnTo>
                  <a:pt x="1506" y="1186"/>
                </a:lnTo>
                <a:lnTo>
                  <a:pt x="1510" y="1164"/>
                </a:lnTo>
                <a:lnTo>
                  <a:pt x="1648" y="928"/>
                </a:lnTo>
                <a:lnTo>
                  <a:pt x="1516" y="700"/>
                </a:lnTo>
                <a:lnTo>
                  <a:pt x="1512" y="678"/>
                </a:lnTo>
                <a:lnTo>
                  <a:pt x="1510" y="656"/>
                </a:lnTo>
                <a:lnTo>
                  <a:pt x="1510" y="644"/>
                </a:lnTo>
                <a:lnTo>
                  <a:pt x="1512" y="634"/>
                </a:lnTo>
                <a:lnTo>
                  <a:pt x="1518" y="626"/>
                </a:lnTo>
                <a:lnTo>
                  <a:pt x="1524" y="620"/>
                </a:lnTo>
                <a:lnTo>
                  <a:pt x="1534" y="616"/>
                </a:lnTo>
                <a:lnTo>
                  <a:pt x="1544" y="612"/>
                </a:lnTo>
                <a:lnTo>
                  <a:pt x="1552" y="612"/>
                </a:lnTo>
                <a:lnTo>
                  <a:pt x="1562" y="612"/>
                </a:lnTo>
                <a:lnTo>
                  <a:pt x="1576" y="618"/>
                </a:lnTo>
                <a:lnTo>
                  <a:pt x="1592" y="626"/>
                </a:lnTo>
                <a:lnTo>
                  <a:pt x="1606" y="636"/>
                </a:lnTo>
                <a:lnTo>
                  <a:pt x="1622" y="642"/>
                </a:lnTo>
                <a:lnTo>
                  <a:pt x="1630" y="642"/>
                </a:lnTo>
                <a:lnTo>
                  <a:pt x="1638" y="642"/>
                </a:lnTo>
                <a:lnTo>
                  <a:pt x="1648" y="640"/>
                </a:lnTo>
                <a:lnTo>
                  <a:pt x="1658" y="634"/>
                </a:lnTo>
                <a:lnTo>
                  <a:pt x="1668" y="628"/>
                </a:lnTo>
                <a:lnTo>
                  <a:pt x="1676" y="620"/>
                </a:lnTo>
                <a:lnTo>
                  <a:pt x="1682" y="612"/>
                </a:lnTo>
                <a:lnTo>
                  <a:pt x="1686" y="602"/>
                </a:lnTo>
                <a:lnTo>
                  <a:pt x="1688" y="590"/>
                </a:lnTo>
                <a:lnTo>
                  <a:pt x="1690" y="580"/>
                </a:lnTo>
                <a:lnTo>
                  <a:pt x="1688" y="554"/>
                </a:lnTo>
                <a:lnTo>
                  <a:pt x="1684" y="530"/>
                </a:lnTo>
                <a:lnTo>
                  <a:pt x="1678" y="506"/>
                </a:lnTo>
                <a:lnTo>
                  <a:pt x="1668" y="486"/>
                </a:lnTo>
                <a:lnTo>
                  <a:pt x="1660" y="468"/>
                </a:lnTo>
                <a:lnTo>
                  <a:pt x="1650" y="452"/>
                </a:lnTo>
                <a:lnTo>
                  <a:pt x="1636" y="434"/>
                </a:lnTo>
                <a:lnTo>
                  <a:pt x="1618" y="416"/>
                </a:lnTo>
                <a:lnTo>
                  <a:pt x="1598" y="400"/>
                </a:lnTo>
                <a:lnTo>
                  <a:pt x="1578" y="386"/>
                </a:lnTo>
                <a:lnTo>
                  <a:pt x="1568" y="382"/>
                </a:lnTo>
                <a:lnTo>
                  <a:pt x="1556" y="378"/>
                </a:lnTo>
                <a:lnTo>
                  <a:pt x="1546" y="378"/>
                </a:lnTo>
                <a:lnTo>
                  <a:pt x="1536" y="378"/>
                </a:lnTo>
                <a:lnTo>
                  <a:pt x="1524" y="380"/>
                </a:lnTo>
                <a:lnTo>
                  <a:pt x="1514" y="386"/>
                </a:lnTo>
                <a:lnTo>
                  <a:pt x="1506" y="392"/>
                </a:lnTo>
                <a:lnTo>
                  <a:pt x="1498" y="400"/>
                </a:lnTo>
                <a:lnTo>
                  <a:pt x="1494" y="406"/>
                </a:lnTo>
                <a:lnTo>
                  <a:pt x="1490" y="414"/>
                </a:lnTo>
                <a:lnTo>
                  <a:pt x="1488" y="430"/>
                </a:lnTo>
                <a:lnTo>
                  <a:pt x="1488" y="448"/>
                </a:lnTo>
                <a:lnTo>
                  <a:pt x="1488" y="464"/>
                </a:lnTo>
                <a:lnTo>
                  <a:pt x="1486" y="480"/>
                </a:lnTo>
                <a:lnTo>
                  <a:pt x="1482" y="488"/>
                </a:lnTo>
                <a:lnTo>
                  <a:pt x="1476" y="496"/>
                </a:lnTo>
                <a:lnTo>
                  <a:pt x="1470" y="502"/>
                </a:lnTo>
                <a:lnTo>
                  <a:pt x="1460" y="510"/>
                </a:lnTo>
                <a:lnTo>
                  <a:pt x="1452" y="512"/>
                </a:lnTo>
                <a:lnTo>
                  <a:pt x="1442" y="512"/>
                </a:lnTo>
                <a:lnTo>
                  <a:pt x="1432" y="510"/>
                </a:lnTo>
                <a:lnTo>
                  <a:pt x="1422" y="504"/>
                </a:lnTo>
                <a:lnTo>
                  <a:pt x="1404" y="490"/>
                </a:lnTo>
                <a:lnTo>
                  <a:pt x="1386" y="476"/>
                </a:lnTo>
                <a:lnTo>
                  <a:pt x="1246" y="236"/>
                </a:lnTo>
                <a:lnTo>
                  <a:pt x="982" y="242"/>
                </a:lnTo>
                <a:close/>
              </a:path>
            </a:pathLst>
          </a:custGeom>
          <a:solidFill>
            <a:srgbClr val="B9DA7B"/>
          </a:solidFill>
          <a:ln w="38100" cap="flat" cmpd="sng">
            <a:solidFill>
              <a:srgbClr val="B9DA7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3" name="Oval 27">
            <a:extLst>
              <a:ext uri="{FF2B5EF4-FFF2-40B4-BE49-F238E27FC236}">
                <a16:creationId xmlns:a16="http://schemas.microsoft.com/office/drawing/2014/main" xmlns="" id="{A0C4C641-D806-4814-A023-A448750C4EDE}"/>
              </a:ext>
            </a:extLst>
          </p:cNvPr>
          <p:cNvSpPr/>
          <p:nvPr/>
        </p:nvSpPr>
        <p:spPr>
          <a:xfrm>
            <a:off x="3455708" y="3344249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27" name="CaixaDeTexto 45">
            <a:extLst>
              <a:ext uri="{FF2B5EF4-FFF2-40B4-BE49-F238E27FC236}">
                <a16:creationId xmlns:a16="http://schemas.microsoft.com/office/drawing/2014/main" xmlns="" id="{D02E37E7-C578-434B-8BAB-F2CD4F18D021}"/>
              </a:ext>
            </a:extLst>
          </p:cNvPr>
          <p:cNvSpPr txBox="1"/>
          <p:nvPr/>
        </p:nvSpPr>
        <p:spPr>
          <a:xfrm>
            <a:off x="3954998" y="2654913"/>
            <a:ext cx="179319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As escolas integrais têm impacto relevante sobre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acesso ao ensino superior </a:t>
            </a:r>
            <a:r>
              <a:rPr lang="pt-BR" dirty="0">
                <a:solidFill>
                  <a:srgbClr val="0D64AD"/>
                </a:solidFill>
                <a:latin typeface="Candara"/>
              </a:rPr>
              <a:t>e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renda</a:t>
            </a:r>
            <a:r>
              <a:rPr lang="pt-BR" dirty="0">
                <a:solidFill>
                  <a:srgbClr val="0D64AD"/>
                </a:solidFill>
                <a:latin typeface="Candara"/>
              </a:rPr>
              <a:t> dos egressos</a:t>
            </a:r>
          </a:p>
        </p:txBody>
      </p:sp>
    </p:spTree>
    <p:extLst>
      <p:ext uri="{BB962C8B-B14F-4D97-AF65-F5344CB8AC3E}">
        <p14:creationId xmlns:p14="http://schemas.microsoft.com/office/powerpoint/2010/main" val="34086448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xmlns="" id="{AAA00162-1703-4314-8880-541FFA5DA8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6449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Slide do think-cell" r:id="rId6" imgW="421" imgH="423" progId="TCLayout.ActiveDocument.1">
                  <p:embed/>
                </p:oleObj>
              </mc:Choice>
              <mc:Fallback>
                <p:oleObj name="Slide do think-cell" r:id="rId6" imgW="421" imgH="423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xmlns="" id="{AAA00162-1703-4314-8880-541FFA5DA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xmlns="" id="{6F7EF71B-5543-481E-9E58-EAB33B4B4F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500" b="1" dirty="0">
              <a:latin typeface="Gill Sans"/>
              <a:ea typeface="+mj-ea"/>
              <a:sym typeface="Gill Sans"/>
            </a:endParaRPr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xmlns="" id="{F789AAD8-0F3D-4B0E-87D0-151DF05FC23C}"/>
              </a:ext>
            </a:extLst>
          </p:cNvPr>
          <p:cNvSpPr/>
          <p:nvPr/>
        </p:nvSpPr>
        <p:spPr>
          <a:xfrm>
            <a:off x="6503829" y="4484550"/>
            <a:ext cx="1014081" cy="1066244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pt-BR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rtlCol="0">
            <a:noAutofit/>
          </a:bodyPr>
          <a:lstStyle/>
          <a:p>
            <a:pPr rtl="0"/>
            <a:r>
              <a:rPr lang="pt-BR" sz="2500" dirty="0"/>
              <a:t>EM PERNAMBUCO, O ENSINO INTEGRAL TEM </a:t>
            </a:r>
            <a:br>
              <a:rPr lang="pt-BR" sz="2500" dirty="0"/>
            </a:br>
            <a:r>
              <a:rPr lang="pt-BR" sz="2500" dirty="0"/>
              <a:t>IMPACTO POSITIVO EM </a:t>
            </a:r>
            <a:r>
              <a:rPr lang="pt-BR" sz="2500" b="1" dirty="0"/>
              <a:t>ESCOLARIDADE, RENDA E EQUIDADE</a:t>
            </a:r>
            <a:endParaRPr lang="pt-BR" sz="2500" b="1" dirty="0">
              <a:solidFill>
                <a:schemeClr val="accent6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54E26E91-FA1B-6245-924D-A20CF7519F85}" type="slidenum">
              <a:rPr lang="en-US" smtClean="0"/>
              <a:pPr rtl="0"/>
              <a:t>26</a:t>
            </a:fld>
            <a:endParaRPr lang="en-US" dirty="0"/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xmlns="" id="{C8057227-3143-4431-8590-4A2D9A8401C3}"/>
              </a:ext>
            </a:extLst>
          </p:cNvPr>
          <p:cNvSpPr/>
          <p:nvPr/>
        </p:nvSpPr>
        <p:spPr>
          <a:xfrm>
            <a:off x="783769" y="4664852"/>
            <a:ext cx="1895037" cy="162964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dirty="0">
                <a:solidFill>
                  <a:srgbClr val="FFFFFF"/>
                </a:solidFill>
              </a:rPr>
              <a:t>Escolaridade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xmlns="" id="{E11FF477-DDD1-431D-825B-12557F7455D8}"/>
              </a:ext>
            </a:extLst>
          </p:cNvPr>
          <p:cNvSpPr txBox="1"/>
          <p:nvPr/>
        </p:nvSpPr>
        <p:spPr>
          <a:xfrm>
            <a:off x="682165" y="3111162"/>
            <a:ext cx="12046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chemeClr val="accent1"/>
                </a:solidFill>
                <a:latin typeface="+mj-lt"/>
              </a:rPr>
              <a:t>01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xmlns="" id="{AAD00A60-D567-4490-84BD-F64A55125D1D}"/>
              </a:ext>
            </a:extLst>
          </p:cNvPr>
          <p:cNvSpPr txBox="1"/>
          <p:nvPr/>
        </p:nvSpPr>
        <p:spPr>
          <a:xfrm>
            <a:off x="682165" y="3504476"/>
            <a:ext cx="22517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Os egressos do integral têm </a:t>
            </a:r>
            <a:r>
              <a:rPr lang="pt-BR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17 </a:t>
            </a:r>
            <a:r>
              <a:rPr lang="pt-BR" b="1" dirty="0" err="1">
                <a:solidFill>
                  <a:schemeClr val="tx2">
                    <a:lumMod val="50000"/>
                  </a:schemeClr>
                </a:solidFill>
                <a:latin typeface="+mj-lt"/>
              </a:rPr>
              <a:t>p.p</a:t>
            </a:r>
            <a:r>
              <a:rPr lang="pt-BR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 mais chance de ingressar no ensino superior</a:t>
            </a: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xmlns="" id="{D8FCDEEE-3BB0-4647-AFBE-5C86E49C6861}"/>
              </a:ext>
            </a:extLst>
          </p:cNvPr>
          <p:cNvSpPr/>
          <p:nvPr/>
        </p:nvSpPr>
        <p:spPr>
          <a:xfrm>
            <a:off x="3653757" y="4664852"/>
            <a:ext cx="1380156" cy="1268255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pt-BR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xmlns="" id="{25ABE908-107A-4057-9371-124E70E813D2}"/>
              </a:ext>
            </a:extLst>
          </p:cNvPr>
          <p:cNvSpPr txBox="1"/>
          <p:nvPr/>
        </p:nvSpPr>
        <p:spPr>
          <a:xfrm>
            <a:off x="3251788" y="1292730"/>
            <a:ext cx="12046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chemeClr val="bg2"/>
                </a:solidFill>
                <a:latin typeface="+mj-lt"/>
              </a:rPr>
              <a:t>02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5750DC04-187E-4A0D-8255-5AEF199A7CC0}"/>
              </a:ext>
            </a:extLst>
          </p:cNvPr>
          <p:cNvSpPr txBox="1"/>
          <p:nvPr/>
        </p:nvSpPr>
        <p:spPr>
          <a:xfrm>
            <a:off x="3238667" y="1754395"/>
            <a:ext cx="24774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Os egressos do integral têm </a:t>
            </a:r>
            <a:r>
              <a:rPr lang="pt-BR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renda aproximadamente R$ 270 superior (cerca de 19% do salário médio) </a:t>
            </a:r>
            <a:r>
              <a:rPr lang="pt-BR" u="sng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já no início da carreira</a:t>
            </a: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xmlns="" id="{C1492C7D-CC1A-4D38-BA3C-04ABCDD98D7C}"/>
              </a:ext>
            </a:extLst>
          </p:cNvPr>
          <p:cNvSpPr/>
          <p:nvPr/>
        </p:nvSpPr>
        <p:spPr>
          <a:xfrm>
            <a:off x="3394336" y="3376965"/>
            <a:ext cx="1895037" cy="16296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dirty="0">
                <a:solidFill>
                  <a:srgbClr val="FFFFFF"/>
                </a:solidFill>
              </a:rPr>
              <a:t>Renda</a:t>
            </a: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xmlns="" id="{F596749F-BED1-4DDD-A259-C402DFDEC004}"/>
              </a:ext>
            </a:extLst>
          </p:cNvPr>
          <p:cNvSpPr/>
          <p:nvPr/>
        </p:nvSpPr>
        <p:spPr>
          <a:xfrm>
            <a:off x="6336409" y="3660301"/>
            <a:ext cx="1380156" cy="126825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pt-BR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xmlns="" id="{3D5CF84E-FFF1-4164-A931-81AD6255CD4D}"/>
              </a:ext>
            </a:extLst>
          </p:cNvPr>
          <p:cNvSpPr txBox="1"/>
          <p:nvPr/>
        </p:nvSpPr>
        <p:spPr>
          <a:xfrm>
            <a:off x="6076988" y="931383"/>
            <a:ext cx="12046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chemeClr val="tx2"/>
                </a:solidFill>
                <a:latin typeface="+mj-lt"/>
              </a:rPr>
              <a:t>03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xmlns="" id="{C791DD34-D60B-437B-970D-C90ACEB8D537}"/>
              </a:ext>
            </a:extLst>
          </p:cNvPr>
          <p:cNvSpPr txBox="1"/>
          <p:nvPr/>
        </p:nvSpPr>
        <p:spPr>
          <a:xfrm>
            <a:off x="6040130" y="1311553"/>
            <a:ext cx="204621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O ensino integral </a:t>
            </a:r>
            <a:r>
              <a:rPr lang="pt-BR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zera a diferença salarial entre brancos e negros</a:t>
            </a:r>
            <a:endParaRPr lang="pt-BR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xmlns="" id="{B0FEF7DF-63F2-466E-A9A8-CA3DE60C3A32}"/>
              </a:ext>
            </a:extLst>
          </p:cNvPr>
          <p:cNvSpPr/>
          <p:nvPr/>
        </p:nvSpPr>
        <p:spPr>
          <a:xfrm>
            <a:off x="6076988" y="2372414"/>
            <a:ext cx="1895037" cy="162964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dirty="0">
                <a:solidFill>
                  <a:srgbClr val="FFFFFF"/>
                </a:solidFill>
              </a:rPr>
              <a:t>Equidade </a:t>
            </a:r>
          </a:p>
        </p:txBody>
      </p:sp>
      <p:sp>
        <p:nvSpPr>
          <p:cNvPr id="18" name="Fluxograma: Processo Alternativo 17">
            <a:extLst>
              <a:ext uri="{FF2B5EF4-FFF2-40B4-BE49-F238E27FC236}">
                <a16:creationId xmlns:a16="http://schemas.microsoft.com/office/drawing/2014/main" xmlns="" id="{D99AF084-66F3-4AC5-B910-0D7F1086FE22}"/>
              </a:ext>
            </a:extLst>
          </p:cNvPr>
          <p:cNvSpPr/>
          <p:nvPr/>
        </p:nvSpPr>
        <p:spPr>
          <a:xfrm>
            <a:off x="501593" y="1393049"/>
            <a:ext cx="2021646" cy="1311180"/>
          </a:xfrm>
          <a:prstGeom prst="flowChartAlternateProcess">
            <a:avLst/>
          </a:prstGeom>
          <a:solidFill>
            <a:schemeClr val="bg2">
              <a:lumMod val="60000"/>
              <a:lumOff val="40000"/>
              <a:alpha val="50000"/>
            </a:schemeClr>
          </a:solidFill>
          <a:ln w="28575">
            <a:solidFill>
              <a:schemeClr val="bg2">
                <a:lumMod val="60000"/>
                <a:lumOff val="40000"/>
                <a:alpha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ctr" defTabSz="932962">
              <a:buFont typeface="Arial" panose="020B0604020202020204" pitchFamily="34" charset="0"/>
              <a:buChar char="•"/>
              <a:defRPr/>
            </a:pPr>
            <a:endParaRPr lang="pt-BR" sz="1428" b="1" kern="0" dirty="0">
              <a:solidFill>
                <a:schemeClr val="tx2"/>
              </a:solidFill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xmlns="" id="{C7DC2C14-0604-425F-90BA-BDA75172F3AC}"/>
              </a:ext>
            </a:extLst>
          </p:cNvPr>
          <p:cNvSpPr/>
          <p:nvPr/>
        </p:nvSpPr>
        <p:spPr>
          <a:xfrm>
            <a:off x="123160" y="1393049"/>
            <a:ext cx="247745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ANÁLISE ISG</a:t>
            </a:r>
          </a:p>
          <a:p>
            <a:pPr lvl="1"/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AMOSTRA</a:t>
            </a:r>
          </a:p>
          <a:p>
            <a:pPr lvl="1"/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2.814</a:t>
            </a:r>
            <a:r>
              <a:rPr lang="pt-BR" sz="14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respondentes</a:t>
            </a:r>
          </a:p>
          <a:p>
            <a:pPr lvl="1"/>
            <a:r>
              <a:rPr lang="pt-BR" sz="14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Pesquisa telefônica + domiciliar + grupo focal </a:t>
            </a:r>
          </a:p>
        </p:txBody>
      </p:sp>
      <p:pic>
        <p:nvPicPr>
          <p:cNvPr id="20" name="Imagem 19">
            <a:hlinkClick r:id="rId8" action="ppaction://hlinksldjump"/>
            <a:extLst>
              <a:ext uri="{FF2B5EF4-FFF2-40B4-BE49-F238E27FC236}">
                <a16:creationId xmlns:a16="http://schemas.microsoft.com/office/drawing/2014/main" xmlns="" id="{8CCC8025-9808-4E5E-80AE-E41FE5D8CA0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8719" r="8381" b="14319"/>
          <a:stretch/>
        </p:blipFill>
        <p:spPr>
          <a:xfrm>
            <a:off x="622431" y="2511521"/>
            <a:ext cx="246020" cy="254273"/>
          </a:xfrm>
          <a:prstGeom prst="rect">
            <a:avLst/>
          </a:prstGeom>
        </p:spPr>
      </p:pic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xmlns="" id="{8BEFB122-85AE-4E54-9078-C7CA42075777}"/>
              </a:ext>
            </a:extLst>
          </p:cNvPr>
          <p:cNvCxnSpPr>
            <a:cxnSpLocks/>
          </p:cNvCxnSpPr>
          <p:nvPr/>
        </p:nvCxnSpPr>
        <p:spPr>
          <a:xfrm flipV="1">
            <a:off x="7472150" y="73246"/>
            <a:ext cx="1439211" cy="1"/>
          </a:xfrm>
          <a:prstGeom prst="line">
            <a:avLst/>
          </a:prstGeom>
          <a:ln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51227F77-17E2-40FC-8BFF-7E09CD58E45E}"/>
              </a:ext>
            </a:extLst>
          </p:cNvPr>
          <p:cNvSpPr txBox="1"/>
          <p:nvPr/>
        </p:nvSpPr>
        <p:spPr>
          <a:xfrm>
            <a:off x="7472150" y="73247"/>
            <a:ext cx="14512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solidFill>
                  <a:srgbClr val="FF0000"/>
                </a:solidFill>
              </a:rPr>
              <a:t>PRELIMINAR</a:t>
            </a:r>
          </a:p>
        </p:txBody>
      </p:sp>
      <p:cxnSp>
        <p:nvCxnSpPr>
          <p:cNvPr id="23" name="Conector reto 22">
            <a:extLst>
              <a:ext uri="{FF2B5EF4-FFF2-40B4-BE49-F238E27FC236}">
                <a16:creationId xmlns:a16="http://schemas.microsoft.com/office/drawing/2014/main" xmlns="" id="{56C903E9-9F89-48CF-8914-3057D550CB25}"/>
              </a:ext>
            </a:extLst>
          </p:cNvPr>
          <p:cNvCxnSpPr>
            <a:cxnSpLocks/>
          </p:cNvCxnSpPr>
          <p:nvPr/>
        </p:nvCxnSpPr>
        <p:spPr>
          <a:xfrm>
            <a:off x="7472150" y="379028"/>
            <a:ext cx="1439211" cy="0"/>
          </a:xfrm>
          <a:prstGeom prst="line">
            <a:avLst/>
          </a:prstGeom>
          <a:ln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04021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xmlns="" id="{6DA2E140-D0C4-4751-83DE-194B3D60F9F4}"/>
              </a:ext>
            </a:extLst>
          </p:cNvPr>
          <p:cNvGraphicFramePr/>
          <p:nvPr>
            <p:extLst/>
          </p:nvPr>
        </p:nvGraphicFramePr>
        <p:xfrm>
          <a:off x="2721871" y="1310188"/>
          <a:ext cx="5974292" cy="3196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xmlns="" id="{485993ED-BDC2-46F4-B34B-47443039A2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Slide do think-cell" r:id="rId6" imgW="421" imgH="423" progId="TCLayout.ActiveDocument.1">
                  <p:embed/>
                </p:oleObj>
              </mc:Choice>
              <mc:Fallback>
                <p:oleObj name="Slide do think-cell" r:id="rId6" imgW="421" imgH="423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xmlns="" id="{485993ED-BDC2-46F4-B34B-47443039A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0EDF407F-6AEA-4863-86E3-2BF840C6A6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pt-BR" sz="2350" dirty="0"/>
              <a:t>O acesso ao ensino superior aumenta</a:t>
            </a:r>
            <a:endParaRPr lang="pt-BR" dirty="0"/>
          </a:p>
        </p:txBody>
      </p: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BA1C26BA-CBBF-4682-AC69-967E3837D9E4}"/>
              </a:ext>
            </a:extLst>
          </p:cNvPr>
          <p:cNvCxnSpPr/>
          <p:nvPr/>
        </p:nvCxnSpPr>
        <p:spPr>
          <a:xfrm flipH="1">
            <a:off x="477669" y="2654586"/>
            <a:ext cx="2880000" cy="0"/>
          </a:xfrm>
          <a:prstGeom prst="line">
            <a:avLst/>
          </a:prstGeom>
          <a:ln w="6350">
            <a:solidFill>
              <a:schemeClr val="accent1">
                <a:lumMod val="60000"/>
                <a:lumOff val="4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xmlns="" id="{8A2B64E7-1449-49FC-B7F7-CB9BEA8E6D4F}"/>
              </a:ext>
            </a:extLst>
          </p:cNvPr>
          <p:cNvCxnSpPr/>
          <p:nvPr/>
        </p:nvCxnSpPr>
        <p:spPr>
          <a:xfrm flipH="1">
            <a:off x="452636" y="2104036"/>
            <a:ext cx="5796000" cy="0"/>
          </a:xfrm>
          <a:prstGeom prst="line">
            <a:avLst/>
          </a:prstGeom>
          <a:ln w="6350">
            <a:solidFill>
              <a:schemeClr val="accent1">
                <a:lumMod val="60000"/>
                <a:lumOff val="4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BE5970CD-BF6F-4D81-877A-226C0CD9A739}"/>
              </a:ext>
            </a:extLst>
          </p:cNvPr>
          <p:cNvSpPr/>
          <p:nvPr/>
        </p:nvSpPr>
        <p:spPr>
          <a:xfrm>
            <a:off x="477669" y="1492139"/>
            <a:ext cx="2593236" cy="1694648"/>
          </a:xfrm>
          <a:prstGeom prst="rect">
            <a:avLst/>
          </a:prstGeom>
          <a:solidFill>
            <a:schemeClr val="tx2">
              <a:lumMod val="75000"/>
              <a:alpha val="78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FFFFFF"/>
                </a:solidFill>
              </a:rPr>
              <a:t>A probabilidade de ingressar no ensino superior é</a:t>
            </a:r>
            <a:r>
              <a:rPr lang="pt-BR" dirty="0">
                <a:solidFill>
                  <a:srgbClr val="FFFFFF"/>
                </a:solidFill>
              </a:rPr>
              <a:t> </a:t>
            </a:r>
          </a:p>
          <a:p>
            <a:pPr algn="ctr"/>
            <a:r>
              <a:rPr lang="pt-BR" sz="1800" b="1" i="1" dirty="0">
                <a:solidFill>
                  <a:srgbClr val="FFFFFF"/>
                </a:solidFill>
              </a:rPr>
              <a:t>17*** </a:t>
            </a:r>
            <a:r>
              <a:rPr lang="pt-BR" sz="1800" b="1" i="1" dirty="0" err="1">
                <a:solidFill>
                  <a:srgbClr val="FFFFFF"/>
                </a:solidFill>
              </a:rPr>
              <a:t>p.p</a:t>
            </a:r>
            <a:r>
              <a:rPr lang="pt-BR" sz="1800" b="1" i="1" dirty="0">
                <a:solidFill>
                  <a:srgbClr val="FFFFFF"/>
                </a:solidFill>
              </a:rPr>
              <a:t>. maior </a:t>
            </a:r>
          </a:p>
          <a:p>
            <a:pPr algn="ctr"/>
            <a:r>
              <a:rPr lang="pt-BR" b="1" dirty="0">
                <a:solidFill>
                  <a:srgbClr val="FFFFFF"/>
                </a:solidFill>
              </a:rPr>
              <a:t>para alguém que se formou em uma escola integral</a:t>
            </a: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xmlns="" id="{3B0A5046-7990-47C3-82DD-87AD8E3BFA18}"/>
              </a:ext>
            </a:extLst>
          </p:cNvPr>
          <p:cNvSpPr/>
          <p:nvPr/>
        </p:nvSpPr>
        <p:spPr>
          <a:xfrm>
            <a:off x="581543" y="5057668"/>
            <a:ext cx="7791706" cy="10843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solidFill>
              <a:schemeClr val="bg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kern="0" dirty="0">
                <a:solidFill>
                  <a:schemeClr val="tx2"/>
                </a:solidFill>
                <a:latin typeface="+mn-lt"/>
              </a:rPr>
              <a:t>E</a:t>
            </a:r>
            <a:r>
              <a:rPr kumimoji="0" lang="pt-BR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gressos</a:t>
            </a:r>
            <a:r>
              <a:rPr kumimoji="0" lang="pt-BR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 de escolas integrais têm </a:t>
            </a: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probabilidade 9** pontos maior de ingressar numa instituição de ensino pública </a:t>
            </a:r>
            <a:r>
              <a:rPr kumimoji="0" lang="pt-BR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(e para os egressos entre 2012 e 2014, essa probabilidade é </a:t>
            </a: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7*** pontos </a:t>
            </a:r>
            <a:r>
              <a:rPr kumimoji="0" lang="pt-BR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maior).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xmlns="" id="{42636301-5D24-4223-A772-5FF223073CF9}"/>
              </a:ext>
            </a:extLst>
          </p:cNvPr>
          <p:cNvSpPr/>
          <p:nvPr/>
        </p:nvSpPr>
        <p:spPr>
          <a:xfrm>
            <a:off x="5815594" y="539449"/>
            <a:ext cx="1842091" cy="7965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dirty="0">
                <a:solidFill>
                  <a:srgbClr val="FFFFFF"/>
                </a:solidFill>
              </a:rPr>
              <a:t>Escolaridade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33FB8AD1-3A84-4C87-A410-64DD0DB68545}"/>
              </a:ext>
            </a:extLst>
          </p:cNvPr>
          <p:cNvSpPr txBox="1"/>
          <p:nvPr/>
        </p:nvSpPr>
        <p:spPr>
          <a:xfrm>
            <a:off x="640782" y="4656421"/>
            <a:ext cx="12768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>
                <a:solidFill>
                  <a:schemeClr val="tx2"/>
                </a:solidFill>
                <a:latin typeface="Elephant" panose="02020904090505020303" pitchFamily="18" charset="0"/>
              </a:rPr>
              <a:t>E mais...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xmlns="" id="{02CFBA61-6C5A-49F9-8CCE-6FF025126779}"/>
              </a:ext>
            </a:extLst>
          </p:cNvPr>
          <p:cNvSpPr txBox="1"/>
          <p:nvPr/>
        </p:nvSpPr>
        <p:spPr>
          <a:xfrm>
            <a:off x="363708" y="6331424"/>
            <a:ext cx="25469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pt-BR" dirty="0"/>
              <a:t>*** Significativo a 1%</a:t>
            </a:r>
          </a:p>
          <a:p>
            <a:r>
              <a:rPr lang="pt-BR" dirty="0"/>
              <a:t>** Significativo a 5%    * Significativo a 10%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xmlns="" id="{DDE7C6C4-A407-404A-B8F8-3A1DAAFF337B}"/>
              </a:ext>
            </a:extLst>
          </p:cNvPr>
          <p:cNvSpPr txBox="1"/>
          <p:nvPr/>
        </p:nvSpPr>
        <p:spPr>
          <a:xfrm>
            <a:off x="2910625" y="6331424"/>
            <a:ext cx="580993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tx2"/>
                </a:solidFill>
                <a:latin typeface="+mj-lt"/>
              </a:defRPr>
            </a:lvl1pPr>
          </a:lstStyle>
          <a:p>
            <a:pPr algn="r"/>
            <a:r>
              <a:rPr lang="pt-BR" baseline="30000" dirty="0"/>
              <a:t>1</a:t>
            </a:r>
            <a:r>
              <a:rPr lang="pt-BR" dirty="0"/>
              <a:t>Síntese de Indicadores Sociais do IBGE mostrou que, entre os que concluíram o nível médio na rede pública apenas 35,9% ingressaram no ensino superior, contra 79,2% dos que cursaram a rede privada </a:t>
            </a:r>
          </a:p>
          <a:p>
            <a:pPr algn="r"/>
            <a:endParaRPr lang="pt-BR" dirty="0"/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xmlns="" id="{B6105E07-7360-45C1-9C2B-8904581BAB56}"/>
              </a:ext>
            </a:extLst>
          </p:cNvPr>
          <p:cNvSpPr/>
          <p:nvPr/>
        </p:nvSpPr>
        <p:spPr>
          <a:xfrm>
            <a:off x="477669" y="3186788"/>
            <a:ext cx="2593236" cy="103838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8255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2550" algn="l"/>
              </a:tabLst>
              <a:defRPr/>
            </a:pPr>
            <a:r>
              <a:rPr kumimoji="0" lang="pt-BR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so</a:t>
            </a:r>
            <a:r>
              <a:rPr lang="pt-BR" kern="0" dirty="0">
                <a:solidFill>
                  <a:schemeClr val="tx2"/>
                </a:solidFill>
                <a:latin typeface="Calibri" panose="020F0502020204030204"/>
              </a:rPr>
              <a:t> é suficiente para </a:t>
            </a:r>
            <a:r>
              <a:rPr lang="pt-BR" b="1" kern="0" dirty="0">
                <a:solidFill>
                  <a:schemeClr val="tx2"/>
                </a:solidFill>
                <a:latin typeface="Calibri" panose="020F0502020204030204"/>
              </a:rPr>
              <a:t>fechar 40% do </a:t>
            </a:r>
            <a:r>
              <a:rPr lang="pt-BR" b="1" i="1" kern="0" dirty="0">
                <a:solidFill>
                  <a:schemeClr val="tx2"/>
                </a:solidFill>
                <a:latin typeface="Calibri" panose="020F0502020204030204"/>
              </a:rPr>
              <a:t>gap </a:t>
            </a:r>
            <a:r>
              <a:rPr lang="pt-BR" kern="0" dirty="0">
                <a:solidFill>
                  <a:schemeClr val="tx2"/>
                </a:solidFill>
                <a:latin typeface="Calibri" panose="020F0502020204030204"/>
              </a:rPr>
              <a:t>entre egressos de escolas </a:t>
            </a:r>
            <a:r>
              <a:rPr lang="pt-BR" b="1" kern="0" dirty="0">
                <a:solidFill>
                  <a:schemeClr val="tx2"/>
                </a:solidFill>
                <a:latin typeface="Calibri" panose="020F0502020204030204"/>
              </a:rPr>
              <a:t>públicas e privadas</a:t>
            </a:r>
            <a:r>
              <a:rPr lang="pt-BR" kern="0" baseline="30000" dirty="0">
                <a:solidFill>
                  <a:schemeClr val="tx2"/>
                </a:solidFill>
                <a:latin typeface="Calibri" panose="020F0502020204030204"/>
              </a:rPr>
              <a:t>1</a:t>
            </a:r>
            <a:endParaRPr kumimoji="0" lang="pt-BR" i="0" u="none" strike="noStrike" kern="0" cap="none" spc="0" normalizeH="0" baseline="3000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xmlns="" id="{A5CCCC3F-D9DF-4336-B97B-31641CFC3799}"/>
              </a:ext>
            </a:extLst>
          </p:cNvPr>
          <p:cNvGrpSpPr/>
          <p:nvPr/>
        </p:nvGrpSpPr>
        <p:grpSpPr>
          <a:xfrm>
            <a:off x="7472150" y="58958"/>
            <a:ext cx="1451226" cy="307778"/>
            <a:chOff x="7472150" y="201835"/>
            <a:chExt cx="1451226" cy="307778"/>
          </a:xfrm>
        </p:grpSpPr>
        <p:cxnSp>
          <p:nvCxnSpPr>
            <p:cNvPr id="19" name="Conector reto 18">
              <a:extLst>
                <a:ext uri="{FF2B5EF4-FFF2-40B4-BE49-F238E27FC236}">
                  <a16:creationId xmlns:a16="http://schemas.microsoft.com/office/drawing/2014/main" xmlns="" id="{BF8B5512-353C-4926-A202-8F66A2F30B9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72150" y="201835"/>
              <a:ext cx="1439211" cy="1"/>
            </a:xfrm>
            <a:prstGeom prst="line">
              <a:avLst/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xmlns="" id="{12C63B44-5615-432F-A107-DF39B982A140}"/>
                </a:ext>
              </a:extLst>
            </p:cNvPr>
            <p:cNvSpPr txBox="1"/>
            <p:nvPr/>
          </p:nvSpPr>
          <p:spPr>
            <a:xfrm>
              <a:off x="7472150" y="201836"/>
              <a:ext cx="14512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solidFill>
                    <a:srgbClr val="FF0000"/>
                  </a:solidFill>
                </a:rPr>
                <a:t>PRELIMINAR</a:t>
              </a:r>
            </a:p>
          </p:txBody>
        </p:sp>
        <p:cxnSp>
          <p:nvCxnSpPr>
            <p:cNvPr id="22" name="Conector reto 21">
              <a:extLst>
                <a:ext uri="{FF2B5EF4-FFF2-40B4-BE49-F238E27FC236}">
                  <a16:creationId xmlns:a16="http://schemas.microsoft.com/office/drawing/2014/main" xmlns="" id="{7DCF9C99-B5BF-4132-AB99-F6D32F51BEFF}"/>
                </a:ext>
              </a:extLst>
            </p:cNvPr>
            <p:cNvCxnSpPr>
              <a:cxnSpLocks/>
            </p:cNvCxnSpPr>
            <p:nvPr/>
          </p:nvCxnSpPr>
          <p:spPr>
            <a:xfrm>
              <a:off x="7472150" y="507617"/>
              <a:ext cx="1439211" cy="0"/>
            </a:xfrm>
            <a:prstGeom prst="line">
              <a:avLst/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506272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6456882E-7400-48FF-81C3-406FF1896FF0}"/>
              </a:ext>
            </a:extLst>
          </p:cNvPr>
          <p:cNvSpPr txBox="1"/>
          <p:nvPr/>
        </p:nvSpPr>
        <p:spPr>
          <a:xfrm>
            <a:off x="363707" y="6189759"/>
            <a:ext cx="62173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tx2"/>
                </a:solidFill>
                <a:latin typeface="+mj-lt"/>
              </a:defRPr>
            </a:lvl1pPr>
          </a:lstStyle>
          <a:p>
            <a:pPr marR="0" lvl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dirty="0"/>
              <a:t>Premissas:  </a:t>
            </a:r>
            <a:r>
              <a:rPr lang="pt-BR" kern="0" dirty="0"/>
              <a:t>Salário médio do ensino parcial observado na amostra;  adicional do ensino integral calculado com metodologias estatísticas; Salário médio do ensino médio incompleto é 75% do salário do médio completo, conforme estimativa do </a:t>
            </a:r>
            <a:r>
              <a:rPr lang="pt-BR" kern="0" dirty="0" err="1"/>
              <a:t>Insper</a:t>
            </a:r>
            <a:r>
              <a:rPr lang="pt-BR" kern="0" dirty="0"/>
              <a:t> ; Percentual de aprovação retirado do Censo Escolar</a:t>
            </a:r>
          </a:p>
          <a:p>
            <a:endParaRPr lang="pt-BR" dirty="0"/>
          </a:p>
        </p:txBody>
      </p:sp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xmlns="" id="{485993ED-BDC2-46F4-B34B-47443039A2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xmlns="" id="{485993ED-BDC2-46F4-B34B-47443039A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0EDF407F-6AEA-4863-86E3-2BF840C6A6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3707" y="275358"/>
            <a:ext cx="7170384" cy="528182"/>
          </a:xfrm>
        </p:spPr>
        <p:txBody>
          <a:bodyPr>
            <a:normAutofit fontScale="90000"/>
          </a:bodyPr>
          <a:lstStyle/>
          <a:p>
            <a:r>
              <a:rPr lang="pt-BR" sz="2350" dirty="0"/>
              <a:t>O aumento potencial de renda é expressivo: 19% do salário logo nos primeiros anos </a:t>
            </a:r>
            <a:endParaRPr lang="pt-BR" dirty="0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xmlns="" id="{42636301-5D24-4223-A772-5FF223073CF9}"/>
              </a:ext>
            </a:extLst>
          </p:cNvPr>
          <p:cNvSpPr/>
          <p:nvPr/>
        </p:nvSpPr>
        <p:spPr>
          <a:xfrm>
            <a:off x="4860928" y="860938"/>
            <a:ext cx="1842091" cy="7965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dirty="0">
                <a:solidFill>
                  <a:srgbClr val="FFFFFF"/>
                </a:solidFill>
              </a:rPr>
              <a:t>Renda</a:t>
            </a:r>
          </a:p>
        </p:txBody>
      </p:sp>
      <p:sp>
        <p:nvSpPr>
          <p:cNvPr id="31" name="Retângulo: Cantos Arredondados 30">
            <a:extLst>
              <a:ext uri="{FF2B5EF4-FFF2-40B4-BE49-F238E27FC236}">
                <a16:creationId xmlns:a16="http://schemas.microsoft.com/office/drawing/2014/main" xmlns="" id="{55D0D210-71D7-4224-86CC-6D30CA093D95}"/>
              </a:ext>
            </a:extLst>
          </p:cNvPr>
          <p:cNvSpPr/>
          <p:nvPr/>
        </p:nvSpPr>
        <p:spPr>
          <a:xfrm>
            <a:off x="581543" y="4940488"/>
            <a:ext cx="7791706" cy="108065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solidFill>
              <a:schemeClr val="bg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pt-BR" sz="1800" b="1" kern="0" dirty="0">
                <a:solidFill>
                  <a:schemeClr val="tx2"/>
                </a:solidFill>
                <a:latin typeface="+mn-lt"/>
              </a:rPr>
              <a:t>O impacto do ensino integral é, em média, R$270 ou 19% do salário mensal.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pt-BR" kern="0" dirty="0">
                <a:solidFill>
                  <a:schemeClr val="tx2"/>
                </a:solidFill>
                <a:latin typeface="+mn-lt"/>
              </a:rPr>
              <a:t>Vale lembrar que essas pessoas são jovens (têm, em média, 24 anos). Essa diferença pode aumentar com o tempo, à medida que eles atingirem níveis salariais mais altos</a:t>
            </a:r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xmlns="" id="{B46387F4-B02E-47B8-B2B5-2FD42591EAE6}"/>
              </a:ext>
            </a:extLst>
          </p:cNvPr>
          <p:cNvSpPr/>
          <p:nvPr/>
        </p:nvSpPr>
        <p:spPr>
          <a:xfrm>
            <a:off x="7859236" y="3202155"/>
            <a:ext cx="861327" cy="309165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solidFill>
              <a:schemeClr val="bg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sz="1400" kern="0" dirty="0">
                <a:solidFill>
                  <a:schemeClr val="tx2"/>
                </a:solidFill>
                <a:latin typeface="+mn-lt"/>
              </a:rPr>
              <a:t>+ R$ 143</a:t>
            </a:r>
          </a:p>
        </p:txBody>
      </p: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xmlns="" id="{FC2230A7-2D35-4358-B1DA-309D96DAEFAD}"/>
              </a:ext>
            </a:extLst>
          </p:cNvPr>
          <p:cNvSpPr/>
          <p:nvPr/>
        </p:nvSpPr>
        <p:spPr>
          <a:xfrm>
            <a:off x="7859236" y="3625236"/>
            <a:ext cx="861327" cy="309165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solidFill>
              <a:schemeClr val="bg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sz="1400" kern="0" dirty="0">
                <a:solidFill>
                  <a:schemeClr val="tx2"/>
                </a:solidFill>
                <a:latin typeface="+mn-lt"/>
              </a:rPr>
              <a:t>+ R$ 238</a:t>
            </a:r>
          </a:p>
        </p:txBody>
      </p:sp>
      <p:sp>
        <p:nvSpPr>
          <p:cNvPr id="18" name="Balão de Fala: Retângulo 17">
            <a:extLst>
              <a:ext uri="{FF2B5EF4-FFF2-40B4-BE49-F238E27FC236}">
                <a16:creationId xmlns:a16="http://schemas.microsoft.com/office/drawing/2014/main" xmlns="" id="{3B8B398C-6E8B-44EC-AA77-9D5FDA3A0791}"/>
              </a:ext>
            </a:extLst>
          </p:cNvPr>
          <p:cNvSpPr/>
          <p:nvPr/>
        </p:nvSpPr>
        <p:spPr>
          <a:xfrm>
            <a:off x="6917308" y="1057973"/>
            <a:ext cx="2006400" cy="1122688"/>
          </a:xfrm>
          <a:prstGeom prst="wedgeRectCallout">
            <a:avLst>
              <a:gd name="adj1" fmla="val 11553"/>
              <a:gd name="adj2" fmla="val 125009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2"/>
                </a:solidFill>
              </a:rPr>
              <a:t>Diferença pode indicar maior </a:t>
            </a:r>
            <a:r>
              <a:rPr lang="pt-BR" b="1" dirty="0">
                <a:solidFill>
                  <a:schemeClr val="tx2"/>
                </a:solidFill>
              </a:rPr>
              <a:t>produtividade</a:t>
            </a:r>
            <a:r>
              <a:rPr lang="pt-BR" dirty="0">
                <a:solidFill>
                  <a:schemeClr val="tx2"/>
                </a:solidFill>
              </a:rPr>
              <a:t> dos egressos do integral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F4A794D9-4FE0-4322-B72D-B71C67D43CBC}"/>
              </a:ext>
            </a:extLst>
          </p:cNvPr>
          <p:cNvSpPr txBox="1"/>
          <p:nvPr/>
        </p:nvSpPr>
        <p:spPr>
          <a:xfrm>
            <a:off x="6581303" y="6328916"/>
            <a:ext cx="21565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 sz="1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pt-BR" dirty="0"/>
              <a:t>Taxas de aprovação nas </a:t>
            </a:r>
            <a:r>
              <a:rPr lang="pt-BR" dirty="0" err="1"/>
              <a:t>UFs</a:t>
            </a:r>
            <a:endParaRPr lang="pt-BR" dirty="0"/>
          </a:p>
          <a:p>
            <a:r>
              <a:rPr lang="pt-BR" dirty="0"/>
              <a:t>Pernambuco tem a maior aprovação</a:t>
            </a:r>
          </a:p>
        </p:txBody>
      </p:sp>
      <p:graphicFrame>
        <p:nvGraphicFramePr>
          <p:cNvPr id="9" name="Tabela 8">
            <a:extLst>
              <a:ext uri="{FF2B5EF4-FFF2-40B4-BE49-F238E27FC236}">
                <a16:creationId xmlns:a16="http://schemas.microsoft.com/office/drawing/2014/main" xmlns="" id="{C35B4009-01C2-4A79-8121-5512070E92B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04171" y="1627932"/>
          <a:ext cx="7284203" cy="2655087"/>
        </p:xfrm>
        <a:graphic>
          <a:graphicData uri="http://schemas.openxmlformats.org/drawingml/2006/table">
            <a:tbl>
              <a:tblPr/>
              <a:tblGrid>
                <a:gridCol w="2631374">
                  <a:extLst>
                    <a:ext uri="{9D8B030D-6E8A-4147-A177-3AD203B41FA5}">
                      <a16:colId xmlns:a16="http://schemas.microsoft.com/office/drawing/2014/main" xmlns="" val="1128041993"/>
                    </a:ext>
                  </a:extLst>
                </a:gridCol>
                <a:gridCol w="1241627">
                  <a:extLst>
                    <a:ext uri="{9D8B030D-6E8A-4147-A177-3AD203B41FA5}">
                      <a16:colId xmlns:a16="http://schemas.microsoft.com/office/drawing/2014/main" xmlns="" val="504730753"/>
                    </a:ext>
                  </a:extLst>
                </a:gridCol>
                <a:gridCol w="1176276">
                  <a:extLst>
                    <a:ext uri="{9D8B030D-6E8A-4147-A177-3AD203B41FA5}">
                      <a16:colId xmlns:a16="http://schemas.microsoft.com/office/drawing/2014/main" xmlns="" val="2741669410"/>
                    </a:ext>
                  </a:extLst>
                </a:gridCol>
                <a:gridCol w="1058650">
                  <a:extLst>
                    <a:ext uri="{9D8B030D-6E8A-4147-A177-3AD203B41FA5}">
                      <a16:colId xmlns:a16="http://schemas.microsoft.com/office/drawing/2014/main" xmlns="" val="3660779731"/>
                    </a:ext>
                  </a:extLst>
                </a:gridCol>
                <a:gridCol w="1176276">
                  <a:extLst>
                    <a:ext uri="{9D8B030D-6E8A-4147-A177-3AD203B41FA5}">
                      <a16:colId xmlns:a16="http://schemas.microsoft.com/office/drawing/2014/main" xmlns="" val="95284152"/>
                    </a:ext>
                  </a:extLst>
                </a:gridCol>
              </a:tblGrid>
              <a:tr h="849477">
                <a:tc>
                  <a:txBody>
                    <a:bodyPr/>
                    <a:lstStyle/>
                    <a:p>
                      <a:pPr algn="l" fontAlgn="b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743" marR="3743" marT="37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ARCIAL</a:t>
                      </a:r>
                    </a:p>
                  </a:txBody>
                  <a:tcPr marL="3743" marR="3743" marT="37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TEGRAL</a:t>
                      </a:r>
                    </a:p>
                  </a:txBody>
                  <a:tcPr marL="3743" marR="3743" marT="37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40179725"/>
                  </a:ext>
                </a:extLst>
              </a:tr>
              <a:tr h="361122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scolaridade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% pessoas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lário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% pessoas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lário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23790610"/>
                  </a:ext>
                </a:extLst>
              </a:tr>
              <a:tr h="361122"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sino médio incompleto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.7%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R$    975.56 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7%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R$    975.56 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71179456"/>
                  </a:ext>
                </a:extLst>
              </a:tr>
              <a:tr h="361122"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sino médio completo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5.4%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$ 1 302.73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.9%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R$ 1 445.43 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76882135"/>
                  </a:ext>
                </a:extLst>
              </a:tr>
              <a:tr h="361122"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sino superior completo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6.0%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$ 1 675.25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3.4%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R$ 1 913.25 </a:t>
                      </a:r>
                    </a:p>
                  </a:txBody>
                  <a:tcPr marL="3743" marR="3743" marT="374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51958960"/>
                  </a:ext>
                </a:extLst>
              </a:tr>
              <a:tr h="361122">
                <a:tc>
                  <a:txBody>
                    <a:bodyPr/>
                    <a:lstStyle/>
                    <a:p>
                      <a:pPr algn="l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lário médio</a:t>
                      </a:r>
                    </a:p>
                  </a:txBody>
                  <a:tcPr marL="3743" marR="3743" marT="37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marL="3743" marR="3743" marT="37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R$ 1 445.44 </a:t>
                      </a:r>
                    </a:p>
                  </a:txBody>
                  <a:tcPr marL="3743" marR="3743" marT="37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- </a:t>
                      </a:r>
                    </a:p>
                  </a:txBody>
                  <a:tcPr marL="3743" marR="3743" marT="37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R$ 1 715.38 </a:t>
                      </a:r>
                    </a:p>
                  </a:txBody>
                  <a:tcPr marL="3743" marR="3743" marT="37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23207713"/>
                  </a:ext>
                </a:extLst>
              </a:tr>
            </a:tbl>
          </a:graphicData>
        </a:graphic>
      </p:graphicFrame>
      <p:sp>
        <p:nvSpPr>
          <p:cNvPr id="24" name="Seta: Curva para Cima 23">
            <a:extLst>
              <a:ext uri="{FF2B5EF4-FFF2-40B4-BE49-F238E27FC236}">
                <a16:creationId xmlns:a16="http://schemas.microsoft.com/office/drawing/2014/main" xmlns="" id="{362F8F9D-514A-4DF8-9616-3AB342B3C1BC}"/>
              </a:ext>
            </a:extLst>
          </p:cNvPr>
          <p:cNvSpPr/>
          <p:nvPr/>
        </p:nvSpPr>
        <p:spPr>
          <a:xfrm>
            <a:off x="5565095" y="4304304"/>
            <a:ext cx="1016009" cy="286492"/>
          </a:xfrm>
          <a:prstGeom prst="curvedUpArrow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5" name="Retângulo: Cantos Arredondados 24">
            <a:extLst>
              <a:ext uri="{FF2B5EF4-FFF2-40B4-BE49-F238E27FC236}">
                <a16:creationId xmlns:a16="http://schemas.microsoft.com/office/drawing/2014/main" xmlns="" id="{CA922E43-063C-4FEB-BCFC-DBC77C44D4F2}"/>
              </a:ext>
            </a:extLst>
          </p:cNvPr>
          <p:cNvSpPr/>
          <p:nvPr/>
        </p:nvSpPr>
        <p:spPr>
          <a:xfrm>
            <a:off x="5626763" y="4559460"/>
            <a:ext cx="861327" cy="309165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solidFill>
              <a:schemeClr val="bg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sz="1400" kern="0" dirty="0">
                <a:solidFill>
                  <a:schemeClr val="tx2"/>
                </a:solidFill>
                <a:latin typeface="+mn-lt"/>
              </a:rPr>
              <a:t>+ R$ 270</a:t>
            </a: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xmlns="" id="{FE63B5C6-BEF7-4347-9705-C1E4CF366D64}"/>
              </a:ext>
            </a:extLst>
          </p:cNvPr>
          <p:cNvGrpSpPr/>
          <p:nvPr/>
        </p:nvGrpSpPr>
        <p:grpSpPr>
          <a:xfrm>
            <a:off x="7472150" y="201835"/>
            <a:ext cx="1451226" cy="307778"/>
            <a:chOff x="7472150" y="201835"/>
            <a:chExt cx="1451226" cy="307778"/>
          </a:xfrm>
        </p:grpSpPr>
        <p:cxnSp>
          <p:nvCxnSpPr>
            <p:cNvPr id="20" name="Conector reto 19">
              <a:extLst>
                <a:ext uri="{FF2B5EF4-FFF2-40B4-BE49-F238E27FC236}">
                  <a16:creationId xmlns:a16="http://schemas.microsoft.com/office/drawing/2014/main" xmlns="" id="{D06D4497-C6D1-469A-972C-E19CD2FA0D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72150" y="201835"/>
              <a:ext cx="1439211" cy="1"/>
            </a:xfrm>
            <a:prstGeom prst="line">
              <a:avLst/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xmlns="" id="{8BCEAB7E-A115-4E68-8CAC-4D0E2FCFBB46}"/>
                </a:ext>
              </a:extLst>
            </p:cNvPr>
            <p:cNvSpPr txBox="1"/>
            <p:nvPr/>
          </p:nvSpPr>
          <p:spPr>
            <a:xfrm>
              <a:off x="7472150" y="201836"/>
              <a:ext cx="14512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solidFill>
                    <a:srgbClr val="FF0000"/>
                  </a:solidFill>
                </a:rPr>
                <a:t>PRELIMINAR</a:t>
              </a:r>
            </a:p>
          </p:txBody>
        </p: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xmlns="" id="{37587ED6-4A59-4A48-92A2-6DF631250755}"/>
                </a:ext>
              </a:extLst>
            </p:cNvPr>
            <p:cNvCxnSpPr>
              <a:cxnSpLocks/>
            </p:cNvCxnSpPr>
            <p:nvPr/>
          </p:nvCxnSpPr>
          <p:spPr>
            <a:xfrm>
              <a:off x="7472150" y="507617"/>
              <a:ext cx="1439211" cy="0"/>
            </a:xfrm>
            <a:prstGeom prst="line">
              <a:avLst/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700502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xmlns="" id="{68263AE8-62FA-495B-9BDA-06D6EF8F17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9189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Slide do think-cell" r:id="rId6" imgW="421" imgH="423" progId="TCLayout.ActiveDocument.1">
                  <p:embed/>
                </p:oleObj>
              </mc:Choice>
              <mc:Fallback>
                <p:oleObj name="Slide do think-cell" r:id="rId6" imgW="421" imgH="423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xmlns="" id="{68263AE8-62FA-495B-9BDA-06D6EF8F17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>
            <a:extLst>
              <a:ext uri="{FF2B5EF4-FFF2-40B4-BE49-F238E27FC236}">
                <a16:creationId xmlns:a16="http://schemas.microsoft.com/office/drawing/2014/main" xmlns="" id="{AC36B7F8-FC4D-49EE-A7A8-265C8682E9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100" dirty="0">
              <a:latin typeface="Gill Sans"/>
              <a:ea typeface="+mj-ea"/>
              <a:sym typeface="Gill Sans"/>
            </a:endParaRPr>
          </a:p>
        </p:txBody>
      </p:sp>
      <p:sp>
        <p:nvSpPr>
          <p:cNvPr id="3088" name="Rectangle 17"/>
          <p:cNvSpPr>
            <a:spLocks noGrp="1" noChangeArrowheads="1"/>
          </p:cNvSpPr>
          <p:nvPr>
            <p:ph type="ctrTitle"/>
          </p:nvPr>
        </p:nvSpPr>
        <p:spPr>
          <a:xfrm>
            <a:off x="363707" y="234414"/>
            <a:ext cx="8227378" cy="528182"/>
          </a:xfrm>
        </p:spPr>
        <p:txBody>
          <a:bodyPr>
            <a:normAutofit fontScale="90000"/>
          </a:bodyPr>
          <a:lstStyle/>
          <a:p>
            <a:r>
              <a:rPr lang="pt-BR" dirty="0"/>
              <a:t>UMA formação integral, com foco EM RESULTADOS E na redução da desigualdade social</a:t>
            </a:r>
            <a:endParaRPr lang="en-GB" alt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827583E-0A9D-4FD4-8889-DDBCF82D3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8" name="Freeform 2">
            <a:extLst>
              <a:ext uri="{FF2B5EF4-FFF2-40B4-BE49-F238E27FC236}">
                <a16:creationId xmlns:a16="http://schemas.microsoft.com/office/drawing/2014/main" xmlns="" id="{256BAD83-4E46-45BE-A801-246278CCBD57}"/>
              </a:ext>
            </a:extLst>
          </p:cNvPr>
          <p:cNvSpPr>
            <a:spLocks/>
          </p:cNvSpPr>
          <p:nvPr/>
        </p:nvSpPr>
        <p:spPr bwMode="auto">
          <a:xfrm>
            <a:off x="3278878" y="2372653"/>
            <a:ext cx="2602550" cy="2416976"/>
          </a:xfrm>
          <a:custGeom>
            <a:avLst/>
            <a:gdLst>
              <a:gd name="T0" fmla="*/ 1129970 w 1690"/>
              <a:gd name="T1" fmla="*/ 250237 h 1862"/>
              <a:gd name="T2" fmla="*/ 1159706 w 1690"/>
              <a:gd name="T3" fmla="*/ 180864 h 1862"/>
              <a:gd name="T4" fmla="*/ 1226612 w 1690"/>
              <a:gd name="T5" fmla="*/ 104059 h 1862"/>
              <a:gd name="T6" fmla="*/ 1186964 w 1690"/>
              <a:gd name="T7" fmla="*/ 37164 h 1862"/>
              <a:gd name="T8" fmla="*/ 1025893 w 1690"/>
              <a:gd name="T9" fmla="*/ 0 h 1862"/>
              <a:gd name="T10" fmla="*/ 882169 w 1690"/>
              <a:gd name="T11" fmla="*/ 66895 h 1862"/>
              <a:gd name="T12" fmla="*/ 879691 w 1690"/>
              <a:gd name="T13" fmla="*/ 138745 h 1862"/>
              <a:gd name="T14" fmla="*/ 963943 w 1690"/>
              <a:gd name="T15" fmla="*/ 213073 h 1862"/>
              <a:gd name="T16" fmla="*/ 936685 w 1690"/>
              <a:gd name="T17" fmla="*/ 277490 h 1862"/>
              <a:gd name="T18" fmla="*/ 332052 w 1690"/>
              <a:gd name="T19" fmla="*/ 636741 h 1862"/>
              <a:gd name="T20" fmla="*/ 262668 w 1690"/>
              <a:gd name="T21" fmla="*/ 626831 h 1862"/>
              <a:gd name="T22" fmla="*/ 242844 w 1690"/>
              <a:gd name="T23" fmla="*/ 515339 h 1862"/>
              <a:gd name="T24" fmla="*/ 175938 w 1690"/>
              <a:gd name="T25" fmla="*/ 480653 h 1862"/>
              <a:gd name="T26" fmla="*/ 49560 w 1690"/>
              <a:gd name="T27" fmla="*/ 572324 h 1862"/>
              <a:gd name="T28" fmla="*/ 0 w 1690"/>
              <a:gd name="T29" fmla="*/ 730890 h 1862"/>
              <a:gd name="T30" fmla="*/ 37170 w 1690"/>
              <a:gd name="T31" fmla="*/ 797785 h 1862"/>
              <a:gd name="T32" fmla="*/ 138768 w 1690"/>
              <a:gd name="T33" fmla="*/ 777964 h 1862"/>
              <a:gd name="T34" fmla="*/ 213108 w 1690"/>
              <a:gd name="T35" fmla="*/ 787874 h 1862"/>
              <a:gd name="T36" fmla="*/ 220542 w 1690"/>
              <a:gd name="T37" fmla="*/ 1427093 h 1862"/>
              <a:gd name="T38" fmla="*/ 213108 w 1690"/>
              <a:gd name="T39" fmla="*/ 1531152 h 1862"/>
              <a:gd name="T40" fmla="*/ 128856 w 1690"/>
              <a:gd name="T41" fmla="*/ 1523719 h 1862"/>
              <a:gd name="T42" fmla="*/ 44604 w 1690"/>
              <a:gd name="T43" fmla="*/ 1513809 h 1862"/>
              <a:gd name="T44" fmla="*/ 7434 w 1690"/>
              <a:gd name="T45" fmla="*/ 1612912 h 1862"/>
              <a:gd name="T46" fmla="*/ 74340 w 1690"/>
              <a:gd name="T47" fmla="*/ 1764045 h 1862"/>
              <a:gd name="T48" fmla="*/ 198240 w 1690"/>
              <a:gd name="T49" fmla="*/ 1833418 h 1862"/>
              <a:gd name="T50" fmla="*/ 252756 w 1690"/>
              <a:gd name="T51" fmla="*/ 1786344 h 1862"/>
              <a:gd name="T52" fmla="*/ 280014 w 1690"/>
              <a:gd name="T53" fmla="*/ 1677330 h 1862"/>
              <a:gd name="T54" fmla="*/ 366745 w 1690"/>
              <a:gd name="T55" fmla="*/ 1694673 h 1862"/>
              <a:gd name="T56" fmla="*/ 949075 w 1690"/>
              <a:gd name="T57" fmla="*/ 2036580 h 1862"/>
              <a:gd name="T58" fmla="*/ 961465 w 1690"/>
              <a:gd name="T59" fmla="*/ 2103475 h 1862"/>
              <a:gd name="T60" fmla="*/ 874735 w 1690"/>
              <a:gd name="T61" fmla="*/ 2177803 h 1862"/>
              <a:gd name="T62" fmla="*/ 889603 w 1690"/>
              <a:gd name="T63" fmla="*/ 2252131 h 1862"/>
              <a:gd name="T64" fmla="*/ 1048196 w 1690"/>
              <a:gd name="T65" fmla="*/ 2306638 h 1862"/>
              <a:gd name="T66" fmla="*/ 1196876 w 1690"/>
              <a:gd name="T67" fmla="*/ 2262041 h 1862"/>
              <a:gd name="T68" fmla="*/ 1226612 w 1690"/>
              <a:gd name="T69" fmla="*/ 2187714 h 1862"/>
              <a:gd name="T70" fmla="*/ 1142360 w 1690"/>
              <a:gd name="T71" fmla="*/ 2110908 h 1862"/>
              <a:gd name="T72" fmla="*/ 1137404 w 1690"/>
              <a:gd name="T73" fmla="*/ 2046491 h 1862"/>
              <a:gd name="T74" fmla="*/ 1717256 w 1690"/>
              <a:gd name="T75" fmla="*/ 1709538 h 1862"/>
              <a:gd name="T76" fmla="*/ 1803987 w 1690"/>
              <a:gd name="T77" fmla="*/ 1672374 h 1862"/>
              <a:gd name="T78" fmla="*/ 1838679 w 1690"/>
              <a:gd name="T79" fmla="*/ 1771478 h 1862"/>
              <a:gd name="T80" fmla="*/ 1883283 w 1690"/>
              <a:gd name="T81" fmla="*/ 1833418 h 1862"/>
              <a:gd name="T82" fmla="*/ 1999749 w 1690"/>
              <a:gd name="T83" fmla="*/ 1788821 h 1862"/>
              <a:gd name="T84" fmla="*/ 2081523 w 1690"/>
              <a:gd name="T85" fmla="*/ 1647599 h 1862"/>
              <a:gd name="T86" fmla="*/ 2061699 w 1690"/>
              <a:gd name="T87" fmla="*/ 1526197 h 1862"/>
              <a:gd name="T88" fmla="*/ 1984881 w 1690"/>
              <a:gd name="T89" fmla="*/ 1516286 h 1862"/>
              <a:gd name="T90" fmla="*/ 1883283 w 1690"/>
              <a:gd name="T91" fmla="*/ 1536107 h 1862"/>
              <a:gd name="T92" fmla="*/ 1870893 w 1690"/>
              <a:gd name="T93" fmla="*/ 1441958 h 1862"/>
              <a:gd name="T94" fmla="*/ 1873371 w 1690"/>
              <a:gd name="T95" fmla="*/ 785397 h 1862"/>
              <a:gd name="T96" fmla="*/ 1935321 w 1690"/>
              <a:gd name="T97" fmla="*/ 758143 h 1862"/>
              <a:gd name="T98" fmla="*/ 2041875 w 1690"/>
              <a:gd name="T99" fmla="*/ 792829 h 1862"/>
              <a:gd name="T100" fmla="*/ 2091435 w 1690"/>
              <a:gd name="T101" fmla="*/ 730890 h 1862"/>
              <a:gd name="T102" fmla="*/ 2056743 w 1690"/>
              <a:gd name="T103" fmla="*/ 579756 h 1862"/>
              <a:gd name="T104" fmla="*/ 1927887 w 1690"/>
              <a:gd name="T105" fmla="*/ 468265 h 1862"/>
              <a:gd name="T106" fmla="*/ 1856025 w 1690"/>
              <a:gd name="T107" fmla="*/ 495518 h 1862"/>
              <a:gd name="T108" fmla="*/ 1836201 w 1690"/>
              <a:gd name="T109" fmla="*/ 604532 h 1862"/>
              <a:gd name="T110" fmla="*/ 1774251 w 1690"/>
              <a:gd name="T111" fmla="*/ 631786 h 186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90" h="1862">
                <a:moveTo>
                  <a:pt x="982" y="242"/>
                </a:moveTo>
                <a:lnTo>
                  <a:pt x="982" y="242"/>
                </a:lnTo>
                <a:lnTo>
                  <a:pt x="960" y="236"/>
                </a:lnTo>
                <a:lnTo>
                  <a:pt x="936" y="224"/>
                </a:lnTo>
                <a:lnTo>
                  <a:pt x="926" y="218"/>
                </a:lnTo>
                <a:lnTo>
                  <a:pt x="918" y="212"/>
                </a:lnTo>
                <a:lnTo>
                  <a:pt x="912" y="202"/>
                </a:lnTo>
                <a:lnTo>
                  <a:pt x="910" y="194"/>
                </a:lnTo>
                <a:lnTo>
                  <a:pt x="912" y="182"/>
                </a:lnTo>
                <a:lnTo>
                  <a:pt x="914" y="172"/>
                </a:lnTo>
                <a:lnTo>
                  <a:pt x="918" y="164"/>
                </a:lnTo>
                <a:lnTo>
                  <a:pt x="922" y="158"/>
                </a:lnTo>
                <a:lnTo>
                  <a:pt x="936" y="146"/>
                </a:lnTo>
                <a:lnTo>
                  <a:pt x="950" y="138"/>
                </a:lnTo>
                <a:lnTo>
                  <a:pt x="964" y="130"/>
                </a:lnTo>
                <a:lnTo>
                  <a:pt x="978" y="120"/>
                </a:lnTo>
                <a:lnTo>
                  <a:pt x="982" y="112"/>
                </a:lnTo>
                <a:lnTo>
                  <a:pt x="986" y="104"/>
                </a:lnTo>
                <a:lnTo>
                  <a:pt x="990" y="96"/>
                </a:lnTo>
                <a:lnTo>
                  <a:pt x="990" y="84"/>
                </a:lnTo>
                <a:lnTo>
                  <a:pt x="990" y="72"/>
                </a:lnTo>
                <a:lnTo>
                  <a:pt x="986" y="62"/>
                </a:lnTo>
                <a:lnTo>
                  <a:pt x="982" y="54"/>
                </a:lnTo>
                <a:lnTo>
                  <a:pt x="974" y="44"/>
                </a:lnTo>
                <a:lnTo>
                  <a:pt x="966" y="36"/>
                </a:lnTo>
                <a:lnTo>
                  <a:pt x="958" y="30"/>
                </a:lnTo>
                <a:lnTo>
                  <a:pt x="936" y="18"/>
                </a:lnTo>
                <a:lnTo>
                  <a:pt x="912" y="10"/>
                </a:lnTo>
                <a:lnTo>
                  <a:pt x="888" y="4"/>
                </a:lnTo>
                <a:lnTo>
                  <a:pt x="866" y="0"/>
                </a:lnTo>
                <a:lnTo>
                  <a:pt x="846" y="0"/>
                </a:lnTo>
                <a:lnTo>
                  <a:pt x="828" y="0"/>
                </a:lnTo>
                <a:lnTo>
                  <a:pt x="804" y="4"/>
                </a:lnTo>
                <a:lnTo>
                  <a:pt x="780" y="10"/>
                </a:lnTo>
                <a:lnTo>
                  <a:pt x="756" y="18"/>
                </a:lnTo>
                <a:lnTo>
                  <a:pt x="736" y="30"/>
                </a:lnTo>
                <a:lnTo>
                  <a:pt x="726" y="36"/>
                </a:lnTo>
                <a:lnTo>
                  <a:pt x="718" y="44"/>
                </a:lnTo>
                <a:lnTo>
                  <a:pt x="712" y="54"/>
                </a:lnTo>
                <a:lnTo>
                  <a:pt x="706" y="62"/>
                </a:lnTo>
                <a:lnTo>
                  <a:pt x="704" y="72"/>
                </a:lnTo>
                <a:lnTo>
                  <a:pt x="702" y="84"/>
                </a:lnTo>
                <a:lnTo>
                  <a:pt x="704" y="96"/>
                </a:lnTo>
                <a:lnTo>
                  <a:pt x="706" y="104"/>
                </a:lnTo>
                <a:lnTo>
                  <a:pt x="710" y="112"/>
                </a:lnTo>
                <a:lnTo>
                  <a:pt x="716" y="120"/>
                </a:lnTo>
                <a:lnTo>
                  <a:pt x="728" y="130"/>
                </a:lnTo>
                <a:lnTo>
                  <a:pt x="742" y="138"/>
                </a:lnTo>
                <a:lnTo>
                  <a:pt x="758" y="146"/>
                </a:lnTo>
                <a:lnTo>
                  <a:pt x="770" y="158"/>
                </a:lnTo>
                <a:lnTo>
                  <a:pt x="776" y="164"/>
                </a:lnTo>
                <a:lnTo>
                  <a:pt x="778" y="172"/>
                </a:lnTo>
                <a:lnTo>
                  <a:pt x="782" y="182"/>
                </a:lnTo>
                <a:lnTo>
                  <a:pt x="782" y="194"/>
                </a:lnTo>
                <a:lnTo>
                  <a:pt x="780" y="202"/>
                </a:lnTo>
                <a:lnTo>
                  <a:pt x="774" y="212"/>
                </a:lnTo>
                <a:lnTo>
                  <a:pt x="766" y="218"/>
                </a:lnTo>
                <a:lnTo>
                  <a:pt x="756" y="224"/>
                </a:lnTo>
                <a:lnTo>
                  <a:pt x="734" y="236"/>
                </a:lnTo>
                <a:lnTo>
                  <a:pt x="712" y="242"/>
                </a:lnTo>
                <a:lnTo>
                  <a:pt x="446" y="238"/>
                </a:lnTo>
                <a:lnTo>
                  <a:pt x="306" y="484"/>
                </a:lnTo>
                <a:lnTo>
                  <a:pt x="288" y="500"/>
                </a:lnTo>
                <a:lnTo>
                  <a:pt x="268" y="514"/>
                </a:lnTo>
                <a:lnTo>
                  <a:pt x="258" y="518"/>
                </a:lnTo>
                <a:lnTo>
                  <a:pt x="248" y="522"/>
                </a:lnTo>
                <a:lnTo>
                  <a:pt x="238" y="522"/>
                </a:lnTo>
                <a:lnTo>
                  <a:pt x="230" y="520"/>
                </a:lnTo>
                <a:lnTo>
                  <a:pt x="220" y="514"/>
                </a:lnTo>
                <a:lnTo>
                  <a:pt x="212" y="506"/>
                </a:lnTo>
                <a:lnTo>
                  <a:pt x="208" y="498"/>
                </a:lnTo>
                <a:lnTo>
                  <a:pt x="204" y="490"/>
                </a:lnTo>
                <a:lnTo>
                  <a:pt x="200" y="474"/>
                </a:lnTo>
                <a:lnTo>
                  <a:pt x="200" y="458"/>
                </a:lnTo>
                <a:lnTo>
                  <a:pt x="200" y="442"/>
                </a:lnTo>
                <a:lnTo>
                  <a:pt x="198" y="424"/>
                </a:lnTo>
                <a:lnTo>
                  <a:pt x="196" y="416"/>
                </a:lnTo>
                <a:lnTo>
                  <a:pt x="190" y="410"/>
                </a:lnTo>
                <a:lnTo>
                  <a:pt x="184" y="402"/>
                </a:lnTo>
                <a:lnTo>
                  <a:pt x="174" y="396"/>
                </a:lnTo>
                <a:lnTo>
                  <a:pt x="164" y="390"/>
                </a:lnTo>
                <a:lnTo>
                  <a:pt x="154" y="388"/>
                </a:lnTo>
                <a:lnTo>
                  <a:pt x="142" y="388"/>
                </a:lnTo>
                <a:lnTo>
                  <a:pt x="132" y="390"/>
                </a:lnTo>
                <a:lnTo>
                  <a:pt x="122" y="392"/>
                </a:lnTo>
                <a:lnTo>
                  <a:pt x="110" y="398"/>
                </a:lnTo>
                <a:lnTo>
                  <a:pt x="90" y="410"/>
                </a:lnTo>
                <a:lnTo>
                  <a:pt x="70" y="426"/>
                </a:lnTo>
                <a:lnTo>
                  <a:pt x="54" y="444"/>
                </a:lnTo>
                <a:lnTo>
                  <a:pt x="40" y="462"/>
                </a:lnTo>
                <a:lnTo>
                  <a:pt x="30" y="478"/>
                </a:lnTo>
                <a:lnTo>
                  <a:pt x="20" y="496"/>
                </a:lnTo>
                <a:lnTo>
                  <a:pt x="12" y="516"/>
                </a:lnTo>
                <a:lnTo>
                  <a:pt x="4" y="540"/>
                </a:lnTo>
                <a:lnTo>
                  <a:pt x="0" y="566"/>
                </a:lnTo>
                <a:lnTo>
                  <a:pt x="0" y="590"/>
                </a:lnTo>
                <a:lnTo>
                  <a:pt x="2" y="602"/>
                </a:lnTo>
                <a:lnTo>
                  <a:pt x="4" y="612"/>
                </a:lnTo>
                <a:lnTo>
                  <a:pt x="8" y="622"/>
                </a:lnTo>
                <a:lnTo>
                  <a:pt x="14" y="630"/>
                </a:lnTo>
                <a:lnTo>
                  <a:pt x="20" y="638"/>
                </a:lnTo>
                <a:lnTo>
                  <a:pt x="30" y="644"/>
                </a:lnTo>
                <a:lnTo>
                  <a:pt x="40" y="650"/>
                </a:lnTo>
                <a:lnTo>
                  <a:pt x="50" y="652"/>
                </a:lnTo>
                <a:lnTo>
                  <a:pt x="58" y="652"/>
                </a:lnTo>
                <a:lnTo>
                  <a:pt x="68" y="652"/>
                </a:lnTo>
                <a:lnTo>
                  <a:pt x="82" y="646"/>
                </a:lnTo>
                <a:lnTo>
                  <a:pt x="98" y="638"/>
                </a:lnTo>
                <a:lnTo>
                  <a:pt x="112" y="628"/>
                </a:lnTo>
                <a:lnTo>
                  <a:pt x="128" y="624"/>
                </a:lnTo>
                <a:lnTo>
                  <a:pt x="136" y="622"/>
                </a:lnTo>
                <a:lnTo>
                  <a:pt x="144" y="622"/>
                </a:lnTo>
                <a:lnTo>
                  <a:pt x="154" y="626"/>
                </a:lnTo>
                <a:lnTo>
                  <a:pt x="166" y="630"/>
                </a:lnTo>
                <a:lnTo>
                  <a:pt x="172" y="636"/>
                </a:lnTo>
                <a:lnTo>
                  <a:pt x="176" y="646"/>
                </a:lnTo>
                <a:lnTo>
                  <a:pt x="178" y="656"/>
                </a:lnTo>
                <a:lnTo>
                  <a:pt x="180" y="668"/>
                </a:lnTo>
                <a:lnTo>
                  <a:pt x="176" y="692"/>
                </a:lnTo>
                <a:lnTo>
                  <a:pt x="172" y="714"/>
                </a:lnTo>
                <a:lnTo>
                  <a:pt x="48" y="928"/>
                </a:lnTo>
                <a:lnTo>
                  <a:pt x="178" y="1152"/>
                </a:lnTo>
                <a:lnTo>
                  <a:pt x="184" y="1174"/>
                </a:lnTo>
                <a:lnTo>
                  <a:pt x="186" y="1200"/>
                </a:lnTo>
                <a:lnTo>
                  <a:pt x="186" y="1212"/>
                </a:lnTo>
                <a:lnTo>
                  <a:pt x="184" y="1222"/>
                </a:lnTo>
                <a:lnTo>
                  <a:pt x="178" y="1230"/>
                </a:lnTo>
                <a:lnTo>
                  <a:pt x="172" y="1236"/>
                </a:lnTo>
                <a:lnTo>
                  <a:pt x="162" y="1242"/>
                </a:lnTo>
                <a:lnTo>
                  <a:pt x="152" y="1244"/>
                </a:lnTo>
                <a:lnTo>
                  <a:pt x="142" y="1246"/>
                </a:lnTo>
                <a:lnTo>
                  <a:pt x="134" y="1244"/>
                </a:lnTo>
                <a:lnTo>
                  <a:pt x="118" y="1238"/>
                </a:lnTo>
                <a:lnTo>
                  <a:pt x="104" y="1230"/>
                </a:lnTo>
                <a:lnTo>
                  <a:pt x="90" y="1222"/>
                </a:lnTo>
                <a:lnTo>
                  <a:pt x="74" y="1216"/>
                </a:lnTo>
                <a:lnTo>
                  <a:pt x="66" y="1214"/>
                </a:lnTo>
                <a:lnTo>
                  <a:pt x="56" y="1216"/>
                </a:lnTo>
                <a:lnTo>
                  <a:pt x="48" y="1218"/>
                </a:lnTo>
                <a:lnTo>
                  <a:pt x="36" y="1222"/>
                </a:lnTo>
                <a:lnTo>
                  <a:pt x="28" y="1228"/>
                </a:lnTo>
                <a:lnTo>
                  <a:pt x="20" y="1236"/>
                </a:lnTo>
                <a:lnTo>
                  <a:pt x="14" y="1246"/>
                </a:lnTo>
                <a:lnTo>
                  <a:pt x="10" y="1256"/>
                </a:lnTo>
                <a:lnTo>
                  <a:pt x="8" y="1266"/>
                </a:lnTo>
                <a:lnTo>
                  <a:pt x="6" y="1278"/>
                </a:lnTo>
                <a:lnTo>
                  <a:pt x="6" y="1302"/>
                </a:lnTo>
                <a:lnTo>
                  <a:pt x="12" y="1328"/>
                </a:lnTo>
                <a:lnTo>
                  <a:pt x="18" y="1350"/>
                </a:lnTo>
                <a:lnTo>
                  <a:pt x="26" y="1372"/>
                </a:lnTo>
                <a:lnTo>
                  <a:pt x="36" y="1390"/>
                </a:lnTo>
                <a:lnTo>
                  <a:pt x="46" y="1406"/>
                </a:lnTo>
                <a:lnTo>
                  <a:pt x="60" y="1424"/>
                </a:lnTo>
                <a:lnTo>
                  <a:pt x="78" y="1442"/>
                </a:lnTo>
                <a:lnTo>
                  <a:pt x="96" y="1458"/>
                </a:lnTo>
                <a:lnTo>
                  <a:pt x="118" y="1470"/>
                </a:lnTo>
                <a:lnTo>
                  <a:pt x="128" y="1474"/>
                </a:lnTo>
                <a:lnTo>
                  <a:pt x="138" y="1478"/>
                </a:lnTo>
                <a:lnTo>
                  <a:pt x="150" y="1480"/>
                </a:lnTo>
                <a:lnTo>
                  <a:pt x="160" y="1480"/>
                </a:lnTo>
                <a:lnTo>
                  <a:pt x="170" y="1476"/>
                </a:lnTo>
                <a:lnTo>
                  <a:pt x="180" y="1472"/>
                </a:lnTo>
                <a:lnTo>
                  <a:pt x="190" y="1466"/>
                </a:lnTo>
                <a:lnTo>
                  <a:pt x="196" y="1458"/>
                </a:lnTo>
                <a:lnTo>
                  <a:pt x="202" y="1450"/>
                </a:lnTo>
                <a:lnTo>
                  <a:pt x="204" y="1442"/>
                </a:lnTo>
                <a:lnTo>
                  <a:pt x="208" y="1426"/>
                </a:lnTo>
                <a:lnTo>
                  <a:pt x="208" y="1410"/>
                </a:lnTo>
                <a:lnTo>
                  <a:pt x="208" y="1392"/>
                </a:lnTo>
                <a:lnTo>
                  <a:pt x="210" y="1376"/>
                </a:lnTo>
                <a:lnTo>
                  <a:pt x="214" y="1368"/>
                </a:lnTo>
                <a:lnTo>
                  <a:pt x="218" y="1362"/>
                </a:lnTo>
                <a:lnTo>
                  <a:pt x="226" y="1354"/>
                </a:lnTo>
                <a:lnTo>
                  <a:pt x="236" y="1348"/>
                </a:lnTo>
                <a:lnTo>
                  <a:pt x="244" y="1344"/>
                </a:lnTo>
                <a:lnTo>
                  <a:pt x="254" y="1346"/>
                </a:lnTo>
                <a:lnTo>
                  <a:pt x="264" y="1348"/>
                </a:lnTo>
                <a:lnTo>
                  <a:pt x="276" y="1354"/>
                </a:lnTo>
                <a:lnTo>
                  <a:pt x="296" y="1368"/>
                </a:lnTo>
                <a:lnTo>
                  <a:pt x="312" y="1384"/>
                </a:lnTo>
                <a:lnTo>
                  <a:pt x="448" y="1620"/>
                </a:lnTo>
                <a:lnTo>
                  <a:pt x="712" y="1620"/>
                </a:lnTo>
                <a:lnTo>
                  <a:pt x="734" y="1628"/>
                </a:lnTo>
                <a:lnTo>
                  <a:pt x="756" y="1638"/>
                </a:lnTo>
                <a:lnTo>
                  <a:pt x="766" y="1644"/>
                </a:lnTo>
                <a:lnTo>
                  <a:pt x="774" y="1652"/>
                </a:lnTo>
                <a:lnTo>
                  <a:pt x="780" y="1660"/>
                </a:lnTo>
                <a:lnTo>
                  <a:pt x="782" y="1668"/>
                </a:lnTo>
                <a:lnTo>
                  <a:pt x="782" y="1680"/>
                </a:lnTo>
                <a:lnTo>
                  <a:pt x="778" y="1690"/>
                </a:lnTo>
                <a:lnTo>
                  <a:pt x="776" y="1698"/>
                </a:lnTo>
                <a:lnTo>
                  <a:pt x="770" y="1704"/>
                </a:lnTo>
                <a:lnTo>
                  <a:pt x="758" y="1716"/>
                </a:lnTo>
                <a:lnTo>
                  <a:pt x="742" y="1724"/>
                </a:lnTo>
                <a:lnTo>
                  <a:pt x="728" y="1732"/>
                </a:lnTo>
                <a:lnTo>
                  <a:pt x="716" y="1742"/>
                </a:lnTo>
                <a:lnTo>
                  <a:pt x="710" y="1750"/>
                </a:lnTo>
                <a:lnTo>
                  <a:pt x="706" y="1758"/>
                </a:lnTo>
                <a:lnTo>
                  <a:pt x="704" y="1766"/>
                </a:lnTo>
                <a:lnTo>
                  <a:pt x="702" y="1778"/>
                </a:lnTo>
                <a:lnTo>
                  <a:pt x="704" y="1790"/>
                </a:lnTo>
                <a:lnTo>
                  <a:pt x="706" y="1800"/>
                </a:lnTo>
                <a:lnTo>
                  <a:pt x="712" y="1810"/>
                </a:lnTo>
                <a:lnTo>
                  <a:pt x="718" y="1818"/>
                </a:lnTo>
                <a:lnTo>
                  <a:pt x="726" y="1826"/>
                </a:lnTo>
                <a:lnTo>
                  <a:pt x="736" y="1832"/>
                </a:lnTo>
                <a:lnTo>
                  <a:pt x="756" y="1844"/>
                </a:lnTo>
                <a:lnTo>
                  <a:pt x="780" y="1852"/>
                </a:lnTo>
                <a:lnTo>
                  <a:pt x="804" y="1858"/>
                </a:lnTo>
                <a:lnTo>
                  <a:pt x="828" y="1862"/>
                </a:lnTo>
                <a:lnTo>
                  <a:pt x="846" y="1862"/>
                </a:lnTo>
                <a:lnTo>
                  <a:pt x="866" y="1862"/>
                </a:lnTo>
                <a:lnTo>
                  <a:pt x="888" y="1858"/>
                </a:lnTo>
                <a:lnTo>
                  <a:pt x="912" y="1852"/>
                </a:lnTo>
                <a:lnTo>
                  <a:pt x="936" y="1844"/>
                </a:lnTo>
                <a:lnTo>
                  <a:pt x="958" y="1832"/>
                </a:lnTo>
                <a:lnTo>
                  <a:pt x="966" y="1826"/>
                </a:lnTo>
                <a:lnTo>
                  <a:pt x="974" y="1818"/>
                </a:lnTo>
                <a:lnTo>
                  <a:pt x="982" y="1810"/>
                </a:lnTo>
                <a:lnTo>
                  <a:pt x="986" y="1800"/>
                </a:lnTo>
                <a:lnTo>
                  <a:pt x="990" y="1790"/>
                </a:lnTo>
                <a:lnTo>
                  <a:pt x="990" y="1778"/>
                </a:lnTo>
                <a:lnTo>
                  <a:pt x="990" y="1766"/>
                </a:lnTo>
                <a:lnTo>
                  <a:pt x="986" y="1758"/>
                </a:lnTo>
                <a:lnTo>
                  <a:pt x="982" y="1750"/>
                </a:lnTo>
                <a:lnTo>
                  <a:pt x="978" y="1742"/>
                </a:lnTo>
                <a:lnTo>
                  <a:pt x="964" y="1732"/>
                </a:lnTo>
                <a:lnTo>
                  <a:pt x="950" y="1724"/>
                </a:lnTo>
                <a:lnTo>
                  <a:pt x="936" y="1716"/>
                </a:lnTo>
                <a:lnTo>
                  <a:pt x="922" y="1704"/>
                </a:lnTo>
                <a:lnTo>
                  <a:pt x="918" y="1698"/>
                </a:lnTo>
                <a:lnTo>
                  <a:pt x="914" y="1690"/>
                </a:lnTo>
                <a:lnTo>
                  <a:pt x="912" y="1680"/>
                </a:lnTo>
                <a:lnTo>
                  <a:pt x="910" y="1668"/>
                </a:lnTo>
                <a:lnTo>
                  <a:pt x="912" y="1660"/>
                </a:lnTo>
                <a:lnTo>
                  <a:pt x="918" y="1652"/>
                </a:lnTo>
                <a:lnTo>
                  <a:pt x="926" y="1644"/>
                </a:lnTo>
                <a:lnTo>
                  <a:pt x="936" y="1638"/>
                </a:lnTo>
                <a:lnTo>
                  <a:pt x="960" y="1628"/>
                </a:lnTo>
                <a:lnTo>
                  <a:pt x="982" y="1620"/>
                </a:lnTo>
                <a:lnTo>
                  <a:pt x="1248" y="1620"/>
                </a:lnTo>
                <a:lnTo>
                  <a:pt x="1386" y="1380"/>
                </a:lnTo>
                <a:lnTo>
                  <a:pt x="1402" y="1366"/>
                </a:lnTo>
                <a:lnTo>
                  <a:pt x="1420" y="1354"/>
                </a:lnTo>
                <a:lnTo>
                  <a:pt x="1430" y="1350"/>
                </a:lnTo>
                <a:lnTo>
                  <a:pt x="1440" y="1348"/>
                </a:lnTo>
                <a:lnTo>
                  <a:pt x="1448" y="1348"/>
                </a:lnTo>
                <a:lnTo>
                  <a:pt x="1456" y="1350"/>
                </a:lnTo>
                <a:lnTo>
                  <a:pt x="1464" y="1356"/>
                </a:lnTo>
                <a:lnTo>
                  <a:pt x="1472" y="1364"/>
                </a:lnTo>
                <a:lnTo>
                  <a:pt x="1478" y="1372"/>
                </a:lnTo>
                <a:lnTo>
                  <a:pt x="1480" y="1380"/>
                </a:lnTo>
                <a:lnTo>
                  <a:pt x="1484" y="1396"/>
                </a:lnTo>
                <a:lnTo>
                  <a:pt x="1484" y="1412"/>
                </a:lnTo>
                <a:lnTo>
                  <a:pt x="1484" y="1430"/>
                </a:lnTo>
                <a:lnTo>
                  <a:pt x="1486" y="1446"/>
                </a:lnTo>
                <a:lnTo>
                  <a:pt x="1490" y="1454"/>
                </a:lnTo>
                <a:lnTo>
                  <a:pt x="1494" y="1460"/>
                </a:lnTo>
                <a:lnTo>
                  <a:pt x="1502" y="1468"/>
                </a:lnTo>
                <a:lnTo>
                  <a:pt x="1510" y="1474"/>
                </a:lnTo>
                <a:lnTo>
                  <a:pt x="1520" y="1480"/>
                </a:lnTo>
                <a:lnTo>
                  <a:pt x="1530" y="1482"/>
                </a:lnTo>
                <a:lnTo>
                  <a:pt x="1542" y="1482"/>
                </a:lnTo>
                <a:lnTo>
                  <a:pt x="1552" y="1480"/>
                </a:lnTo>
                <a:lnTo>
                  <a:pt x="1564" y="1478"/>
                </a:lnTo>
                <a:lnTo>
                  <a:pt x="1574" y="1474"/>
                </a:lnTo>
                <a:lnTo>
                  <a:pt x="1594" y="1460"/>
                </a:lnTo>
                <a:lnTo>
                  <a:pt x="1614" y="1444"/>
                </a:lnTo>
                <a:lnTo>
                  <a:pt x="1630" y="1426"/>
                </a:lnTo>
                <a:lnTo>
                  <a:pt x="1644" y="1408"/>
                </a:lnTo>
                <a:lnTo>
                  <a:pt x="1656" y="1392"/>
                </a:lnTo>
                <a:lnTo>
                  <a:pt x="1664" y="1374"/>
                </a:lnTo>
                <a:lnTo>
                  <a:pt x="1672" y="1354"/>
                </a:lnTo>
                <a:lnTo>
                  <a:pt x="1680" y="1330"/>
                </a:lnTo>
                <a:lnTo>
                  <a:pt x="1684" y="1306"/>
                </a:lnTo>
                <a:lnTo>
                  <a:pt x="1684" y="1280"/>
                </a:lnTo>
                <a:lnTo>
                  <a:pt x="1684" y="1270"/>
                </a:lnTo>
                <a:lnTo>
                  <a:pt x="1680" y="1258"/>
                </a:lnTo>
                <a:lnTo>
                  <a:pt x="1676" y="1248"/>
                </a:lnTo>
                <a:lnTo>
                  <a:pt x="1670" y="1240"/>
                </a:lnTo>
                <a:lnTo>
                  <a:pt x="1664" y="1232"/>
                </a:lnTo>
                <a:lnTo>
                  <a:pt x="1654" y="1226"/>
                </a:lnTo>
                <a:lnTo>
                  <a:pt x="1644" y="1220"/>
                </a:lnTo>
                <a:lnTo>
                  <a:pt x="1634" y="1218"/>
                </a:lnTo>
                <a:lnTo>
                  <a:pt x="1626" y="1218"/>
                </a:lnTo>
                <a:lnTo>
                  <a:pt x="1618" y="1218"/>
                </a:lnTo>
                <a:lnTo>
                  <a:pt x="1602" y="1224"/>
                </a:lnTo>
                <a:lnTo>
                  <a:pt x="1588" y="1234"/>
                </a:lnTo>
                <a:lnTo>
                  <a:pt x="1572" y="1242"/>
                </a:lnTo>
                <a:lnTo>
                  <a:pt x="1558" y="1248"/>
                </a:lnTo>
                <a:lnTo>
                  <a:pt x="1548" y="1248"/>
                </a:lnTo>
                <a:lnTo>
                  <a:pt x="1540" y="1248"/>
                </a:lnTo>
                <a:lnTo>
                  <a:pt x="1530" y="1244"/>
                </a:lnTo>
                <a:lnTo>
                  <a:pt x="1520" y="1240"/>
                </a:lnTo>
                <a:lnTo>
                  <a:pt x="1514" y="1234"/>
                </a:lnTo>
                <a:lnTo>
                  <a:pt x="1508" y="1226"/>
                </a:lnTo>
                <a:lnTo>
                  <a:pt x="1506" y="1218"/>
                </a:lnTo>
                <a:lnTo>
                  <a:pt x="1506" y="1208"/>
                </a:lnTo>
                <a:lnTo>
                  <a:pt x="1506" y="1186"/>
                </a:lnTo>
                <a:lnTo>
                  <a:pt x="1510" y="1164"/>
                </a:lnTo>
                <a:lnTo>
                  <a:pt x="1648" y="928"/>
                </a:lnTo>
                <a:lnTo>
                  <a:pt x="1516" y="700"/>
                </a:lnTo>
                <a:lnTo>
                  <a:pt x="1512" y="678"/>
                </a:lnTo>
                <a:lnTo>
                  <a:pt x="1510" y="656"/>
                </a:lnTo>
                <a:lnTo>
                  <a:pt x="1510" y="644"/>
                </a:lnTo>
                <a:lnTo>
                  <a:pt x="1512" y="634"/>
                </a:lnTo>
                <a:lnTo>
                  <a:pt x="1518" y="626"/>
                </a:lnTo>
                <a:lnTo>
                  <a:pt x="1524" y="620"/>
                </a:lnTo>
                <a:lnTo>
                  <a:pt x="1534" y="616"/>
                </a:lnTo>
                <a:lnTo>
                  <a:pt x="1544" y="612"/>
                </a:lnTo>
                <a:lnTo>
                  <a:pt x="1552" y="612"/>
                </a:lnTo>
                <a:lnTo>
                  <a:pt x="1562" y="612"/>
                </a:lnTo>
                <a:lnTo>
                  <a:pt x="1576" y="618"/>
                </a:lnTo>
                <a:lnTo>
                  <a:pt x="1592" y="626"/>
                </a:lnTo>
                <a:lnTo>
                  <a:pt x="1606" y="636"/>
                </a:lnTo>
                <a:lnTo>
                  <a:pt x="1622" y="642"/>
                </a:lnTo>
                <a:lnTo>
                  <a:pt x="1630" y="642"/>
                </a:lnTo>
                <a:lnTo>
                  <a:pt x="1638" y="642"/>
                </a:lnTo>
                <a:lnTo>
                  <a:pt x="1648" y="640"/>
                </a:lnTo>
                <a:lnTo>
                  <a:pt x="1658" y="634"/>
                </a:lnTo>
                <a:lnTo>
                  <a:pt x="1668" y="628"/>
                </a:lnTo>
                <a:lnTo>
                  <a:pt x="1676" y="620"/>
                </a:lnTo>
                <a:lnTo>
                  <a:pt x="1682" y="612"/>
                </a:lnTo>
                <a:lnTo>
                  <a:pt x="1686" y="602"/>
                </a:lnTo>
                <a:lnTo>
                  <a:pt x="1688" y="590"/>
                </a:lnTo>
                <a:lnTo>
                  <a:pt x="1690" y="580"/>
                </a:lnTo>
                <a:lnTo>
                  <a:pt x="1688" y="554"/>
                </a:lnTo>
                <a:lnTo>
                  <a:pt x="1684" y="530"/>
                </a:lnTo>
                <a:lnTo>
                  <a:pt x="1678" y="506"/>
                </a:lnTo>
                <a:lnTo>
                  <a:pt x="1668" y="486"/>
                </a:lnTo>
                <a:lnTo>
                  <a:pt x="1660" y="468"/>
                </a:lnTo>
                <a:lnTo>
                  <a:pt x="1650" y="452"/>
                </a:lnTo>
                <a:lnTo>
                  <a:pt x="1636" y="434"/>
                </a:lnTo>
                <a:lnTo>
                  <a:pt x="1618" y="416"/>
                </a:lnTo>
                <a:lnTo>
                  <a:pt x="1598" y="400"/>
                </a:lnTo>
                <a:lnTo>
                  <a:pt x="1578" y="386"/>
                </a:lnTo>
                <a:lnTo>
                  <a:pt x="1568" y="382"/>
                </a:lnTo>
                <a:lnTo>
                  <a:pt x="1556" y="378"/>
                </a:lnTo>
                <a:lnTo>
                  <a:pt x="1546" y="378"/>
                </a:lnTo>
                <a:lnTo>
                  <a:pt x="1536" y="378"/>
                </a:lnTo>
                <a:lnTo>
                  <a:pt x="1524" y="380"/>
                </a:lnTo>
                <a:lnTo>
                  <a:pt x="1514" y="386"/>
                </a:lnTo>
                <a:lnTo>
                  <a:pt x="1506" y="392"/>
                </a:lnTo>
                <a:lnTo>
                  <a:pt x="1498" y="400"/>
                </a:lnTo>
                <a:lnTo>
                  <a:pt x="1494" y="406"/>
                </a:lnTo>
                <a:lnTo>
                  <a:pt x="1490" y="414"/>
                </a:lnTo>
                <a:lnTo>
                  <a:pt x="1488" y="430"/>
                </a:lnTo>
                <a:lnTo>
                  <a:pt x="1488" y="448"/>
                </a:lnTo>
                <a:lnTo>
                  <a:pt x="1488" y="464"/>
                </a:lnTo>
                <a:lnTo>
                  <a:pt x="1486" y="480"/>
                </a:lnTo>
                <a:lnTo>
                  <a:pt x="1482" y="488"/>
                </a:lnTo>
                <a:lnTo>
                  <a:pt x="1476" y="496"/>
                </a:lnTo>
                <a:lnTo>
                  <a:pt x="1470" y="502"/>
                </a:lnTo>
                <a:lnTo>
                  <a:pt x="1460" y="510"/>
                </a:lnTo>
                <a:lnTo>
                  <a:pt x="1452" y="512"/>
                </a:lnTo>
                <a:lnTo>
                  <a:pt x="1442" y="512"/>
                </a:lnTo>
                <a:lnTo>
                  <a:pt x="1432" y="510"/>
                </a:lnTo>
                <a:lnTo>
                  <a:pt x="1422" y="504"/>
                </a:lnTo>
                <a:lnTo>
                  <a:pt x="1404" y="490"/>
                </a:lnTo>
                <a:lnTo>
                  <a:pt x="1386" y="476"/>
                </a:lnTo>
                <a:lnTo>
                  <a:pt x="1246" y="236"/>
                </a:lnTo>
                <a:lnTo>
                  <a:pt x="982" y="242"/>
                </a:lnTo>
                <a:close/>
              </a:path>
            </a:pathLst>
          </a:custGeom>
          <a:solidFill>
            <a:srgbClr val="B9DA7B"/>
          </a:solidFill>
          <a:ln w="38100" cap="flat" cmpd="sng">
            <a:solidFill>
              <a:srgbClr val="B9DA7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xmlns="" id="{DC504474-2E5B-483D-B948-34075EF558B0}"/>
              </a:ext>
            </a:extLst>
          </p:cNvPr>
          <p:cNvSpPr>
            <a:spLocks/>
          </p:cNvSpPr>
          <p:nvPr/>
        </p:nvSpPr>
        <p:spPr bwMode="auto">
          <a:xfrm>
            <a:off x="3354126" y="4493907"/>
            <a:ext cx="2511786" cy="1799839"/>
          </a:xfrm>
          <a:custGeom>
            <a:avLst/>
            <a:gdLst>
              <a:gd name="T0" fmla="*/ 1983738 w 1632"/>
              <a:gd name="T1" fmla="*/ 473414 h 1386"/>
              <a:gd name="T2" fmla="*/ 2010981 w 1632"/>
              <a:gd name="T3" fmla="*/ 446149 h 1386"/>
              <a:gd name="T4" fmla="*/ 2020887 w 1632"/>
              <a:gd name="T5" fmla="*/ 374270 h 1386"/>
              <a:gd name="T6" fmla="*/ 1983738 w 1632"/>
              <a:gd name="T7" fmla="*/ 267690 h 1386"/>
              <a:gd name="T8" fmla="*/ 1944113 w 1632"/>
              <a:gd name="T9" fmla="*/ 213160 h 1386"/>
              <a:gd name="T10" fmla="*/ 1862386 w 1632"/>
              <a:gd name="T11" fmla="*/ 158631 h 1386"/>
              <a:gd name="T12" fmla="*/ 1825237 w 1632"/>
              <a:gd name="T13" fmla="*/ 158631 h 1386"/>
              <a:gd name="T14" fmla="*/ 1788089 w 1632"/>
              <a:gd name="T15" fmla="*/ 183417 h 1386"/>
              <a:gd name="T16" fmla="*/ 1775706 w 1632"/>
              <a:gd name="T17" fmla="*/ 242904 h 1386"/>
              <a:gd name="T18" fmla="*/ 1760846 w 1632"/>
              <a:gd name="T19" fmla="*/ 302390 h 1386"/>
              <a:gd name="T20" fmla="*/ 1733604 w 1632"/>
              <a:gd name="T21" fmla="*/ 322219 h 1386"/>
              <a:gd name="T22" fmla="*/ 1703885 w 1632"/>
              <a:gd name="T23" fmla="*/ 319740 h 1386"/>
              <a:gd name="T24" fmla="*/ 1485946 w 1632"/>
              <a:gd name="T25" fmla="*/ 0 h 1386"/>
              <a:gd name="T26" fmla="*/ 1102077 w 1632"/>
              <a:gd name="T27" fmla="*/ 22307 h 1386"/>
              <a:gd name="T28" fmla="*/ 1069881 w 1632"/>
              <a:gd name="T29" fmla="*/ 59487 h 1386"/>
              <a:gd name="T30" fmla="*/ 1079788 w 1632"/>
              <a:gd name="T31" fmla="*/ 96666 h 1386"/>
              <a:gd name="T32" fmla="*/ 1136749 w 1632"/>
              <a:gd name="T33" fmla="*/ 138802 h 1386"/>
              <a:gd name="T34" fmla="*/ 1168944 w 1632"/>
              <a:gd name="T35" fmla="*/ 180938 h 1386"/>
              <a:gd name="T36" fmla="*/ 1163991 w 1632"/>
              <a:gd name="T37" fmla="*/ 223075 h 1386"/>
              <a:gd name="T38" fmla="*/ 1129319 w 1632"/>
              <a:gd name="T39" fmla="*/ 262732 h 1386"/>
              <a:gd name="T40" fmla="*/ 1015397 w 1632"/>
              <a:gd name="T41" fmla="*/ 299912 h 1386"/>
              <a:gd name="T42" fmla="*/ 938623 w 1632"/>
              <a:gd name="T43" fmla="*/ 294954 h 1386"/>
              <a:gd name="T44" fmla="*/ 842036 w 1632"/>
              <a:gd name="T45" fmla="*/ 255297 h 1386"/>
              <a:gd name="T46" fmla="*/ 814794 w 1632"/>
              <a:gd name="T47" fmla="*/ 210682 h 1386"/>
              <a:gd name="T48" fmla="*/ 817270 w 1632"/>
              <a:gd name="T49" fmla="*/ 171024 h 1386"/>
              <a:gd name="T50" fmla="*/ 861849 w 1632"/>
              <a:gd name="T51" fmla="*/ 128888 h 1386"/>
              <a:gd name="T52" fmla="*/ 906427 w 1632"/>
              <a:gd name="T53" fmla="*/ 86751 h 1386"/>
              <a:gd name="T54" fmla="*/ 908904 w 1632"/>
              <a:gd name="T55" fmla="*/ 49572 h 1386"/>
              <a:gd name="T56" fmla="*/ 851943 w 1632"/>
              <a:gd name="T57" fmla="*/ 9914 h 1386"/>
              <a:gd name="T58" fmla="*/ 307096 w 1632"/>
              <a:gd name="T59" fmla="*/ 332133 h 1386"/>
              <a:gd name="T60" fmla="*/ 299666 w 1632"/>
              <a:gd name="T61" fmla="*/ 416406 h 1386"/>
              <a:gd name="T62" fmla="*/ 326908 w 1632"/>
              <a:gd name="T63" fmla="*/ 441192 h 1386"/>
              <a:gd name="T64" fmla="*/ 381393 w 1632"/>
              <a:gd name="T65" fmla="*/ 436235 h 1386"/>
              <a:gd name="T66" fmla="*/ 445784 w 1632"/>
              <a:gd name="T67" fmla="*/ 406492 h 1386"/>
              <a:gd name="T68" fmla="*/ 482933 w 1632"/>
              <a:gd name="T69" fmla="*/ 416406 h 1386"/>
              <a:gd name="T70" fmla="*/ 515128 w 1632"/>
              <a:gd name="T71" fmla="*/ 456064 h 1386"/>
              <a:gd name="T72" fmla="*/ 512651 w 1632"/>
              <a:gd name="T73" fmla="*/ 545294 h 1386"/>
              <a:gd name="T74" fmla="*/ 482933 w 1632"/>
              <a:gd name="T75" fmla="*/ 622130 h 1386"/>
              <a:gd name="T76" fmla="*/ 408635 w 1632"/>
              <a:gd name="T77" fmla="*/ 706403 h 1386"/>
              <a:gd name="T78" fmla="*/ 341768 w 1632"/>
              <a:gd name="T79" fmla="*/ 733668 h 1386"/>
              <a:gd name="T80" fmla="*/ 304619 w 1632"/>
              <a:gd name="T81" fmla="*/ 726232 h 1386"/>
              <a:gd name="T82" fmla="*/ 274900 w 1632"/>
              <a:gd name="T83" fmla="*/ 689053 h 1386"/>
              <a:gd name="T84" fmla="*/ 267470 w 1632"/>
              <a:gd name="T85" fmla="*/ 607259 h 1386"/>
              <a:gd name="T86" fmla="*/ 235275 w 1632"/>
              <a:gd name="T87" fmla="*/ 570080 h 1386"/>
              <a:gd name="T88" fmla="*/ 200603 w 1632"/>
              <a:gd name="T89" fmla="*/ 572558 h 1386"/>
              <a:gd name="T90" fmla="*/ 4953 w 1632"/>
              <a:gd name="T91" fmla="*/ 852641 h 1386"/>
              <a:gd name="T92" fmla="*/ 1485946 w 1632"/>
              <a:gd name="T93" fmla="*/ 1717675 h 1386"/>
              <a:gd name="T94" fmla="*/ 1805425 w 1632"/>
              <a:gd name="T95" fmla="*/ 555208 h 1386"/>
              <a:gd name="T96" fmla="*/ 1802948 w 1632"/>
              <a:gd name="T97" fmla="*/ 473414 h 1386"/>
              <a:gd name="T98" fmla="*/ 1835144 w 1632"/>
              <a:gd name="T99" fmla="*/ 448628 h 1386"/>
              <a:gd name="T100" fmla="*/ 1879722 w 1632"/>
              <a:gd name="T101" fmla="*/ 451107 h 1386"/>
              <a:gd name="T102" fmla="*/ 1951543 w 1632"/>
              <a:gd name="T103" fmla="*/ 483328 h 138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1632" h="1386">
                <a:moveTo>
                  <a:pt x="1576" y="390"/>
                </a:moveTo>
                <a:lnTo>
                  <a:pt x="1576" y="390"/>
                </a:lnTo>
                <a:lnTo>
                  <a:pt x="1588" y="388"/>
                </a:lnTo>
                <a:lnTo>
                  <a:pt x="1602" y="382"/>
                </a:lnTo>
                <a:lnTo>
                  <a:pt x="1610" y="376"/>
                </a:lnTo>
                <a:lnTo>
                  <a:pt x="1618" y="368"/>
                </a:lnTo>
                <a:lnTo>
                  <a:pt x="1624" y="360"/>
                </a:lnTo>
                <a:lnTo>
                  <a:pt x="1628" y="350"/>
                </a:lnTo>
                <a:lnTo>
                  <a:pt x="1630" y="338"/>
                </a:lnTo>
                <a:lnTo>
                  <a:pt x="1632" y="328"/>
                </a:lnTo>
                <a:lnTo>
                  <a:pt x="1632" y="302"/>
                </a:lnTo>
                <a:lnTo>
                  <a:pt x="1626" y="278"/>
                </a:lnTo>
                <a:lnTo>
                  <a:pt x="1620" y="254"/>
                </a:lnTo>
                <a:lnTo>
                  <a:pt x="1612" y="234"/>
                </a:lnTo>
                <a:lnTo>
                  <a:pt x="1602" y="216"/>
                </a:lnTo>
                <a:lnTo>
                  <a:pt x="1594" y="202"/>
                </a:lnTo>
                <a:lnTo>
                  <a:pt x="1584" y="188"/>
                </a:lnTo>
                <a:lnTo>
                  <a:pt x="1570" y="172"/>
                </a:lnTo>
                <a:lnTo>
                  <a:pt x="1556" y="158"/>
                </a:lnTo>
                <a:lnTo>
                  <a:pt x="1540" y="146"/>
                </a:lnTo>
                <a:lnTo>
                  <a:pt x="1522" y="136"/>
                </a:lnTo>
                <a:lnTo>
                  <a:pt x="1504" y="128"/>
                </a:lnTo>
                <a:lnTo>
                  <a:pt x="1496" y="126"/>
                </a:lnTo>
                <a:lnTo>
                  <a:pt x="1486" y="126"/>
                </a:lnTo>
                <a:lnTo>
                  <a:pt x="1474" y="128"/>
                </a:lnTo>
                <a:lnTo>
                  <a:pt x="1460" y="134"/>
                </a:lnTo>
                <a:lnTo>
                  <a:pt x="1452" y="140"/>
                </a:lnTo>
                <a:lnTo>
                  <a:pt x="1444" y="148"/>
                </a:lnTo>
                <a:lnTo>
                  <a:pt x="1440" y="154"/>
                </a:lnTo>
                <a:lnTo>
                  <a:pt x="1436" y="162"/>
                </a:lnTo>
                <a:lnTo>
                  <a:pt x="1434" y="178"/>
                </a:lnTo>
                <a:lnTo>
                  <a:pt x="1434" y="196"/>
                </a:lnTo>
                <a:lnTo>
                  <a:pt x="1434" y="212"/>
                </a:lnTo>
                <a:lnTo>
                  <a:pt x="1432" y="228"/>
                </a:lnTo>
                <a:lnTo>
                  <a:pt x="1428" y="236"/>
                </a:lnTo>
                <a:lnTo>
                  <a:pt x="1422" y="244"/>
                </a:lnTo>
                <a:lnTo>
                  <a:pt x="1416" y="250"/>
                </a:lnTo>
                <a:lnTo>
                  <a:pt x="1406" y="258"/>
                </a:lnTo>
                <a:lnTo>
                  <a:pt x="1400" y="260"/>
                </a:lnTo>
                <a:lnTo>
                  <a:pt x="1392" y="260"/>
                </a:lnTo>
                <a:lnTo>
                  <a:pt x="1384" y="260"/>
                </a:lnTo>
                <a:lnTo>
                  <a:pt x="1376" y="258"/>
                </a:lnTo>
                <a:lnTo>
                  <a:pt x="1360" y="248"/>
                </a:lnTo>
                <a:lnTo>
                  <a:pt x="1344" y="236"/>
                </a:lnTo>
                <a:lnTo>
                  <a:pt x="1330" y="224"/>
                </a:lnTo>
                <a:lnTo>
                  <a:pt x="1200" y="0"/>
                </a:lnTo>
                <a:lnTo>
                  <a:pt x="936" y="0"/>
                </a:lnTo>
                <a:lnTo>
                  <a:pt x="914" y="8"/>
                </a:lnTo>
                <a:lnTo>
                  <a:pt x="890" y="18"/>
                </a:lnTo>
                <a:lnTo>
                  <a:pt x="880" y="24"/>
                </a:lnTo>
                <a:lnTo>
                  <a:pt x="872" y="32"/>
                </a:lnTo>
                <a:lnTo>
                  <a:pt x="866" y="40"/>
                </a:lnTo>
                <a:lnTo>
                  <a:pt x="864" y="48"/>
                </a:lnTo>
                <a:lnTo>
                  <a:pt x="866" y="60"/>
                </a:lnTo>
                <a:lnTo>
                  <a:pt x="868" y="70"/>
                </a:lnTo>
                <a:lnTo>
                  <a:pt x="872" y="78"/>
                </a:lnTo>
                <a:lnTo>
                  <a:pt x="876" y="84"/>
                </a:lnTo>
                <a:lnTo>
                  <a:pt x="890" y="96"/>
                </a:lnTo>
                <a:lnTo>
                  <a:pt x="904" y="104"/>
                </a:lnTo>
                <a:lnTo>
                  <a:pt x="918" y="112"/>
                </a:lnTo>
                <a:lnTo>
                  <a:pt x="932" y="122"/>
                </a:lnTo>
                <a:lnTo>
                  <a:pt x="936" y="130"/>
                </a:lnTo>
                <a:lnTo>
                  <a:pt x="940" y="138"/>
                </a:lnTo>
                <a:lnTo>
                  <a:pt x="944" y="146"/>
                </a:lnTo>
                <a:lnTo>
                  <a:pt x="944" y="158"/>
                </a:lnTo>
                <a:lnTo>
                  <a:pt x="944" y="170"/>
                </a:lnTo>
                <a:lnTo>
                  <a:pt x="940" y="180"/>
                </a:lnTo>
                <a:lnTo>
                  <a:pt x="936" y="190"/>
                </a:lnTo>
                <a:lnTo>
                  <a:pt x="928" y="198"/>
                </a:lnTo>
                <a:lnTo>
                  <a:pt x="920" y="206"/>
                </a:lnTo>
                <a:lnTo>
                  <a:pt x="912" y="212"/>
                </a:lnTo>
                <a:lnTo>
                  <a:pt x="890" y="224"/>
                </a:lnTo>
                <a:lnTo>
                  <a:pt x="866" y="232"/>
                </a:lnTo>
                <a:lnTo>
                  <a:pt x="842" y="238"/>
                </a:lnTo>
                <a:lnTo>
                  <a:pt x="820" y="242"/>
                </a:lnTo>
                <a:lnTo>
                  <a:pt x="800" y="242"/>
                </a:lnTo>
                <a:lnTo>
                  <a:pt x="782" y="242"/>
                </a:lnTo>
                <a:lnTo>
                  <a:pt x="758" y="238"/>
                </a:lnTo>
                <a:lnTo>
                  <a:pt x="734" y="232"/>
                </a:lnTo>
                <a:lnTo>
                  <a:pt x="710" y="224"/>
                </a:lnTo>
                <a:lnTo>
                  <a:pt x="690" y="212"/>
                </a:lnTo>
                <a:lnTo>
                  <a:pt x="680" y="206"/>
                </a:lnTo>
                <a:lnTo>
                  <a:pt x="672" y="198"/>
                </a:lnTo>
                <a:lnTo>
                  <a:pt x="666" y="190"/>
                </a:lnTo>
                <a:lnTo>
                  <a:pt x="660" y="180"/>
                </a:lnTo>
                <a:lnTo>
                  <a:pt x="658" y="170"/>
                </a:lnTo>
                <a:lnTo>
                  <a:pt x="656" y="158"/>
                </a:lnTo>
                <a:lnTo>
                  <a:pt x="658" y="146"/>
                </a:lnTo>
                <a:lnTo>
                  <a:pt x="660" y="138"/>
                </a:lnTo>
                <a:lnTo>
                  <a:pt x="664" y="130"/>
                </a:lnTo>
                <a:lnTo>
                  <a:pt x="670" y="122"/>
                </a:lnTo>
                <a:lnTo>
                  <a:pt x="682" y="112"/>
                </a:lnTo>
                <a:lnTo>
                  <a:pt x="696" y="104"/>
                </a:lnTo>
                <a:lnTo>
                  <a:pt x="712" y="96"/>
                </a:lnTo>
                <a:lnTo>
                  <a:pt x="724" y="84"/>
                </a:lnTo>
                <a:lnTo>
                  <a:pt x="730" y="78"/>
                </a:lnTo>
                <a:lnTo>
                  <a:pt x="732" y="70"/>
                </a:lnTo>
                <a:lnTo>
                  <a:pt x="736" y="60"/>
                </a:lnTo>
                <a:lnTo>
                  <a:pt x="736" y="48"/>
                </a:lnTo>
                <a:lnTo>
                  <a:pt x="734" y="40"/>
                </a:lnTo>
                <a:lnTo>
                  <a:pt x="728" y="32"/>
                </a:lnTo>
                <a:lnTo>
                  <a:pt x="720" y="24"/>
                </a:lnTo>
                <a:lnTo>
                  <a:pt x="710" y="18"/>
                </a:lnTo>
                <a:lnTo>
                  <a:pt x="688" y="8"/>
                </a:lnTo>
                <a:lnTo>
                  <a:pt x="666" y="0"/>
                </a:lnTo>
                <a:lnTo>
                  <a:pt x="402" y="0"/>
                </a:lnTo>
                <a:lnTo>
                  <a:pt x="248" y="268"/>
                </a:lnTo>
                <a:lnTo>
                  <a:pt x="242" y="290"/>
                </a:lnTo>
                <a:lnTo>
                  <a:pt x="240" y="314"/>
                </a:lnTo>
                <a:lnTo>
                  <a:pt x="240" y="326"/>
                </a:lnTo>
                <a:lnTo>
                  <a:pt x="242" y="336"/>
                </a:lnTo>
                <a:lnTo>
                  <a:pt x="248" y="344"/>
                </a:lnTo>
                <a:lnTo>
                  <a:pt x="254" y="350"/>
                </a:lnTo>
                <a:lnTo>
                  <a:pt x="264" y="356"/>
                </a:lnTo>
                <a:lnTo>
                  <a:pt x="274" y="358"/>
                </a:lnTo>
                <a:lnTo>
                  <a:pt x="284" y="358"/>
                </a:lnTo>
                <a:lnTo>
                  <a:pt x="292" y="358"/>
                </a:lnTo>
                <a:lnTo>
                  <a:pt x="308" y="352"/>
                </a:lnTo>
                <a:lnTo>
                  <a:pt x="322" y="344"/>
                </a:lnTo>
                <a:lnTo>
                  <a:pt x="336" y="336"/>
                </a:lnTo>
                <a:lnTo>
                  <a:pt x="352" y="330"/>
                </a:lnTo>
                <a:lnTo>
                  <a:pt x="360" y="328"/>
                </a:lnTo>
                <a:lnTo>
                  <a:pt x="370" y="328"/>
                </a:lnTo>
                <a:lnTo>
                  <a:pt x="378" y="332"/>
                </a:lnTo>
                <a:lnTo>
                  <a:pt x="390" y="336"/>
                </a:lnTo>
                <a:lnTo>
                  <a:pt x="398" y="342"/>
                </a:lnTo>
                <a:lnTo>
                  <a:pt x="406" y="350"/>
                </a:lnTo>
                <a:lnTo>
                  <a:pt x="412" y="358"/>
                </a:lnTo>
                <a:lnTo>
                  <a:pt x="416" y="368"/>
                </a:lnTo>
                <a:lnTo>
                  <a:pt x="418" y="380"/>
                </a:lnTo>
                <a:lnTo>
                  <a:pt x="420" y="392"/>
                </a:lnTo>
                <a:lnTo>
                  <a:pt x="418" y="416"/>
                </a:lnTo>
                <a:lnTo>
                  <a:pt x="414" y="440"/>
                </a:lnTo>
                <a:lnTo>
                  <a:pt x="408" y="464"/>
                </a:lnTo>
                <a:lnTo>
                  <a:pt x="400" y="486"/>
                </a:lnTo>
                <a:lnTo>
                  <a:pt x="390" y="502"/>
                </a:lnTo>
                <a:lnTo>
                  <a:pt x="380" y="518"/>
                </a:lnTo>
                <a:lnTo>
                  <a:pt x="366" y="536"/>
                </a:lnTo>
                <a:lnTo>
                  <a:pt x="348" y="554"/>
                </a:lnTo>
                <a:lnTo>
                  <a:pt x="330" y="570"/>
                </a:lnTo>
                <a:lnTo>
                  <a:pt x="308" y="584"/>
                </a:lnTo>
                <a:lnTo>
                  <a:pt x="298" y="588"/>
                </a:lnTo>
                <a:lnTo>
                  <a:pt x="288" y="592"/>
                </a:lnTo>
                <a:lnTo>
                  <a:pt x="276" y="592"/>
                </a:lnTo>
                <a:lnTo>
                  <a:pt x="266" y="592"/>
                </a:lnTo>
                <a:lnTo>
                  <a:pt x="256" y="590"/>
                </a:lnTo>
                <a:lnTo>
                  <a:pt x="246" y="586"/>
                </a:lnTo>
                <a:lnTo>
                  <a:pt x="236" y="578"/>
                </a:lnTo>
                <a:lnTo>
                  <a:pt x="230" y="572"/>
                </a:lnTo>
                <a:lnTo>
                  <a:pt x="224" y="564"/>
                </a:lnTo>
                <a:lnTo>
                  <a:pt x="222" y="556"/>
                </a:lnTo>
                <a:lnTo>
                  <a:pt x="218" y="540"/>
                </a:lnTo>
                <a:lnTo>
                  <a:pt x="218" y="522"/>
                </a:lnTo>
                <a:lnTo>
                  <a:pt x="218" y="506"/>
                </a:lnTo>
                <a:lnTo>
                  <a:pt x="216" y="490"/>
                </a:lnTo>
                <a:lnTo>
                  <a:pt x="212" y="482"/>
                </a:lnTo>
                <a:lnTo>
                  <a:pt x="206" y="474"/>
                </a:lnTo>
                <a:lnTo>
                  <a:pt x="200" y="468"/>
                </a:lnTo>
                <a:lnTo>
                  <a:pt x="190" y="460"/>
                </a:lnTo>
                <a:lnTo>
                  <a:pt x="182" y="458"/>
                </a:lnTo>
                <a:lnTo>
                  <a:pt x="172" y="458"/>
                </a:lnTo>
                <a:lnTo>
                  <a:pt x="162" y="462"/>
                </a:lnTo>
                <a:lnTo>
                  <a:pt x="152" y="466"/>
                </a:lnTo>
                <a:lnTo>
                  <a:pt x="132" y="480"/>
                </a:lnTo>
                <a:lnTo>
                  <a:pt x="116" y="496"/>
                </a:lnTo>
                <a:lnTo>
                  <a:pt x="4" y="688"/>
                </a:lnTo>
                <a:lnTo>
                  <a:pt x="2" y="688"/>
                </a:lnTo>
                <a:lnTo>
                  <a:pt x="0" y="694"/>
                </a:lnTo>
                <a:lnTo>
                  <a:pt x="400" y="1386"/>
                </a:lnTo>
                <a:lnTo>
                  <a:pt x="1200" y="1386"/>
                </a:lnTo>
                <a:lnTo>
                  <a:pt x="1600" y="694"/>
                </a:lnTo>
                <a:lnTo>
                  <a:pt x="1598" y="688"/>
                </a:lnTo>
                <a:lnTo>
                  <a:pt x="1458" y="448"/>
                </a:lnTo>
                <a:lnTo>
                  <a:pt x="1454" y="426"/>
                </a:lnTo>
                <a:lnTo>
                  <a:pt x="1452" y="402"/>
                </a:lnTo>
                <a:lnTo>
                  <a:pt x="1454" y="392"/>
                </a:lnTo>
                <a:lnTo>
                  <a:pt x="1456" y="382"/>
                </a:lnTo>
                <a:lnTo>
                  <a:pt x="1460" y="374"/>
                </a:lnTo>
                <a:lnTo>
                  <a:pt x="1466" y="368"/>
                </a:lnTo>
                <a:lnTo>
                  <a:pt x="1482" y="362"/>
                </a:lnTo>
                <a:lnTo>
                  <a:pt x="1496" y="360"/>
                </a:lnTo>
                <a:lnTo>
                  <a:pt x="1508" y="360"/>
                </a:lnTo>
                <a:lnTo>
                  <a:pt x="1518" y="364"/>
                </a:lnTo>
                <a:lnTo>
                  <a:pt x="1536" y="374"/>
                </a:lnTo>
                <a:lnTo>
                  <a:pt x="1556" y="384"/>
                </a:lnTo>
                <a:lnTo>
                  <a:pt x="1566" y="388"/>
                </a:lnTo>
                <a:lnTo>
                  <a:pt x="1576" y="390"/>
                </a:lnTo>
                <a:close/>
              </a:path>
            </a:pathLst>
          </a:custGeom>
          <a:solidFill>
            <a:srgbClr val="FDB82B"/>
          </a:solidFill>
          <a:ln w="38100" cap="flat" cmpd="sng">
            <a:solidFill>
              <a:srgbClr val="FDB82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0" name="Freeform 4">
            <a:extLst>
              <a:ext uri="{FF2B5EF4-FFF2-40B4-BE49-F238E27FC236}">
                <a16:creationId xmlns:a16="http://schemas.microsoft.com/office/drawing/2014/main" xmlns="" id="{5212BF4B-A5A3-44AA-B488-9E320C410118}"/>
              </a:ext>
            </a:extLst>
          </p:cNvPr>
          <p:cNvSpPr>
            <a:spLocks/>
          </p:cNvSpPr>
          <p:nvPr/>
        </p:nvSpPr>
        <p:spPr bwMode="auto">
          <a:xfrm>
            <a:off x="1512581" y="3292151"/>
            <a:ext cx="2488108" cy="2100921"/>
          </a:xfrm>
          <a:custGeom>
            <a:avLst/>
            <a:gdLst>
              <a:gd name="T0" fmla="*/ 1682237 w 1616"/>
              <a:gd name="T1" fmla="*/ 1724956 h 1618"/>
              <a:gd name="T2" fmla="*/ 1729310 w 1616"/>
              <a:gd name="T3" fmla="*/ 1732391 h 1618"/>
              <a:gd name="T4" fmla="*/ 1751607 w 1616"/>
              <a:gd name="T5" fmla="*/ 1799307 h 1618"/>
              <a:gd name="T6" fmla="*/ 1773905 w 1616"/>
              <a:gd name="T7" fmla="*/ 1868702 h 1618"/>
              <a:gd name="T8" fmla="*/ 1823455 w 1616"/>
              <a:gd name="T9" fmla="*/ 1886051 h 1618"/>
              <a:gd name="T10" fmla="*/ 1912646 w 1616"/>
              <a:gd name="T11" fmla="*/ 1838961 h 1618"/>
              <a:gd name="T12" fmla="*/ 1977062 w 1616"/>
              <a:gd name="T13" fmla="*/ 1754696 h 1618"/>
              <a:gd name="T14" fmla="*/ 1999359 w 1616"/>
              <a:gd name="T15" fmla="*/ 1623342 h 1618"/>
              <a:gd name="T16" fmla="*/ 1964674 w 1616"/>
              <a:gd name="T17" fmla="*/ 1568817 h 1618"/>
              <a:gd name="T18" fmla="*/ 1917601 w 1616"/>
              <a:gd name="T19" fmla="*/ 1561382 h 1618"/>
              <a:gd name="T20" fmla="*/ 1833366 w 1616"/>
              <a:gd name="T21" fmla="*/ 1596080 h 1618"/>
              <a:gd name="T22" fmla="*/ 1788770 w 1616"/>
              <a:gd name="T23" fmla="*/ 1578731 h 1618"/>
              <a:gd name="T24" fmla="*/ 1788770 w 1616"/>
              <a:gd name="T25" fmla="*/ 1484552 h 1618"/>
              <a:gd name="T26" fmla="*/ 1811068 w 1616"/>
              <a:gd name="T27" fmla="*/ 859999 h 1618"/>
              <a:gd name="T28" fmla="*/ 1726832 w 1616"/>
              <a:gd name="T29" fmla="*/ 810432 h 1618"/>
              <a:gd name="T30" fmla="*/ 1689669 w 1616"/>
              <a:gd name="T31" fmla="*/ 840172 h 1618"/>
              <a:gd name="T32" fmla="*/ 1677282 w 1616"/>
              <a:gd name="T33" fmla="*/ 931873 h 1618"/>
              <a:gd name="T34" fmla="*/ 1647551 w 1616"/>
              <a:gd name="T35" fmla="*/ 969048 h 1618"/>
              <a:gd name="T36" fmla="*/ 1583136 w 1616"/>
              <a:gd name="T37" fmla="*/ 971527 h 1618"/>
              <a:gd name="T38" fmla="*/ 1481558 w 1616"/>
              <a:gd name="T39" fmla="*/ 887262 h 1618"/>
              <a:gd name="T40" fmla="*/ 1439440 w 1616"/>
              <a:gd name="T41" fmla="*/ 790605 h 1618"/>
              <a:gd name="T42" fmla="*/ 1441917 w 1616"/>
              <a:gd name="T43" fmla="*/ 688991 h 1618"/>
              <a:gd name="T44" fmla="*/ 1484035 w 1616"/>
              <a:gd name="T45" fmla="*/ 654293 h 1618"/>
              <a:gd name="T46" fmla="*/ 1553406 w 1616"/>
              <a:gd name="T47" fmla="*/ 669164 h 1618"/>
              <a:gd name="T48" fmla="*/ 1625254 w 1616"/>
              <a:gd name="T49" fmla="*/ 684034 h 1618"/>
              <a:gd name="T50" fmla="*/ 1654984 w 1616"/>
              <a:gd name="T51" fmla="*/ 646858 h 1618"/>
              <a:gd name="T52" fmla="*/ 1484035 w 1616"/>
              <a:gd name="T53" fmla="*/ 294928 h 1618"/>
              <a:gd name="T54" fmla="*/ 1117362 w 1616"/>
              <a:gd name="T55" fmla="*/ 285014 h 1618"/>
              <a:gd name="T56" fmla="*/ 1109929 w 1616"/>
              <a:gd name="T57" fmla="*/ 280057 h 1618"/>
              <a:gd name="T58" fmla="*/ 1102497 w 1616"/>
              <a:gd name="T59" fmla="*/ 277579 h 1618"/>
              <a:gd name="T60" fmla="*/ 1097542 w 1616"/>
              <a:gd name="T61" fmla="*/ 272622 h 1618"/>
              <a:gd name="T62" fmla="*/ 1090109 w 1616"/>
              <a:gd name="T63" fmla="*/ 267666 h 1618"/>
              <a:gd name="T64" fmla="*/ 1085154 w 1616"/>
              <a:gd name="T65" fmla="*/ 262709 h 1618"/>
              <a:gd name="T66" fmla="*/ 1082677 w 1616"/>
              <a:gd name="T67" fmla="*/ 257752 h 1618"/>
              <a:gd name="T68" fmla="*/ 1080199 w 1616"/>
              <a:gd name="T69" fmla="*/ 255274 h 1618"/>
              <a:gd name="T70" fmla="*/ 1075244 w 1616"/>
              <a:gd name="T71" fmla="*/ 247838 h 1618"/>
              <a:gd name="T72" fmla="*/ 1075244 w 1616"/>
              <a:gd name="T73" fmla="*/ 240403 h 1618"/>
              <a:gd name="T74" fmla="*/ 1075244 w 1616"/>
              <a:gd name="T75" fmla="*/ 240403 h 1618"/>
              <a:gd name="T76" fmla="*/ 1107452 w 1616"/>
              <a:gd name="T77" fmla="*/ 183400 h 1618"/>
              <a:gd name="T78" fmla="*/ 1169390 w 1616"/>
              <a:gd name="T79" fmla="*/ 131354 h 1618"/>
              <a:gd name="T80" fmla="*/ 1169390 w 1616"/>
              <a:gd name="T81" fmla="*/ 79308 h 1618"/>
              <a:gd name="T82" fmla="*/ 1107452 w 1616"/>
              <a:gd name="T83" fmla="*/ 22305 h 1618"/>
              <a:gd name="T84" fmla="*/ 995963 w 1616"/>
              <a:gd name="T85" fmla="*/ 0 h 1618"/>
              <a:gd name="T86" fmla="*/ 859700 w 1616"/>
              <a:gd name="T87" fmla="*/ 37176 h 1618"/>
              <a:gd name="T88" fmla="*/ 820059 w 1616"/>
              <a:gd name="T89" fmla="*/ 91700 h 1618"/>
              <a:gd name="T90" fmla="*/ 827492 w 1616"/>
              <a:gd name="T91" fmla="*/ 141268 h 1618"/>
              <a:gd name="T92" fmla="*/ 901818 w 1616"/>
              <a:gd name="T93" fmla="*/ 195792 h 1618"/>
              <a:gd name="T94" fmla="*/ 916683 w 1616"/>
              <a:gd name="T95" fmla="*/ 240403 h 1618"/>
              <a:gd name="T96" fmla="*/ 916683 w 1616"/>
              <a:gd name="T97" fmla="*/ 240403 h 1618"/>
              <a:gd name="T98" fmla="*/ 916683 w 1616"/>
              <a:gd name="T99" fmla="*/ 250317 h 1618"/>
              <a:gd name="T100" fmla="*/ 914205 w 1616"/>
              <a:gd name="T101" fmla="*/ 255274 h 1618"/>
              <a:gd name="T102" fmla="*/ 909250 w 1616"/>
              <a:gd name="T103" fmla="*/ 260230 h 1618"/>
              <a:gd name="T104" fmla="*/ 906773 w 1616"/>
              <a:gd name="T105" fmla="*/ 262709 h 1618"/>
              <a:gd name="T106" fmla="*/ 899340 w 1616"/>
              <a:gd name="T107" fmla="*/ 270144 h 1618"/>
              <a:gd name="T108" fmla="*/ 894385 w 1616"/>
              <a:gd name="T109" fmla="*/ 272622 h 1618"/>
              <a:gd name="T110" fmla="*/ 886953 w 1616"/>
              <a:gd name="T111" fmla="*/ 277579 h 1618"/>
              <a:gd name="T112" fmla="*/ 881997 w 1616"/>
              <a:gd name="T113" fmla="*/ 280057 h 1618"/>
              <a:gd name="T114" fmla="*/ 874565 w 1616"/>
              <a:gd name="T115" fmla="*/ 285014 h 1618"/>
              <a:gd name="T116" fmla="*/ 0 w 1616"/>
              <a:gd name="T117" fmla="*/ 1147492 h 161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16" h="1618">
                <a:moveTo>
                  <a:pt x="1312" y="1426"/>
                </a:moveTo>
                <a:lnTo>
                  <a:pt x="1312" y="1426"/>
                </a:lnTo>
                <a:lnTo>
                  <a:pt x="1328" y="1410"/>
                </a:lnTo>
                <a:lnTo>
                  <a:pt x="1348" y="1396"/>
                </a:lnTo>
                <a:lnTo>
                  <a:pt x="1358" y="1392"/>
                </a:lnTo>
                <a:lnTo>
                  <a:pt x="1368" y="1388"/>
                </a:lnTo>
                <a:lnTo>
                  <a:pt x="1378" y="1388"/>
                </a:lnTo>
                <a:lnTo>
                  <a:pt x="1386" y="1390"/>
                </a:lnTo>
                <a:lnTo>
                  <a:pt x="1396" y="1398"/>
                </a:lnTo>
                <a:lnTo>
                  <a:pt x="1402" y="1404"/>
                </a:lnTo>
                <a:lnTo>
                  <a:pt x="1408" y="1412"/>
                </a:lnTo>
                <a:lnTo>
                  <a:pt x="1412" y="1420"/>
                </a:lnTo>
                <a:lnTo>
                  <a:pt x="1414" y="1436"/>
                </a:lnTo>
                <a:lnTo>
                  <a:pt x="1414" y="1452"/>
                </a:lnTo>
                <a:lnTo>
                  <a:pt x="1414" y="1470"/>
                </a:lnTo>
                <a:lnTo>
                  <a:pt x="1418" y="1486"/>
                </a:lnTo>
                <a:lnTo>
                  <a:pt x="1420" y="1494"/>
                </a:lnTo>
                <a:lnTo>
                  <a:pt x="1426" y="1502"/>
                </a:lnTo>
                <a:lnTo>
                  <a:pt x="1432" y="1508"/>
                </a:lnTo>
                <a:lnTo>
                  <a:pt x="1442" y="1516"/>
                </a:lnTo>
                <a:lnTo>
                  <a:pt x="1452" y="1520"/>
                </a:lnTo>
                <a:lnTo>
                  <a:pt x="1462" y="1522"/>
                </a:lnTo>
                <a:lnTo>
                  <a:pt x="1472" y="1522"/>
                </a:lnTo>
                <a:lnTo>
                  <a:pt x="1484" y="1522"/>
                </a:lnTo>
                <a:lnTo>
                  <a:pt x="1494" y="1518"/>
                </a:lnTo>
                <a:lnTo>
                  <a:pt x="1504" y="1514"/>
                </a:lnTo>
                <a:lnTo>
                  <a:pt x="1526" y="1500"/>
                </a:lnTo>
                <a:lnTo>
                  <a:pt x="1544" y="1484"/>
                </a:lnTo>
                <a:lnTo>
                  <a:pt x="1562" y="1466"/>
                </a:lnTo>
                <a:lnTo>
                  <a:pt x="1576" y="1448"/>
                </a:lnTo>
                <a:lnTo>
                  <a:pt x="1586" y="1432"/>
                </a:lnTo>
                <a:lnTo>
                  <a:pt x="1596" y="1416"/>
                </a:lnTo>
                <a:lnTo>
                  <a:pt x="1604" y="1394"/>
                </a:lnTo>
                <a:lnTo>
                  <a:pt x="1610" y="1370"/>
                </a:lnTo>
                <a:lnTo>
                  <a:pt x="1614" y="1346"/>
                </a:lnTo>
                <a:lnTo>
                  <a:pt x="1616" y="1322"/>
                </a:lnTo>
                <a:lnTo>
                  <a:pt x="1614" y="1310"/>
                </a:lnTo>
                <a:lnTo>
                  <a:pt x="1612" y="1298"/>
                </a:lnTo>
                <a:lnTo>
                  <a:pt x="1608" y="1288"/>
                </a:lnTo>
                <a:lnTo>
                  <a:pt x="1602" y="1280"/>
                </a:lnTo>
                <a:lnTo>
                  <a:pt x="1594" y="1272"/>
                </a:lnTo>
                <a:lnTo>
                  <a:pt x="1586" y="1266"/>
                </a:lnTo>
                <a:lnTo>
                  <a:pt x="1574" y="1262"/>
                </a:lnTo>
                <a:lnTo>
                  <a:pt x="1566" y="1258"/>
                </a:lnTo>
                <a:lnTo>
                  <a:pt x="1556" y="1258"/>
                </a:lnTo>
                <a:lnTo>
                  <a:pt x="1548" y="1260"/>
                </a:lnTo>
                <a:lnTo>
                  <a:pt x="1532" y="1266"/>
                </a:lnTo>
                <a:lnTo>
                  <a:pt x="1518" y="1274"/>
                </a:lnTo>
                <a:lnTo>
                  <a:pt x="1504" y="1282"/>
                </a:lnTo>
                <a:lnTo>
                  <a:pt x="1488" y="1288"/>
                </a:lnTo>
                <a:lnTo>
                  <a:pt x="1480" y="1288"/>
                </a:lnTo>
                <a:lnTo>
                  <a:pt x="1470" y="1288"/>
                </a:lnTo>
                <a:lnTo>
                  <a:pt x="1460" y="1286"/>
                </a:lnTo>
                <a:lnTo>
                  <a:pt x="1450" y="1280"/>
                </a:lnTo>
                <a:lnTo>
                  <a:pt x="1444" y="1274"/>
                </a:lnTo>
                <a:lnTo>
                  <a:pt x="1438" y="1266"/>
                </a:lnTo>
                <a:lnTo>
                  <a:pt x="1436" y="1256"/>
                </a:lnTo>
                <a:lnTo>
                  <a:pt x="1436" y="1244"/>
                </a:lnTo>
                <a:lnTo>
                  <a:pt x="1438" y="1220"/>
                </a:lnTo>
                <a:lnTo>
                  <a:pt x="1444" y="1198"/>
                </a:lnTo>
                <a:lnTo>
                  <a:pt x="1598" y="930"/>
                </a:lnTo>
                <a:lnTo>
                  <a:pt x="1600" y="926"/>
                </a:lnTo>
                <a:lnTo>
                  <a:pt x="1596" y="926"/>
                </a:lnTo>
                <a:lnTo>
                  <a:pt x="1462" y="694"/>
                </a:lnTo>
                <a:lnTo>
                  <a:pt x="1446" y="678"/>
                </a:lnTo>
                <a:lnTo>
                  <a:pt x="1426" y="664"/>
                </a:lnTo>
                <a:lnTo>
                  <a:pt x="1414" y="658"/>
                </a:lnTo>
                <a:lnTo>
                  <a:pt x="1404" y="656"/>
                </a:lnTo>
                <a:lnTo>
                  <a:pt x="1394" y="654"/>
                </a:lnTo>
                <a:lnTo>
                  <a:pt x="1386" y="658"/>
                </a:lnTo>
                <a:lnTo>
                  <a:pt x="1376" y="664"/>
                </a:lnTo>
                <a:lnTo>
                  <a:pt x="1368" y="672"/>
                </a:lnTo>
                <a:lnTo>
                  <a:pt x="1364" y="678"/>
                </a:lnTo>
                <a:lnTo>
                  <a:pt x="1360" y="686"/>
                </a:lnTo>
                <a:lnTo>
                  <a:pt x="1358" y="702"/>
                </a:lnTo>
                <a:lnTo>
                  <a:pt x="1358" y="720"/>
                </a:lnTo>
                <a:lnTo>
                  <a:pt x="1358" y="736"/>
                </a:lnTo>
                <a:lnTo>
                  <a:pt x="1354" y="752"/>
                </a:lnTo>
                <a:lnTo>
                  <a:pt x="1352" y="760"/>
                </a:lnTo>
                <a:lnTo>
                  <a:pt x="1346" y="768"/>
                </a:lnTo>
                <a:lnTo>
                  <a:pt x="1340" y="776"/>
                </a:lnTo>
                <a:lnTo>
                  <a:pt x="1330" y="782"/>
                </a:lnTo>
                <a:lnTo>
                  <a:pt x="1320" y="786"/>
                </a:lnTo>
                <a:lnTo>
                  <a:pt x="1310" y="790"/>
                </a:lnTo>
                <a:lnTo>
                  <a:pt x="1300" y="790"/>
                </a:lnTo>
                <a:lnTo>
                  <a:pt x="1288" y="788"/>
                </a:lnTo>
                <a:lnTo>
                  <a:pt x="1278" y="784"/>
                </a:lnTo>
                <a:lnTo>
                  <a:pt x="1268" y="780"/>
                </a:lnTo>
                <a:lnTo>
                  <a:pt x="1246" y="768"/>
                </a:lnTo>
                <a:lnTo>
                  <a:pt x="1228" y="752"/>
                </a:lnTo>
                <a:lnTo>
                  <a:pt x="1210" y="734"/>
                </a:lnTo>
                <a:lnTo>
                  <a:pt x="1196" y="716"/>
                </a:lnTo>
                <a:lnTo>
                  <a:pt x="1186" y="700"/>
                </a:lnTo>
                <a:lnTo>
                  <a:pt x="1176" y="682"/>
                </a:lnTo>
                <a:lnTo>
                  <a:pt x="1168" y="660"/>
                </a:lnTo>
                <a:lnTo>
                  <a:pt x="1162" y="638"/>
                </a:lnTo>
                <a:lnTo>
                  <a:pt x="1156" y="612"/>
                </a:lnTo>
                <a:lnTo>
                  <a:pt x="1156" y="588"/>
                </a:lnTo>
                <a:lnTo>
                  <a:pt x="1158" y="576"/>
                </a:lnTo>
                <a:lnTo>
                  <a:pt x="1160" y="566"/>
                </a:lnTo>
                <a:lnTo>
                  <a:pt x="1164" y="556"/>
                </a:lnTo>
                <a:lnTo>
                  <a:pt x="1170" y="546"/>
                </a:lnTo>
                <a:lnTo>
                  <a:pt x="1178" y="538"/>
                </a:lnTo>
                <a:lnTo>
                  <a:pt x="1186" y="532"/>
                </a:lnTo>
                <a:lnTo>
                  <a:pt x="1198" y="528"/>
                </a:lnTo>
                <a:lnTo>
                  <a:pt x="1206" y="526"/>
                </a:lnTo>
                <a:lnTo>
                  <a:pt x="1216" y="524"/>
                </a:lnTo>
                <a:lnTo>
                  <a:pt x="1224" y="526"/>
                </a:lnTo>
                <a:lnTo>
                  <a:pt x="1240" y="532"/>
                </a:lnTo>
                <a:lnTo>
                  <a:pt x="1254" y="540"/>
                </a:lnTo>
                <a:lnTo>
                  <a:pt x="1268" y="548"/>
                </a:lnTo>
                <a:lnTo>
                  <a:pt x="1284" y="554"/>
                </a:lnTo>
                <a:lnTo>
                  <a:pt x="1292" y="556"/>
                </a:lnTo>
                <a:lnTo>
                  <a:pt x="1302" y="554"/>
                </a:lnTo>
                <a:lnTo>
                  <a:pt x="1312" y="552"/>
                </a:lnTo>
                <a:lnTo>
                  <a:pt x="1322" y="546"/>
                </a:lnTo>
                <a:lnTo>
                  <a:pt x="1328" y="540"/>
                </a:lnTo>
                <a:lnTo>
                  <a:pt x="1334" y="532"/>
                </a:lnTo>
                <a:lnTo>
                  <a:pt x="1336" y="522"/>
                </a:lnTo>
                <a:lnTo>
                  <a:pt x="1336" y="510"/>
                </a:lnTo>
                <a:lnTo>
                  <a:pt x="1334" y="484"/>
                </a:lnTo>
                <a:lnTo>
                  <a:pt x="1328" y="462"/>
                </a:lnTo>
                <a:lnTo>
                  <a:pt x="1198" y="238"/>
                </a:lnTo>
                <a:lnTo>
                  <a:pt x="924" y="238"/>
                </a:lnTo>
                <a:lnTo>
                  <a:pt x="902" y="230"/>
                </a:lnTo>
                <a:lnTo>
                  <a:pt x="898" y="228"/>
                </a:lnTo>
                <a:lnTo>
                  <a:pt x="896" y="226"/>
                </a:lnTo>
                <a:lnTo>
                  <a:pt x="894" y="226"/>
                </a:lnTo>
                <a:lnTo>
                  <a:pt x="892" y="224"/>
                </a:lnTo>
                <a:lnTo>
                  <a:pt x="890" y="224"/>
                </a:lnTo>
                <a:lnTo>
                  <a:pt x="888" y="222"/>
                </a:lnTo>
                <a:lnTo>
                  <a:pt x="886" y="220"/>
                </a:lnTo>
                <a:lnTo>
                  <a:pt x="884" y="220"/>
                </a:lnTo>
                <a:lnTo>
                  <a:pt x="882" y="218"/>
                </a:lnTo>
                <a:lnTo>
                  <a:pt x="880" y="216"/>
                </a:lnTo>
                <a:lnTo>
                  <a:pt x="878" y="214"/>
                </a:lnTo>
                <a:lnTo>
                  <a:pt x="876" y="212"/>
                </a:lnTo>
                <a:lnTo>
                  <a:pt x="874" y="210"/>
                </a:lnTo>
                <a:lnTo>
                  <a:pt x="874" y="208"/>
                </a:lnTo>
                <a:lnTo>
                  <a:pt x="872" y="206"/>
                </a:lnTo>
                <a:lnTo>
                  <a:pt x="870" y="204"/>
                </a:lnTo>
                <a:lnTo>
                  <a:pt x="870" y="202"/>
                </a:lnTo>
                <a:lnTo>
                  <a:pt x="868" y="200"/>
                </a:lnTo>
                <a:lnTo>
                  <a:pt x="868" y="198"/>
                </a:lnTo>
                <a:lnTo>
                  <a:pt x="868" y="194"/>
                </a:lnTo>
                <a:lnTo>
                  <a:pt x="870" y="182"/>
                </a:lnTo>
                <a:lnTo>
                  <a:pt x="872" y="172"/>
                </a:lnTo>
                <a:lnTo>
                  <a:pt x="876" y="164"/>
                </a:lnTo>
                <a:lnTo>
                  <a:pt x="880" y="158"/>
                </a:lnTo>
                <a:lnTo>
                  <a:pt x="894" y="148"/>
                </a:lnTo>
                <a:lnTo>
                  <a:pt x="908" y="138"/>
                </a:lnTo>
                <a:lnTo>
                  <a:pt x="922" y="130"/>
                </a:lnTo>
                <a:lnTo>
                  <a:pt x="936" y="120"/>
                </a:lnTo>
                <a:lnTo>
                  <a:pt x="940" y="114"/>
                </a:lnTo>
                <a:lnTo>
                  <a:pt x="944" y="106"/>
                </a:lnTo>
                <a:lnTo>
                  <a:pt x="948" y="96"/>
                </a:lnTo>
                <a:lnTo>
                  <a:pt x="948" y="84"/>
                </a:lnTo>
                <a:lnTo>
                  <a:pt x="948" y="74"/>
                </a:lnTo>
                <a:lnTo>
                  <a:pt x="944" y="64"/>
                </a:lnTo>
                <a:lnTo>
                  <a:pt x="940" y="54"/>
                </a:lnTo>
                <a:lnTo>
                  <a:pt x="932" y="46"/>
                </a:lnTo>
                <a:lnTo>
                  <a:pt x="924" y="38"/>
                </a:lnTo>
                <a:lnTo>
                  <a:pt x="916" y="30"/>
                </a:lnTo>
                <a:lnTo>
                  <a:pt x="894" y="18"/>
                </a:lnTo>
                <a:lnTo>
                  <a:pt x="870" y="10"/>
                </a:lnTo>
                <a:lnTo>
                  <a:pt x="846" y="4"/>
                </a:lnTo>
                <a:lnTo>
                  <a:pt x="824" y="2"/>
                </a:lnTo>
                <a:lnTo>
                  <a:pt x="804" y="0"/>
                </a:lnTo>
                <a:lnTo>
                  <a:pt x="786" y="2"/>
                </a:lnTo>
                <a:lnTo>
                  <a:pt x="762" y="4"/>
                </a:lnTo>
                <a:lnTo>
                  <a:pt x="738" y="10"/>
                </a:lnTo>
                <a:lnTo>
                  <a:pt x="714" y="18"/>
                </a:lnTo>
                <a:lnTo>
                  <a:pt x="694" y="30"/>
                </a:lnTo>
                <a:lnTo>
                  <a:pt x="684" y="38"/>
                </a:lnTo>
                <a:lnTo>
                  <a:pt x="676" y="46"/>
                </a:lnTo>
                <a:lnTo>
                  <a:pt x="670" y="54"/>
                </a:lnTo>
                <a:lnTo>
                  <a:pt x="664" y="64"/>
                </a:lnTo>
                <a:lnTo>
                  <a:pt x="662" y="74"/>
                </a:lnTo>
                <a:lnTo>
                  <a:pt x="660" y="84"/>
                </a:lnTo>
                <a:lnTo>
                  <a:pt x="662" y="96"/>
                </a:lnTo>
                <a:lnTo>
                  <a:pt x="664" y="106"/>
                </a:lnTo>
                <a:lnTo>
                  <a:pt x="668" y="114"/>
                </a:lnTo>
                <a:lnTo>
                  <a:pt x="674" y="120"/>
                </a:lnTo>
                <a:lnTo>
                  <a:pt x="686" y="130"/>
                </a:lnTo>
                <a:lnTo>
                  <a:pt x="700" y="138"/>
                </a:lnTo>
                <a:lnTo>
                  <a:pt x="716" y="148"/>
                </a:lnTo>
                <a:lnTo>
                  <a:pt x="728" y="158"/>
                </a:lnTo>
                <a:lnTo>
                  <a:pt x="734" y="164"/>
                </a:lnTo>
                <a:lnTo>
                  <a:pt x="736" y="172"/>
                </a:lnTo>
                <a:lnTo>
                  <a:pt x="740" y="182"/>
                </a:lnTo>
                <a:lnTo>
                  <a:pt x="740" y="194"/>
                </a:lnTo>
                <a:lnTo>
                  <a:pt x="740" y="198"/>
                </a:lnTo>
                <a:lnTo>
                  <a:pt x="740" y="200"/>
                </a:lnTo>
                <a:lnTo>
                  <a:pt x="740" y="202"/>
                </a:lnTo>
                <a:lnTo>
                  <a:pt x="738" y="204"/>
                </a:lnTo>
                <a:lnTo>
                  <a:pt x="738" y="206"/>
                </a:lnTo>
                <a:lnTo>
                  <a:pt x="736" y="206"/>
                </a:lnTo>
                <a:lnTo>
                  <a:pt x="736" y="208"/>
                </a:lnTo>
                <a:lnTo>
                  <a:pt x="734" y="210"/>
                </a:lnTo>
                <a:lnTo>
                  <a:pt x="734" y="212"/>
                </a:lnTo>
                <a:lnTo>
                  <a:pt x="732" y="212"/>
                </a:lnTo>
                <a:lnTo>
                  <a:pt x="730" y="214"/>
                </a:lnTo>
                <a:lnTo>
                  <a:pt x="730" y="216"/>
                </a:lnTo>
                <a:lnTo>
                  <a:pt x="726" y="218"/>
                </a:lnTo>
                <a:lnTo>
                  <a:pt x="724" y="220"/>
                </a:lnTo>
                <a:lnTo>
                  <a:pt x="722" y="220"/>
                </a:lnTo>
                <a:lnTo>
                  <a:pt x="720" y="222"/>
                </a:lnTo>
                <a:lnTo>
                  <a:pt x="718" y="224"/>
                </a:lnTo>
                <a:lnTo>
                  <a:pt x="716" y="224"/>
                </a:lnTo>
                <a:lnTo>
                  <a:pt x="714" y="226"/>
                </a:lnTo>
                <a:lnTo>
                  <a:pt x="712" y="226"/>
                </a:lnTo>
                <a:lnTo>
                  <a:pt x="710" y="228"/>
                </a:lnTo>
                <a:lnTo>
                  <a:pt x="708" y="230"/>
                </a:lnTo>
                <a:lnTo>
                  <a:pt x="706" y="230"/>
                </a:lnTo>
                <a:lnTo>
                  <a:pt x="684" y="238"/>
                </a:lnTo>
                <a:lnTo>
                  <a:pt x="400" y="238"/>
                </a:lnTo>
                <a:lnTo>
                  <a:pt x="398" y="236"/>
                </a:lnTo>
                <a:lnTo>
                  <a:pt x="0" y="926"/>
                </a:lnTo>
                <a:lnTo>
                  <a:pt x="400" y="1618"/>
                </a:lnTo>
                <a:lnTo>
                  <a:pt x="1198" y="1618"/>
                </a:lnTo>
                <a:lnTo>
                  <a:pt x="1200" y="1618"/>
                </a:lnTo>
                <a:lnTo>
                  <a:pt x="1312" y="1426"/>
                </a:lnTo>
                <a:close/>
              </a:path>
            </a:pathLst>
          </a:custGeom>
          <a:solidFill>
            <a:srgbClr val="4AA5F1"/>
          </a:solidFill>
          <a:ln w="38100" cap="flat" cmpd="sng">
            <a:solidFill>
              <a:srgbClr val="4AA5F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xmlns="" id="{EF1C7689-B107-4EA6-B49C-60CB79E2887F}"/>
              </a:ext>
            </a:extLst>
          </p:cNvPr>
          <p:cNvSpPr>
            <a:spLocks/>
          </p:cNvSpPr>
          <p:nvPr/>
        </p:nvSpPr>
        <p:spPr bwMode="auto">
          <a:xfrm>
            <a:off x="1499702" y="1771589"/>
            <a:ext cx="2482189" cy="1799839"/>
          </a:xfrm>
          <a:custGeom>
            <a:avLst/>
            <a:gdLst>
              <a:gd name="T0" fmla="*/ 859783 w 1612"/>
              <a:gd name="T1" fmla="*/ 1712718 h 1386"/>
              <a:gd name="T2" fmla="*/ 879605 w 1612"/>
              <a:gd name="T3" fmla="*/ 1705282 h 1386"/>
              <a:gd name="T4" fmla="*/ 884561 w 1612"/>
              <a:gd name="T5" fmla="*/ 1702803 h 1386"/>
              <a:gd name="T6" fmla="*/ 891994 w 1612"/>
              <a:gd name="T7" fmla="*/ 1697846 h 1386"/>
              <a:gd name="T8" fmla="*/ 896949 w 1612"/>
              <a:gd name="T9" fmla="*/ 1695368 h 1386"/>
              <a:gd name="T10" fmla="*/ 904383 w 1612"/>
              <a:gd name="T11" fmla="*/ 1687932 h 1386"/>
              <a:gd name="T12" fmla="*/ 909338 w 1612"/>
              <a:gd name="T13" fmla="*/ 1685453 h 1386"/>
              <a:gd name="T14" fmla="*/ 911816 w 1612"/>
              <a:gd name="T15" fmla="*/ 1678017 h 1386"/>
              <a:gd name="T16" fmla="*/ 914294 w 1612"/>
              <a:gd name="T17" fmla="*/ 1675539 h 1386"/>
              <a:gd name="T18" fmla="*/ 916771 w 1612"/>
              <a:gd name="T19" fmla="*/ 1668103 h 1386"/>
              <a:gd name="T20" fmla="*/ 916771 w 1612"/>
              <a:gd name="T21" fmla="*/ 1663146 h 1386"/>
              <a:gd name="T22" fmla="*/ 887038 w 1612"/>
              <a:gd name="T23" fmla="*/ 1606138 h 1386"/>
              <a:gd name="T24" fmla="*/ 822617 w 1612"/>
              <a:gd name="T25" fmla="*/ 1554087 h 1386"/>
              <a:gd name="T26" fmla="*/ 817661 w 1612"/>
              <a:gd name="T27" fmla="*/ 1526822 h 1386"/>
              <a:gd name="T28" fmla="*/ 837483 w 1612"/>
              <a:gd name="T29" fmla="*/ 1479729 h 1386"/>
              <a:gd name="T30" fmla="*/ 944027 w 1612"/>
              <a:gd name="T31" fmla="*/ 1427678 h 1386"/>
              <a:gd name="T32" fmla="*/ 1048093 w 1612"/>
              <a:gd name="T33" fmla="*/ 1427678 h 1386"/>
              <a:gd name="T34" fmla="*/ 1154636 w 1612"/>
              <a:gd name="T35" fmla="*/ 1479729 h 1386"/>
              <a:gd name="T36" fmla="*/ 1174458 w 1612"/>
              <a:gd name="T37" fmla="*/ 1526822 h 1386"/>
              <a:gd name="T38" fmla="*/ 1169503 w 1612"/>
              <a:gd name="T39" fmla="*/ 1554087 h 1386"/>
              <a:gd name="T40" fmla="*/ 1107559 w 1612"/>
              <a:gd name="T41" fmla="*/ 1606138 h 1386"/>
              <a:gd name="T42" fmla="*/ 1075348 w 1612"/>
              <a:gd name="T43" fmla="*/ 1663146 h 1386"/>
              <a:gd name="T44" fmla="*/ 1075348 w 1612"/>
              <a:gd name="T45" fmla="*/ 1668103 h 1386"/>
              <a:gd name="T46" fmla="*/ 1077826 w 1612"/>
              <a:gd name="T47" fmla="*/ 1675539 h 1386"/>
              <a:gd name="T48" fmla="*/ 1080304 w 1612"/>
              <a:gd name="T49" fmla="*/ 1678017 h 1386"/>
              <a:gd name="T50" fmla="*/ 1085259 w 1612"/>
              <a:gd name="T51" fmla="*/ 1685453 h 1386"/>
              <a:gd name="T52" fmla="*/ 1087737 w 1612"/>
              <a:gd name="T53" fmla="*/ 1687932 h 1386"/>
              <a:gd name="T54" fmla="*/ 1095170 w 1612"/>
              <a:gd name="T55" fmla="*/ 1695368 h 1386"/>
              <a:gd name="T56" fmla="*/ 1100126 w 1612"/>
              <a:gd name="T57" fmla="*/ 1697846 h 1386"/>
              <a:gd name="T58" fmla="*/ 1107559 w 1612"/>
              <a:gd name="T59" fmla="*/ 1702803 h 1386"/>
              <a:gd name="T60" fmla="*/ 1112514 w 1612"/>
              <a:gd name="T61" fmla="*/ 1705282 h 1386"/>
              <a:gd name="T62" fmla="*/ 1132337 w 1612"/>
              <a:gd name="T63" fmla="*/ 1712718 h 1386"/>
              <a:gd name="T64" fmla="*/ 1637800 w 1612"/>
              <a:gd name="T65" fmla="*/ 1452464 h 1386"/>
              <a:gd name="T66" fmla="*/ 1642755 w 1612"/>
              <a:gd name="T67" fmla="*/ 1368191 h 1386"/>
              <a:gd name="T68" fmla="*/ 1603111 w 1612"/>
              <a:gd name="T69" fmla="*/ 1338448 h 1386"/>
              <a:gd name="T70" fmla="*/ 1526300 w 1612"/>
              <a:gd name="T71" fmla="*/ 1368191 h 1386"/>
              <a:gd name="T72" fmla="*/ 1461879 w 1612"/>
              <a:gd name="T73" fmla="*/ 1365713 h 1386"/>
              <a:gd name="T74" fmla="*/ 1429668 w 1612"/>
              <a:gd name="T75" fmla="*/ 1326055 h 1386"/>
              <a:gd name="T76" fmla="*/ 1439579 w 1612"/>
              <a:gd name="T77" fmla="*/ 1207082 h 1386"/>
              <a:gd name="T78" fmla="*/ 1491612 w 1612"/>
              <a:gd name="T79" fmla="*/ 1117852 h 1386"/>
              <a:gd name="T80" fmla="*/ 1588245 w 1612"/>
              <a:gd name="T81" fmla="*/ 1050930 h 1386"/>
              <a:gd name="T82" fmla="*/ 1640277 w 1612"/>
              <a:gd name="T83" fmla="*/ 1058365 h 1386"/>
              <a:gd name="T84" fmla="*/ 1672488 w 1612"/>
              <a:gd name="T85" fmla="*/ 1115373 h 1386"/>
              <a:gd name="T86" fmla="*/ 1687355 w 1612"/>
              <a:gd name="T87" fmla="*/ 1194689 h 1386"/>
              <a:gd name="T88" fmla="*/ 1731955 w 1612"/>
              <a:gd name="T89" fmla="*/ 1214518 h 1386"/>
              <a:gd name="T90" fmla="*/ 1979731 w 1612"/>
              <a:gd name="T91" fmla="*/ 862555 h 1386"/>
              <a:gd name="T92" fmla="*/ 1774077 w 1612"/>
              <a:gd name="T93" fmla="*/ 473414 h 1386"/>
              <a:gd name="T94" fmla="*/ 1791421 w 1612"/>
              <a:gd name="T95" fmla="*/ 423842 h 1386"/>
              <a:gd name="T96" fmla="*/ 1858320 w 1612"/>
              <a:gd name="T97" fmla="*/ 421363 h 1386"/>
              <a:gd name="T98" fmla="*/ 1935131 w 1612"/>
              <a:gd name="T99" fmla="*/ 451107 h 1386"/>
              <a:gd name="T100" fmla="*/ 1977253 w 1612"/>
              <a:gd name="T101" fmla="*/ 428799 h 1386"/>
              <a:gd name="T102" fmla="*/ 1997075 w 1612"/>
              <a:gd name="T103" fmla="*/ 366834 h 1386"/>
              <a:gd name="T104" fmla="*/ 1959909 w 1612"/>
              <a:gd name="T105" fmla="*/ 245382 h 1386"/>
              <a:gd name="T106" fmla="*/ 1858320 w 1612"/>
              <a:gd name="T107" fmla="*/ 143759 h 1386"/>
              <a:gd name="T108" fmla="*/ 1793899 w 1612"/>
              <a:gd name="T109" fmla="*/ 136323 h 1386"/>
              <a:gd name="T110" fmla="*/ 1754254 w 1612"/>
              <a:gd name="T111" fmla="*/ 171024 h 1386"/>
              <a:gd name="T112" fmla="*/ 1749299 w 1612"/>
              <a:gd name="T113" fmla="*/ 225553 h 1386"/>
              <a:gd name="T114" fmla="*/ 1724521 w 1612"/>
              <a:gd name="T115" fmla="*/ 289997 h 1386"/>
              <a:gd name="T116" fmla="*/ 1684877 w 1612"/>
              <a:gd name="T117" fmla="*/ 297433 h 1386"/>
              <a:gd name="T118" fmla="*/ 495552 w 1612"/>
              <a:gd name="T119" fmla="*/ 0 h 138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612" h="1386">
                <a:moveTo>
                  <a:pt x="674" y="1382"/>
                </a:moveTo>
                <a:lnTo>
                  <a:pt x="674" y="1382"/>
                </a:lnTo>
                <a:lnTo>
                  <a:pt x="670" y="1382"/>
                </a:lnTo>
                <a:lnTo>
                  <a:pt x="694" y="1382"/>
                </a:lnTo>
                <a:lnTo>
                  <a:pt x="706" y="1378"/>
                </a:lnTo>
                <a:lnTo>
                  <a:pt x="708" y="1378"/>
                </a:lnTo>
                <a:lnTo>
                  <a:pt x="710" y="1376"/>
                </a:lnTo>
                <a:lnTo>
                  <a:pt x="712" y="1374"/>
                </a:lnTo>
                <a:lnTo>
                  <a:pt x="714" y="1374"/>
                </a:lnTo>
                <a:lnTo>
                  <a:pt x="716" y="1372"/>
                </a:lnTo>
                <a:lnTo>
                  <a:pt x="718" y="1372"/>
                </a:lnTo>
                <a:lnTo>
                  <a:pt x="720" y="1370"/>
                </a:lnTo>
                <a:lnTo>
                  <a:pt x="722" y="1368"/>
                </a:lnTo>
                <a:lnTo>
                  <a:pt x="724" y="1368"/>
                </a:lnTo>
                <a:lnTo>
                  <a:pt x="726" y="1366"/>
                </a:lnTo>
                <a:lnTo>
                  <a:pt x="730" y="1364"/>
                </a:lnTo>
                <a:lnTo>
                  <a:pt x="730" y="1362"/>
                </a:lnTo>
                <a:lnTo>
                  <a:pt x="732" y="1360"/>
                </a:lnTo>
                <a:lnTo>
                  <a:pt x="734" y="1360"/>
                </a:lnTo>
                <a:lnTo>
                  <a:pt x="734" y="1358"/>
                </a:lnTo>
                <a:lnTo>
                  <a:pt x="736" y="1356"/>
                </a:lnTo>
                <a:lnTo>
                  <a:pt x="736" y="1354"/>
                </a:lnTo>
                <a:lnTo>
                  <a:pt x="738" y="1354"/>
                </a:lnTo>
                <a:lnTo>
                  <a:pt x="738" y="1352"/>
                </a:lnTo>
                <a:lnTo>
                  <a:pt x="740" y="1350"/>
                </a:lnTo>
                <a:lnTo>
                  <a:pt x="740" y="1348"/>
                </a:lnTo>
                <a:lnTo>
                  <a:pt x="740" y="1346"/>
                </a:lnTo>
                <a:lnTo>
                  <a:pt x="740" y="1342"/>
                </a:lnTo>
                <a:lnTo>
                  <a:pt x="740" y="1330"/>
                </a:lnTo>
                <a:lnTo>
                  <a:pt x="736" y="1320"/>
                </a:lnTo>
                <a:lnTo>
                  <a:pt x="734" y="1312"/>
                </a:lnTo>
                <a:lnTo>
                  <a:pt x="728" y="1306"/>
                </a:lnTo>
                <a:lnTo>
                  <a:pt x="716" y="1296"/>
                </a:lnTo>
                <a:lnTo>
                  <a:pt x="700" y="1286"/>
                </a:lnTo>
                <a:lnTo>
                  <a:pt x="686" y="1278"/>
                </a:lnTo>
                <a:lnTo>
                  <a:pt x="674" y="1268"/>
                </a:lnTo>
                <a:lnTo>
                  <a:pt x="668" y="1262"/>
                </a:lnTo>
                <a:lnTo>
                  <a:pt x="664" y="1254"/>
                </a:lnTo>
                <a:lnTo>
                  <a:pt x="662" y="1244"/>
                </a:lnTo>
                <a:lnTo>
                  <a:pt x="660" y="1232"/>
                </a:lnTo>
                <a:lnTo>
                  <a:pt x="662" y="1222"/>
                </a:lnTo>
                <a:lnTo>
                  <a:pt x="664" y="1212"/>
                </a:lnTo>
                <a:lnTo>
                  <a:pt x="670" y="1202"/>
                </a:lnTo>
                <a:lnTo>
                  <a:pt x="676" y="1194"/>
                </a:lnTo>
                <a:lnTo>
                  <a:pt x="684" y="1186"/>
                </a:lnTo>
                <a:lnTo>
                  <a:pt x="694" y="1178"/>
                </a:lnTo>
                <a:lnTo>
                  <a:pt x="714" y="1166"/>
                </a:lnTo>
                <a:lnTo>
                  <a:pt x="738" y="1158"/>
                </a:lnTo>
                <a:lnTo>
                  <a:pt x="762" y="1152"/>
                </a:lnTo>
                <a:lnTo>
                  <a:pt x="786" y="1150"/>
                </a:lnTo>
                <a:lnTo>
                  <a:pt x="804" y="1148"/>
                </a:lnTo>
                <a:lnTo>
                  <a:pt x="824" y="1150"/>
                </a:lnTo>
                <a:lnTo>
                  <a:pt x="846" y="1152"/>
                </a:lnTo>
                <a:lnTo>
                  <a:pt x="870" y="1158"/>
                </a:lnTo>
                <a:lnTo>
                  <a:pt x="894" y="1166"/>
                </a:lnTo>
                <a:lnTo>
                  <a:pt x="916" y="1178"/>
                </a:lnTo>
                <a:lnTo>
                  <a:pt x="924" y="1186"/>
                </a:lnTo>
                <a:lnTo>
                  <a:pt x="932" y="1194"/>
                </a:lnTo>
                <a:lnTo>
                  <a:pt x="940" y="1202"/>
                </a:lnTo>
                <a:lnTo>
                  <a:pt x="944" y="1212"/>
                </a:lnTo>
                <a:lnTo>
                  <a:pt x="948" y="1222"/>
                </a:lnTo>
                <a:lnTo>
                  <a:pt x="948" y="1232"/>
                </a:lnTo>
                <a:lnTo>
                  <a:pt x="948" y="1244"/>
                </a:lnTo>
                <a:lnTo>
                  <a:pt x="944" y="1254"/>
                </a:lnTo>
                <a:lnTo>
                  <a:pt x="940" y="1262"/>
                </a:lnTo>
                <a:lnTo>
                  <a:pt x="936" y="1268"/>
                </a:lnTo>
                <a:lnTo>
                  <a:pt x="922" y="1278"/>
                </a:lnTo>
                <a:lnTo>
                  <a:pt x="908" y="1286"/>
                </a:lnTo>
                <a:lnTo>
                  <a:pt x="894" y="1296"/>
                </a:lnTo>
                <a:lnTo>
                  <a:pt x="880" y="1306"/>
                </a:lnTo>
                <a:lnTo>
                  <a:pt x="876" y="1312"/>
                </a:lnTo>
                <a:lnTo>
                  <a:pt x="872" y="1320"/>
                </a:lnTo>
                <a:lnTo>
                  <a:pt x="870" y="1330"/>
                </a:lnTo>
                <a:lnTo>
                  <a:pt x="868" y="1342"/>
                </a:lnTo>
                <a:lnTo>
                  <a:pt x="868" y="1346"/>
                </a:lnTo>
                <a:lnTo>
                  <a:pt x="868" y="1348"/>
                </a:lnTo>
                <a:lnTo>
                  <a:pt x="870" y="1350"/>
                </a:lnTo>
                <a:lnTo>
                  <a:pt x="870" y="1352"/>
                </a:lnTo>
                <a:lnTo>
                  <a:pt x="872" y="1354"/>
                </a:lnTo>
                <a:lnTo>
                  <a:pt x="874" y="1356"/>
                </a:lnTo>
                <a:lnTo>
                  <a:pt x="874" y="1358"/>
                </a:lnTo>
                <a:lnTo>
                  <a:pt x="876" y="1360"/>
                </a:lnTo>
                <a:lnTo>
                  <a:pt x="878" y="1362"/>
                </a:lnTo>
                <a:lnTo>
                  <a:pt x="880" y="1364"/>
                </a:lnTo>
                <a:lnTo>
                  <a:pt x="882" y="1366"/>
                </a:lnTo>
                <a:lnTo>
                  <a:pt x="884" y="1368"/>
                </a:lnTo>
                <a:lnTo>
                  <a:pt x="886" y="1368"/>
                </a:lnTo>
                <a:lnTo>
                  <a:pt x="888" y="1370"/>
                </a:lnTo>
                <a:lnTo>
                  <a:pt x="890" y="1372"/>
                </a:lnTo>
                <a:lnTo>
                  <a:pt x="892" y="1372"/>
                </a:lnTo>
                <a:lnTo>
                  <a:pt x="894" y="1374"/>
                </a:lnTo>
                <a:lnTo>
                  <a:pt x="896" y="1374"/>
                </a:lnTo>
                <a:lnTo>
                  <a:pt x="898" y="1376"/>
                </a:lnTo>
                <a:lnTo>
                  <a:pt x="902" y="1378"/>
                </a:lnTo>
                <a:lnTo>
                  <a:pt x="914" y="1382"/>
                </a:lnTo>
                <a:lnTo>
                  <a:pt x="940" y="1382"/>
                </a:lnTo>
                <a:lnTo>
                  <a:pt x="934" y="1382"/>
                </a:lnTo>
                <a:lnTo>
                  <a:pt x="1198" y="1386"/>
                </a:lnTo>
                <a:lnTo>
                  <a:pt x="1322" y="1172"/>
                </a:lnTo>
                <a:lnTo>
                  <a:pt x="1326" y="1150"/>
                </a:lnTo>
                <a:lnTo>
                  <a:pt x="1330" y="1126"/>
                </a:lnTo>
                <a:lnTo>
                  <a:pt x="1328" y="1114"/>
                </a:lnTo>
                <a:lnTo>
                  <a:pt x="1326" y="1104"/>
                </a:lnTo>
                <a:lnTo>
                  <a:pt x="1322" y="1094"/>
                </a:lnTo>
                <a:lnTo>
                  <a:pt x="1316" y="1088"/>
                </a:lnTo>
                <a:lnTo>
                  <a:pt x="1304" y="1084"/>
                </a:lnTo>
                <a:lnTo>
                  <a:pt x="1294" y="1080"/>
                </a:lnTo>
                <a:lnTo>
                  <a:pt x="1286" y="1080"/>
                </a:lnTo>
                <a:lnTo>
                  <a:pt x="1278" y="1082"/>
                </a:lnTo>
                <a:lnTo>
                  <a:pt x="1262" y="1086"/>
                </a:lnTo>
                <a:lnTo>
                  <a:pt x="1248" y="1096"/>
                </a:lnTo>
                <a:lnTo>
                  <a:pt x="1232" y="1104"/>
                </a:lnTo>
                <a:lnTo>
                  <a:pt x="1218" y="1110"/>
                </a:lnTo>
                <a:lnTo>
                  <a:pt x="1208" y="1110"/>
                </a:lnTo>
                <a:lnTo>
                  <a:pt x="1200" y="1110"/>
                </a:lnTo>
                <a:lnTo>
                  <a:pt x="1190" y="1108"/>
                </a:lnTo>
                <a:lnTo>
                  <a:pt x="1180" y="1102"/>
                </a:lnTo>
                <a:lnTo>
                  <a:pt x="1170" y="1096"/>
                </a:lnTo>
                <a:lnTo>
                  <a:pt x="1164" y="1088"/>
                </a:lnTo>
                <a:lnTo>
                  <a:pt x="1158" y="1080"/>
                </a:lnTo>
                <a:lnTo>
                  <a:pt x="1154" y="1070"/>
                </a:lnTo>
                <a:lnTo>
                  <a:pt x="1152" y="1060"/>
                </a:lnTo>
                <a:lnTo>
                  <a:pt x="1150" y="1048"/>
                </a:lnTo>
                <a:lnTo>
                  <a:pt x="1150" y="1024"/>
                </a:lnTo>
                <a:lnTo>
                  <a:pt x="1154" y="998"/>
                </a:lnTo>
                <a:lnTo>
                  <a:pt x="1162" y="974"/>
                </a:lnTo>
                <a:lnTo>
                  <a:pt x="1170" y="954"/>
                </a:lnTo>
                <a:lnTo>
                  <a:pt x="1180" y="936"/>
                </a:lnTo>
                <a:lnTo>
                  <a:pt x="1190" y="920"/>
                </a:lnTo>
                <a:lnTo>
                  <a:pt x="1204" y="902"/>
                </a:lnTo>
                <a:lnTo>
                  <a:pt x="1220" y="884"/>
                </a:lnTo>
                <a:lnTo>
                  <a:pt x="1240" y="868"/>
                </a:lnTo>
                <a:lnTo>
                  <a:pt x="1260" y="856"/>
                </a:lnTo>
                <a:lnTo>
                  <a:pt x="1272" y="850"/>
                </a:lnTo>
                <a:lnTo>
                  <a:pt x="1282" y="848"/>
                </a:lnTo>
                <a:lnTo>
                  <a:pt x="1292" y="846"/>
                </a:lnTo>
                <a:lnTo>
                  <a:pt x="1304" y="846"/>
                </a:lnTo>
                <a:lnTo>
                  <a:pt x="1314" y="848"/>
                </a:lnTo>
                <a:lnTo>
                  <a:pt x="1324" y="854"/>
                </a:lnTo>
                <a:lnTo>
                  <a:pt x="1334" y="860"/>
                </a:lnTo>
                <a:lnTo>
                  <a:pt x="1340" y="868"/>
                </a:lnTo>
                <a:lnTo>
                  <a:pt x="1346" y="874"/>
                </a:lnTo>
                <a:lnTo>
                  <a:pt x="1348" y="882"/>
                </a:lnTo>
                <a:lnTo>
                  <a:pt x="1350" y="900"/>
                </a:lnTo>
                <a:lnTo>
                  <a:pt x="1350" y="916"/>
                </a:lnTo>
                <a:lnTo>
                  <a:pt x="1350" y="932"/>
                </a:lnTo>
                <a:lnTo>
                  <a:pt x="1354" y="948"/>
                </a:lnTo>
                <a:lnTo>
                  <a:pt x="1358" y="956"/>
                </a:lnTo>
                <a:lnTo>
                  <a:pt x="1362" y="964"/>
                </a:lnTo>
                <a:lnTo>
                  <a:pt x="1370" y="972"/>
                </a:lnTo>
                <a:lnTo>
                  <a:pt x="1380" y="978"/>
                </a:lnTo>
                <a:lnTo>
                  <a:pt x="1388" y="980"/>
                </a:lnTo>
                <a:lnTo>
                  <a:pt x="1398" y="980"/>
                </a:lnTo>
                <a:lnTo>
                  <a:pt x="1408" y="976"/>
                </a:lnTo>
                <a:lnTo>
                  <a:pt x="1418" y="972"/>
                </a:lnTo>
                <a:lnTo>
                  <a:pt x="1438" y="958"/>
                </a:lnTo>
                <a:lnTo>
                  <a:pt x="1456" y="942"/>
                </a:lnTo>
                <a:lnTo>
                  <a:pt x="1598" y="696"/>
                </a:lnTo>
                <a:lnTo>
                  <a:pt x="1436" y="418"/>
                </a:lnTo>
                <a:lnTo>
                  <a:pt x="1434" y="400"/>
                </a:lnTo>
                <a:lnTo>
                  <a:pt x="1432" y="382"/>
                </a:lnTo>
                <a:lnTo>
                  <a:pt x="1432" y="370"/>
                </a:lnTo>
                <a:lnTo>
                  <a:pt x="1434" y="358"/>
                </a:lnTo>
                <a:lnTo>
                  <a:pt x="1440" y="348"/>
                </a:lnTo>
                <a:lnTo>
                  <a:pt x="1446" y="342"/>
                </a:lnTo>
                <a:lnTo>
                  <a:pt x="1456" y="338"/>
                </a:lnTo>
                <a:lnTo>
                  <a:pt x="1466" y="334"/>
                </a:lnTo>
                <a:lnTo>
                  <a:pt x="1476" y="334"/>
                </a:lnTo>
                <a:lnTo>
                  <a:pt x="1484" y="334"/>
                </a:lnTo>
                <a:lnTo>
                  <a:pt x="1500" y="340"/>
                </a:lnTo>
                <a:lnTo>
                  <a:pt x="1514" y="348"/>
                </a:lnTo>
                <a:lnTo>
                  <a:pt x="1528" y="358"/>
                </a:lnTo>
                <a:lnTo>
                  <a:pt x="1544" y="364"/>
                </a:lnTo>
                <a:lnTo>
                  <a:pt x="1552" y="364"/>
                </a:lnTo>
                <a:lnTo>
                  <a:pt x="1562" y="364"/>
                </a:lnTo>
                <a:lnTo>
                  <a:pt x="1572" y="362"/>
                </a:lnTo>
                <a:lnTo>
                  <a:pt x="1582" y="356"/>
                </a:lnTo>
                <a:lnTo>
                  <a:pt x="1590" y="352"/>
                </a:lnTo>
                <a:lnTo>
                  <a:pt x="1596" y="346"/>
                </a:lnTo>
                <a:lnTo>
                  <a:pt x="1600" y="340"/>
                </a:lnTo>
                <a:lnTo>
                  <a:pt x="1604" y="332"/>
                </a:lnTo>
                <a:lnTo>
                  <a:pt x="1610" y="316"/>
                </a:lnTo>
                <a:lnTo>
                  <a:pt x="1612" y="296"/>
                </a:lnTo>
                <a:lnTo>
                  <a:pt x="1608" y="268"/>
                </a:lnTo>
                <a:lnTo>
                  <a:pt x="1602" y="242"/>
                </a:lnTo>
                <a:lnTo>
                  <a:pt x="1592" y="218"/>
                </a:lnTo>
                <a:lnTo>
                  <a:pt x="1582" y="198"/>
                </a:lnTo>
                <a:lnTo>
                  <a:pt x="1572" y="182"/>
                </a:lnTo>
                <a:lnTo>
                  <a:pt x="1558" y="164"/>
                </a:lnTo>
                <a:lnTo>
                  <a:pt x="1542" y="146"/>
                </a:lnTo>
                <a:lnTo>
                  <a:pt x="1522" y="130"/>
                </a:lnTo>
                <a:lnTo>
                  <a:pt x="1500" y="116"/>
                </a:lnTo>
                <a:lnTo>
                  <a:pt x="1490" y="112"/>
                </a:lnTo>
                <a:lnTo>
                  <a:pt x="1480" y="108"/>
                </a:lnTo>
                <a:lnTo>
                  <a:pt x="1468" y="108"/>
                </a:lnTo>
                <a:lnTo>
                  <a:pt x="1458" y="108"/>
                </a:lnTo>
                <a:lnTo>
                  <a:pt x="1448" y="110"/>
                </a:lnTo>
                <a:lnTo>
                  <a:pt x="1438" y="116"/>
                </a:lnTo>
                <a:lnTo>
                  <a:pt x="1430" y="120"/>
                </a:lnTo>
                <a:lnTo>
                  <a:pt x="1424" y="126"/>
                </a:lnTo>
                <a:lnTo>
                  <a:pt x="1416" y="138"/>
                </a:lnTo>
                <a:lnTo>
                  <a:pt x="1412" y="150"/>
                </a:lnTo>
                <a:lnTo>
                  <a:pt x="1410" y="164"/>
                </a:lnTo>
                <a:lnTo>
                  <a:pt x="1412" y="182"/>
                </a:lnTo>
                <a:lnTo>
                  <a:pt x="1410" y="198"/>
                </a:lnTo>
                <a:lnTo>
                  <a:pt x="1408" y="212"/>
                </a:lnTo>
                <a:lnTo>
                  <a:pt x="1404" y="220"/>
                </a:lnTo>
                <a:lnTo>
                  <a:pt x="1398" y="226"/>
                </a:lnTo>
                <a:lnTo>
                  <a:pt x="1392" y="234"/>
                </a:lnTo>
                <a:lnTo>
                  <a:pt x="1382" y="240"/>
                </a:lnTo>
                <a:lnTo>
                  <a:pt x="1376" y="242"/>
                </a:lnTo>
                <a:lnTo>
                  <a:pt x="1368" y="242"/>
                </a:lnTo>
                <a:lnTo>
                  <a:pt x="1360" y="240"/>
                </a:lnTo>
                <a:lnTo>
                  <a:pt x="1352" y="238"/>
                </a:lnTo>
                <a:lnTo>
                  <a:pt x="1334" y="228"/>
                </a:lnTo>
                <a:lnTo>
                  <a:pt x="1320" y="216"/>
                </a:lnTo>
                <a:lnTo>
                  <a:pt x="1198" y="0"/>
                </a:lnTo>
                <a:lnTo>
                  <a:pt x="400" y="0"/>
                </a:lnTo>
                <a:lnTo>
                  <a:pt x="0" y="694"/>
                </a:lnTo>
                <a:lnTo>
                  <a:pt x="398" y="1384"/>
                </a:lnTo>
                <a:lnTo>
                  <a:pt x="400" y="1382"/>
                </a:lnTo>
                <a:lnTo>
                  <a:pt x="674" y="1382"/>
                </a:lnTo>
                <a:close/>
              </a:path>
            </a:pathLst>
          </a:custGeom>
          <a:solidFill>
            <a:srgbClr val="0D64AD"/>
          </a:solidFill>
          <a:ln w="38100" cap="flat" cmpd="sng">
            <a:solidFill>
              <a:srgbClr val="0D64A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2" name="Freeform 6">
            <a:extLst>
              <a:ext uri="{FF2B5EF4-FFF2-40B4-BE49-F238E27FC236}">
                <a16:creationId xmlns:a16="http://schemas.microsoft.com/office/drawing/2014/main" xmlns="" id="{7E4B58A4-C3CD-43E3-85C7-BCA3BD39A525}"/>
              </a:ext>
            </a:extLst>
          </p:cNvPr>
          <p:cNvSpPr>
            <a:spLocks/>
          </p:cNvSpPr>
          <p:nvPr/>
        </p:nvSpPr>
        <p:spPr bwMode="auto">
          <a:xfrm>
            <a:off x="5223992" y="3583171"/>
            <a:ext cx="2462458" cy="1793186"/>
          </a:xfrm>
          <a:custGeom>
            <a:avLst/>
            <a:gdLst>
              <a:gd name="T0" fmla="*/ 1124331 w 1600"/>
              <a:gd name="T1" fmla="*/ 4953 h 1382"/>
              <a:gd name="T2" fmla="*/ 1104519 w 1600"/>
              <a:gd name="T3" fmla="*/ 12383 h 1382"/>
              <a:gd name="T4" fmla="*/ 1094613 w 1600"/>
              <a:gd name="T5" fmla="*/ 17336 h 1382"/>
              <a:gd name="T6" fmla="*/ 1084707 w 1600"/>
              <a:gd name="T7" fmla="*/ 22289 h 1382"/>
              <a:gd name="T8" fmla="*/ 1077278 w 1600"/>
              <a:gd name="T9" fmla="*/ 27243 h 1382"/>
              <a:gd name="T10" fmla="*/ 1067372 w 1600"/>
              <a:gd name="T11" fmla="*/ 34672 h 1382"/>
              <a:gd name="T12" fmla="*/ 1062419 w 1600"/>
              <a:gd name="T13" fmla="*/ 42102 h 1382"/>
              <a:gd name="T14" fmla="*/ 1059942 w 1600"/>
              <a:gd name="T15" fmla="*/ 49532 h 1382"/>
              <a:gd name="T16" fmla="*/ 1057466 w 1600"/>
              <a:gd name="T17" fmla="*/ 56962 h 1382"/>
              <a:gd name="T18" fmla="*/ 1059942 w 1600"/>
              <a:gd name="T19" fmla="*/ 71821 h 1382"/>
              <a:gd name="T20" fmla="*/ 1059942 w 1600"/>
              <a:gd name="T21" fmla="*/ 79251 h 1382"/>
              <a:gd name="T22" fmla="*/ 1072325 w 1600"/>
              <a:gd name="T23" fmla="*/ 101540 h 1382"/>
              <a:gd name="T24" fmla="*/ 1121855 w 1600"/>
              <a:gd name="T25" fmla="*/ 136213 h 1382"/>
              <a:gd name="T26" fmla="*/ 1131761 w 1600"/>
              <a:gd name="T27" fmla="*/ 141166 h 1382"/>
              <a:gd name="T28" fmla="*/ 1144143 w 1600"/>
              <a:gd name="T29" fmla="*/ 153549 h 1382"/>
              <a:gd name="T30" fmla="*/ 1149096 w 1600"/>
              <a:gd name="T31" fmla="*/ 160978 h 1382"/>
              <a:gd name="T32" fmla="*/ 1156526 w 1600"/>
              <a:gd name="T33" fmla="*/ 180791 h 1382"/>
              <a:gd name="T34" fmla="*/ 1156526 w 1600"/>
              <a:gd name="T35" fmla="*/ 193174 h 1382"/>
              <a:gd name="T36" fmla="*/ 1126808 w 1600"/>
              <a:gd name="T37" fmla="*/ 252612 h 1382"/>
              <a:gd name="T38" fmla="*/ 978218 w 1600"/>
              <a:gd name="T39" fmla="*/ 297191 h 1382"/>
              <a:gd name="T40" fmla="*/ 842010 w 1600"/>
              <a:gd name="T41" fmla="*/ 260042 h 1382"/>
              <a:gd name="T42" fmla="*/ 799910 w 1600"/>
              <a:gd name="T43" fmla="*/ 193174 h 1382"/>
              <a:gd name="T44" fmla="*/ 802386 w 1600"/>
              <a:gd name="T45" fmla="*/ 183268 h 1382"/>
              <a:gd name="T46" fmla="*/ 804863 w 1600"/>
              <a:gd name="T47" fmla="*/ 170885 h 1382"/>
              <a:gd name="T48" fmla="*/ 812292 w 1600"/>
              <a:gd name="T49" fmla="*/ 153549 h 1382"/>
              <a:gd name="T50" fmla="*/ 819722 w 1600"/>
              <a:gd name="T51" fmla="*/ 146119 h 1382"/>
              <a:gd name="T52" fmla="*/ 832104 w 1600"/>
              <a:gd name="T53" fmla="*/ 136213 h 1382"/>
              <a:gd name="T54" fmla="*/ 869252 w 1600"/>
              <a:gd name="T55" fmla="*/ 113923 h 1382"/>
              <a:gd name="T56" fmla="*/ 896493 w 1600"/>
              <a:gd name="T57" fmla="*/ 79251 h 1382"/>
              <a:gd name="T58" fmla="*/ 898970 w 1600"/>
              <a:gd name="T59" fmla="*/ 71821 h 1382"/>
              <a:gd name="T60" fmla="*/ 898970 w 1600"/>
              <a:gd name="T61" fmla="*/ 56962 h 1382"/>
              <a:gd name="T62" fmla="*/ 898970 w 1600"/>
              <a:gd name="T63" fmla="*/ 49532 h 1382"/>
              <a:gd name="T64" fmla="*/ 894017 w 1600"/>
              <a:gd name="T65" fmla="*/ 42102 h 1382"/>
              <a:gd name="T66" fmla="*/ 889064 w 1600"/>
              <a:gd name="T67" fmla="*/ 34672 h 1382"/>
              <a:gd name="T68" fmla="*/ 879158 w 1600"/>
              <a:gd name="T69" fmla="*/ 27243 h 1382"/>
              <a:gd name="T70" fmla="*/ 871728 w 1600"/>
              <a:gd name="T71" fmla="*/ 22289 h 1382"/>
              <a:gd name="T72" fmla="*/ 861822 w 1600"/>
              <a:gd name="T73" fmla="*/ 17336 h 1382"/>
              <a:gd name="T74" fmla="*/ 851916 w 1600"/>
              <a:gd name="T75" fmla="*/ 12383 h 1382"/>
              <a:gd name="T76" fmla="*/ 834581 w 1600"/>
              <a:gd name="T77" fmla="*/ 4953 h 1382"/>
              <a:gd name="T78" fmla="*/ 497777 w 1600"/>
              <a:gd name="T79" fmla="*/ 2477 h 1382"/>
              <a:gd name="T80" fmla="*/ 324422 w 1600"/>
              <a:gd name="T81" fmla="*/ 371489 h 1382"/>
              <a:gd name="T82" fmla="*/ 373952 w 1600"/>
              <a:gd name="T83" fmla="*/ 398731 h 1382"/>
              <a:gd name="T84" fmla="*/ 470535 w 1600"/>
              <a:gd name="T85" fmla="*/ 361582 h 1382"/>
              <a:gd name="T86" fmla="*/ 525018 w 1600"/>
              <a:gd name="T87" fmla="*/ 388825 h 1382"/>
              <a:gd name="T88" fmla="*/ 537401 w 1600"/>
              <a:gd name="T89" fmla="*/ 500272 h 1382"/>
              <a:gd name="T90" fmla="*/ 475488 w 1600"/>
              <a:gd name="T91" fmla="*/ 619148 h 1382"/>
              <a:gd name="T92" fmla="*/ 366522 w 1600"/>
              <a:gd name="T93" fmla="*/ 688493 h 1382"/>
              <a:gd name="T94" fmla="*/ 307086 w 1600"/>
              <a:gd name="T95" fmla="*/ 661250 h 1382"/>
              <a:gd name="T96" fmla="*/ 289751 w 1600"/>
              <a:gd name="T97" fmla="*/ 562186 h 1382"/>
              <a:gd name="T98" fmla="*/ 250127 w 1600"/>
              <a:gd name="T99" fmla="*/ 522561 h 1382"/>
              <a:gd name="T100" fmla="*/ 4953 w 1600"/>
              <a:gd name="T101" fmla="*/ 854424 h 1382"/>
              <a:gd name="T102" fmla="*/ 180785 w 1600"/>
              <a:gd name="T103" fmla="*/ 1151615 h 1382"/>
              <a:gd name="T104" fmla="*/ 245174 w 1600"/>
              <a:gd name="T105" fmla="*/ 1181334 h 1382"/>
              <a:gd name="T106" fmla="*/ 282321 w 1600"/>
              <a:gd name="T107" fmla="*/ 1141709 h 1382"/>
              <a:gd name="T108" fmla="*/ 299657 w 1600"/>
              <a:gd name="T109" fmla="*/ 1042645 h 1382"/>
              <a:gd name="T110" fmla="*/ 354140 w 1600"/>
              <a:gd name="T111" fmla="*/ 1015403 h 1382"/>
              <a:gd name="T112" fmla="*/ 460629 w 1600"/>
              <a:gd name="T113" fmla="*/ 1072364 h 1382"/>
              <a:gd name="T114" fmla="*/ 525018 w 1600"/>
              <a:gd name="T115" fmla="*/ 1173905 h 1382"/>
              <a:gd name="T116" fmla="*/ 529971 w 1600"/>
              <a:gd name="T117" fmla="*/ 1305164 h 1382"/>
              <a:gd name="T118" fmla="*/ 465582 w 1600"/>
              <a:gd name="T119" fmla="*/ 1342313 h 1382"/>
              <a:gd name="T120" fmla="*/ 381381 w 1600"/>
              <a:gd name="T121" fmla="*/ 1307641 h 1382"/>
              <a:gd name="T122" fmla="*/ 326898 w 1600"/>
              <a:gd name="T123" fmla="*/ 1322500 h 1382"/>
              <a:gd name="T124" fmla="*/ 497777 w 1600"/>
              <a:gd name="T125" fmla="*/ 1711325 h 138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00" h="1382">
                <a:moveTo>
                  <a:pt x="1200" y="2"/>
                </a:moveTo>
                <a:lnTo>
                  <a:pt x="912" y="2"/>
                </a:lnTo>
                <a:lnTo>
                  <a:pt x="908" y="4"/>
                </a:lnTo>
                <a:lnTo>
                  <a:pt x="906" y="4"/>
                </a:lnTo>
                <a:lnTo>
                  <a:pt x="894" y="8"/>
                </a:lnTo>
                <a:lnTo>
                  <a:pt x="892" y="10"/>
                </a:lnTo>
                <a:lnTo>
                  <a:pt x="890" y="10"/>
                </a:lnTo>
                <a:lnTo>
                  <a:pt x="886" y="12"/>
                </a:lnTo>
                <a:lnTo>
                  <a:pt x="884" y="14"/>
                </a:lnTo>
                <a:lnTo>
                  <a:pt x="882" y="14"/>
                </a:lnTo>
                <a:lnTo>
                  <a:pt x="880" y="16"/>
                </a:lnTo>
                <a:lnTo>
                  <a:pt x="876" y="18"/>
                </a:lnTo>
                <a:lnTo>
                  <a:pt x="874" y="18"/>
                </a:lnTo>
                <a:lnTo>
                  <a:pt x="870" y="22"/>
                </a:lnTo>
                <a:lnTo>
                  <a:pt x="866" y="26"/>
                </a:lnTo>
                <a:lnTo>
                  <a:pt x="864" y="26"/>
                </a:lnTo>
                <a:lnTo>
                  <a:pt x="862" y="28"/>
                </a:lnTo>
                <a:lnTo>
                  <a:pt x="862" y="30"/>
                </a:lnTo>
                <a:lnTo>
                  <a:pt x="860" y="32"/>
                </a:lnTo>
                <a:lnTo>
                  <a:pt x="858" y="34"/>
                </a:lnTo>
                <a:lnTo>
                  <a:pt x="856" y="36"/>
                </a:lnTo>
                <a:lnTo>
                  <a:pt x="856" y="38"/>
                </a:lnTo>
                <a:lnTo>
                  <a:pt x="856" y="40"/>
                </a:lnTo>
                <a:lnTo>
                  <a:pt x="854" y="42"/>
                </a:lnTo>
                <a:lnTo>
                  <a:pt x="854" y="46"/>
                </a:lnTo>
                <a:lnTo>
                  <a:pt x="854" y="52"/>
                </a:lnTo>
                <a:lnTo>
                  <a:pt x="854" y="54"/>
                </a:lnTo>
                <a:lnTo>
                  <a:pt x="856" y="58"/>
                </a:lnTo>
                <a:lnTo>
                  <a:pt x="856" y="60"/>
                </a:lnTo>
                <a:lnTo>
                  <a:pt x="856" y="64"/>
                </a:lnTo>
                <a:lnTo>
                  <a:pt x="858" y="70"/>
                </a:lnTo>
                <a:lnTo>
                  <a:pt x="862" y="76"/>
                </a:lnTo>
                <a:lnTo>
                  <a:pt x="866" y="82"/>
                </a:lnTo>
                <a:lnTo>
                  <a:pt x="878" y="92"/>
                </a:lnTo>
                <a:lnTo>
                  <a:pt x="890" y="100"/>
                </a:lnTo>
                <a:lnTo>
                  <a:pt x="904" y="108"/>
                </a:lnTo>
                <a:lnTo>
                  <a:pt x="906" y="110"/>
                </a:lnTo>
                <a:lnTo>
                  <a:pt x="908" y="110"/>
                </a:lnTo>
                <a:lnTo>
                  <a:pt x="912" y="114"/>
                </a:lnTo>
                <a:lnTo>
                  <a:pt x="914" y="114"/>
                </a:lnTo>
                <a:lnTo>
                  <a:pt x="918" y="118"/>
                </a:lnTo>
                <a:lnTo>
                  <a:pt x="920" y="120"/>
                </a:lnTo>
                <a:lnTo>
                  <a:pt x="924" y="124"/>
                </a:lnTo>
                <a:lnTo>
                  <a:pt x="928" y="130"/>
                </a:lnTo>
                <a:lnTo>
                  <a:pt x="930" y="138"/>
                </a:lnTo>
                <a:lnTo>
                  <a:pt x="932" y="138"/>
                </a:lnTo>
                <a:lnTo>
                  <a:pt x="934" y="146"/>
                </a:lnTo>
                <a:lnTo>
                  <a:pt x="934" y="148"/>
                </a:lnTo>
                <a:lnTo>
                  <a:pt x="934" y="156"/>
                </a:lnTo>
                <a:lnTo>
                  <a:pt x="934" y="168"/>
                </a:lnTo>
                <a:lnTo>
                  <a:pt x="930" y="178"/>
                </a:lnTo>
                <a:lnTo>
                  <a:pt x="926" y="188"/>
                </a:lnTo>
                <a:lnTo>
                  <a:pt x="918" y="196"/>
                </a:lnTo>
                <a:lnTo>
                  <a:pt x="910" y="204"/>
                </a:lnTo>
                <a:lnTo>
                  <a:pt x="902" y="210"/>
                </a:lnTo>
                <a:lnTo>
                  <a:pt x="880" y="222"/>
                </a:lnTo>
                <a:lnTo>
                  <a:pt x="856" y="230"/>
                </a:lnTo>
                <a:lnTo>
                  <a:pt x="832" y="236"/>
                </a:lnTo>
                <a:lnTo>
                  <a:pt x="810" y="240"/>
                </a:lnTo>
                <a:lnTo>
                  <a:pt x="790" y="240"/>
                </a:lnTo>
                <a:lnTo>
                  <a:pt x="770" y="240"/>
                </a:lnTo>
                <a:lnTo>
                  <a:pt x="748" y="236"/>
                </a:lnTo>
                <a:lnTo>
                  <a:pt x="724" y="230"/>
                </a:lnTo>
                <a:lnTo>
                  <a:pt x="700" y="222"/>
                </a:lnTo>
                <a:lnTo>
                  <a:pt x="680" y="210"/>
                </a:lnTo>
                <a:lnTo>
                  <a:pt x="670" y="204"/>
                </a:lnTo>
                <a:lnTo>
                  <a:pt x="662" y="196"/>
                </a:lnTo>
                <a:lnTo>
                  <a:pt x="656" y="188"/>
                </a:lnTo>
                <a:lnTo>
                  <a:pt x="650" y="178"/>
                </a:lnTo>
                <a:lnTo>
                  <a:pt x="648" y="168"/>
                </a:lnTo>
                <a:lnTo>
                  <a:pt x="646" y="156"/>
                </a:lnTo>
                <a:lnTo>
                  <a:pt x="648" y="148"/>
                </a:lnTo>
                <a:lnTo>
                  <a:pt x="648" y="146"/>
                </a:lnTo>
                <a:lnTo>
                  <a:pt x="650" y="138"/>
                </a:lnTo>
                <a:lnTo>
                  <a:pt x="652" y="130"/>
                </a:lnTo>
                <a:lnTo>
                  <a:pt x="656" y="124"/>
                </a:lnTo>
                <a:lnTo>
                  <a:pt x="660" y="120"/>
                </a:lnTo>
                <a:lnTo>
                  <a:pt x="662" y="118"/>
                </a:lnTo>
                <a:lnTo>
                  <a:pt x="666" y="114"/>
                </a:lnTo>
                <a:lnTo>
                  <a:pt x="668" y="114"/>
                </a:lnTo>
                <a:lnTo>
                  <a:pt x="672" y="110"/>
                </a:lnTo>
                <a:lnTo>
                  <a:pt x="674" y="110"/>
                </a:lnTo>
                <a:lnTo>
                  <a:pt x="676" y="108"/>
                </a:lnTo>
                <a:lnTo>
                  <a:pt x="690" y="100"/>
                </a:lnTo>
                <a:lnTo>
                  <a:pt x="702" y="92"/>
                </a:lnTo>
                <a:lnTo>
                  <a:pt x="714" y="82"/>
                </a:lnTo>
                <a:lnTo>
                  <a:pt x="718" y="76"/>
                </a:lnTo>
                <a:lnTo>
                  <a:pt x="722" y="70"/>
                </a:lnTo>
                <a:lnTo>
                  <a:pt x="724" y="64"/>
                </a:lnTo>
                <a:lnTo>
                  <a:pt x="724" y="60"/>
                </a:lnTo>
                <a:lnTo>
                  <a:pt x="726" y="58"/>
                </a:lnTo>
                <a:lnTo>
                  <a:pt x="726" y="54"/>
                </a:lnTo>
                <a:lnTo>
                  <a:pt x="726" y="52"/>
                </a:lnTo>
                <a:lnTo>
                  <a:pt x="726" y="46"/>
                </a:lnTo>
                <a:lnTo>
                  <a:pt x="726" y="42"/>
                </a:lnTo>
                <a:lnTo>
                  <a:pt x="726" y="40"/>
                </a:lnTo>
                <a:lnTo>
                  <a:pt x="724" y="38"/>
                </a:lnTo>
                <a:lnTo>
                  <a:pt x="724" y="36"/>
                </a:lnTo>
                <a:lnTo>
                  <a:pt x="722" y="34"/>
                </a:lnTo>
                <a:lnTo>
                  <a:pt x="722" y="32"/>
                </a:lnTo>
                <a:lnTo>
                  <a:pt x="720" y="30"/>
                </a:lnTo>
                <a:lnTo>
                  <a:pt x="718" y="28"/>
                </a:lnTo>
                <a:lnTo>
                  <a:pt x="716" y="26"/>
                </a:lnTo>
                <a:lnTo>
                  <a:pt x="714" y="26"/>
                </a:lnTo>
                <a:lnTo>
                  <a:pt x="710" y="22"/>
                </a:lnTo>
                <a:lnTo>
                  <a:pt x="706" y="18"/>
                </a:lnTo>
                <a:lnTo>
                  <a:pt x="704" y="18"/>
                </a:lnTo>
                <a:lnTo>
                  <a:pt x="702" y="16"/>
                </a:lnTo>
                <a:lnTo>
                  <a:pt x="700" y="14"/>
                </a:lnTo>
                <a:lnTo>
                  <a:pt x="696" y="14"/>
                </a:lnTo>
                <a:lnTo>
                  <a:pt x="694" y="12"/>
                </a:lnTo>
                <a:lnTo>
                  <a:pt x="692" y="10"/>
                </a:lnTo>
                <a:lnTo>
                  <a:pt x="688" y="10"/>
                </a:lnTo>
                <a:lnTo>
                  <a:pt x="686" y="8"/>
                </a:lnTo>
                <a:lnTo>
                  <a:pt x="674" y="4"/>
                </a:lnTo>
                <a:lnTo>
                  <a:pt x="668" y="2"/>
                </a:lnTo>
                <a:lnTo>
                  <a:pt x="402" y="2"/>
                </a:lnTo>
                <a:lnTo>
                  <a:pt x="264" y="238"/>
                </a:lnTo>
                <a:lnTo>
                  <a:pt x="260" y="260"/>
                </a:lnTo>
                <a:lnTo>
                  <a:pt x="260" y="282"/>
                </a:lnTo>
                <a:lnTo>
                  <a:pt x="260" y="292"/>
                </a:lnTo>
                <a:lnTo>
                  <a:pt x="262" y="300"/>
                </a:lnTo>
                <a:lnTo>
                  <a:pt x="268" y="308"/>
                </a:lnTo>
                <a:lnTo>
                  <a:pt x="274" y="314"/>
                </a:lnTo>
                <a:lnTo>
                  <a:pt x="284" y="318"/>
                </a:lnTo>
                <a:lnTo>
                  <a:pt x="294" y="322"/>
                </a:lnTo>
                <a:lnTo>
                  <a:pt x="302" y="322"/>
                </a:lnTo>
                <a:lnTo>
                  <a:pt x="312" y="322"/>
                </a:lnTo>
                <a:lnTo>
                  <a:pt x="326" y="316"/>
                </a:lnTo>
                <a:lnTo>
                  <a:pt x="342" y="308"/>
                </a:lnTo>
                <a:lnTo>
                  <a:pt x="356" y="298"/>
                </a:lnTo>
                <a:lnTo>
                  <a:pt x="372" y="292"/>
                </a:lnTo>
                <a:lnTo>
                  <a:pt x="380" y="292"/>
                </a:lnTo>
                <a:lnTo>
                  <a:pt x="388" y="292"/>
                </a:lnTo>
                <a:lnTo>
                  <a:pt x="398" y="294"/>
                </a:lnTo>
                <a:lnTo>
                  <a:pt x="408" y="300"/>
                </a:lnTo>
                <a:lnTo>
                  <a:pt x="418" y="306"/>
                </a:lnTo>
                <a:lnTo>
                  <a:pt x="424" y="314"/>
                </a:lnTo>
                <a:lnTo>
                  <a:pt x="430" y="322"/>
                </a:lnTo>
                <a:lnTo>
                  <a:pt x="434" y="332"/>
                </a:lnTo>
                <a:lnTo>
                  <a:pt x="438" y="344"/>
                </a:lnTo>
                <a:lnTo>
                  <a:pt x="438" y="354"/>
                </a:lnTo>
                <a:lnTo>
                  <a:pt x="438" y="380"/>
                </a:lnTo>
                <a:lnTo>
                  <a:pt x="434" y="404"/>
                </a:lnTo>
                <a:lnTo>
                  <a:pt x="426" y="428"/>
                </a:lnTo>
                <a:lnTo>
                  <a:pt x="418" y="448"/>
                </a:lnTo>
                <a:lnTo>
                  <a:pt x="410" y="466"/>
                </a:lnTo>
                <a:lnTo>
                  <a:pt x="398" y="482"/>
                </a:lnTo>
                <a:lnTo>
                  <a:pt x="384" y="500"/>
                </a:lnTo>
                <a:lnTo>
                  <a:pt x="368" y="518"/>
                </a:lnTo>
                <a:lnTo>
                  <a:pt x="348" y="534"/>
                </a:lnTo>
                <a:lnTo>
                  <a:pt x="328" y="548"/>
                </a:lnTo>
                <a:lnTo>
                  <a:pt x="318" y="552"/>
                </a:lnTo>
                <a:lnTo>
                  <a:pt x="306" y="554"/>
                </a:lnTo>
                <a:lnTo>
                  <a:pt x="296" y="556"/>
                </a:lnTo>
                <a:lnTo>
                  <a:pt x="284" y="556"/>
                </a:lnTo>
                <a:lnTo>
                  <a:pt x="274" y="554"/>
                </a:lnTo>
                <a:lnTo>
                  <a:pt x="264" y="548"/>
                </a:lnTo>
                <a:lnTo>
                  <a:pt x="256" y="542"/>
                </a:lnTo>
                <a:lnTo>
                  <a:pt x="248" y="534"/>
                </a:lnTo>
                <a:lnTo>
                  <a:pt x="244" y="528"/>
                </a:lnTo>
                <a:lnTo>
                  <a:pt x="240" y="520"/>
                </a:lnTo>
                <a:lnTo>
                  <a:pt x="238" y="504"/>
                </a:lnTo>
                <a:lnTo>
                  <a:pt x="238" y="486"/>
                </a:lnTo>
                <a:lnTo>
                  <a:pt x="238" y="470"/>
                </a:lnTo>
                <a:lnTo>
                  <a:pt x="234" y="454"/>
                </a:lnTo>
                <a:lnTo>
                  <a:pt x="232" y="446"/>
                </a:lnTo>
                <a:lnTo>
                  <a:pt x="226" y="438"/>
                </a:lnTo>
                <a:lnTo>
                  <a:pt x="218" y="430"/>
                </a:lnTo>
                <a:lnTo>
                  <a:pt x="210" y="424"/>
                </a:lnTo>
                <a:lnTo>
                  <a:pt x="202" y="422"/>
                </a:lnTo>
                <a:lnTo>
                  <a:pt x="194" y="422"/>
                </a:lnTo>
                <a:lnTo>
                  <a:pt x="184" y="424"/>
                </a:lnTo>
                <a:lnTo>
                  <a:pt x="174" y="428"/>
                </a:lnTo>
                <a:lnTo>
                  <a:pt x="156" y="440"/>
                </a:lnTo>
                <a:lnTo>
                  <a:pt x="140" y="454"/>
                </a:lnTo>
                <a:lnTo>
                  <a:pt x="4" y="690"/>
                </a:lnTo>
                <a:lnTo>
                  <a:pt x="0" y="690"/>
                </a:lnTo>
                <a:lnTo>
                  <a:pt x="2" y="694"/>
                </a:lnTo>
                <a:lnTo>
                  <a:pt x="4" y="694"/>
                </a:lnTo>
                <a:lnTo>
                  <a:pt x="132" y="918"/>
                </a:lnTo>
                <a:lnTo>
                  <a:pt x="146" y="930"/>
                </a:lnTo>
                <a:lnTo>
                  <a:pt x="160" y="942"/>
                </a:lnTo>
                <a:lnTo>
                  <a:pt x="176" y="950"/>
                </a:lnTo>
                <a:lnTo>
                  <a:pt x="184" y="954"/>
                </a:lnTo>
                <a:lnTo>
                  <a:pt x="192" y="954"/>
                </a:lnTo>
                <a:lnTo>
                  <a:pt x="198" y="954"/>
                </a:lnTo>
                <a:lnTo>
                  <a:pt x="202" y="952"/>
                </a:lnTo>
                <a:lnTo>
                  <a:pt x="212" y="944"/>
                </a:lnTo>
                <a:lnTo>
                  <a:pt x="220" y="938"/>
                </a:lnTo>
                <a:lnTo>
                  <a:pt x="224" y="930"/>
                </a:lnTo>
                <a:lnTo>
                  <a:pt x="228" y="922"/>
                </a:lnTo>
                <a:lnTo>
                  <a:pt x="230" y="906"/>
                </a:lnTo>
                <a:lnTo>
                  <a:pt x="230" y="890"/>
                </a:lnTo>
                <a:lnTo>
                  <a:pt x="230" y="872"/>
                </a:lnTo>
                <a:lnTo>
                  <a:pt x="234" y="856"/>
                </a:lnTo>
                <a:lnTo>
                  <a:pt x="236" y="848"/>
                </a:lnTo>
                <a:lnTo>
                  <a:pt x="242" y="842"/>
                </a:lnTo>
                <a:lnTo>
                  <a:pt x="248" y="834"/>
                </a:lnTo>
                <a:lnTo>
                  <a:pt x="258" y="828"/>
                </a:lnTo>
                <a:lnTo>
                  <a:pt x="272" y="822"/>
                </a:lnTo>
                <a:lnTo>
                  <a:pt x="286" y="820"/>
                </a:lnTo>
                <a:lnTo>
                  <a:pt x="296" y="820"/>
                </a:lnTo>
                <a:lnTo>
                  <a:pt x="304" y="822"/>
                </a:lnTo>
                <a:lnTo>
                  <a:pt x="322" y="828"/>
                </a:lnTo>
                <a:lnTo>
                  <a:pt x="340" y="838"/>
                </a:lnTo>
                <a:lnTo>
                  <a:pt x="358" y="852"/>
                </a:lnTo>
                <a:lnTo>
                  <a:pt x="372" y="866"/>
                </a:lnTo>
                <a:lnTo>
                  <a:pt x="386" y="882"/>
                </a:lnTo>
                <a:lnTo>
                  <a:pt x="398" y="896"/>
                </a:lnTo>
                <a:lnTo>
                  <a:pt x="406" y="910"/>
                </a:lnTo>
                <a:lnTo>
                  <a:pt x="414" y="928"/>
                </a:lnTo>
                <a:lnTo>
                  <a:pt x="424" y="948"/>
                </a:lnTo>
                <a:lnTo>
                  <a:pt x="430" y="972"/>
                </a:lnTo>
                <a:lnTo>
                  <a:pt x="434" y="996"/>
                </a:lnTo>
                <a:lnTo>
                  <a:pt x="436" y="1022"/>
                </a:lnTo>
                <a:lnTo>
                  <a:pt x="434" y="1032"/>
                </a:lnTo>
                <a:lnTo>
                  <a:pt x="432" y="1044"/>
                </a:lnTo>
                <a:lnTo>
                  <a:pt x="428" y="1054"/>
                </a:lnTo>
                <a:lnTo>
                  <a:pt x="422" y="1062"/>
                </a:lnTo>
                <a:lnTo>
                  <a:pt x="414" y="1070"/>
                </a:lnTo>
                <a:lnTo>
                  <a:pt x="404" y="1076"/>
                </a:lnTo>
                <a:lnTo>
                  <a:pt x="390" y="1082"/>
                </a:lnTo>
                <a:lnTo>
                  <a:pt x="376" y="1084"/>
                </a:lnTo>
                <a:lnTo>
                  <a:pt x="366" y="1084"/>
                </a:lnTo>
                <a:lnTo>
                  <a:pt x="354" y="1080"/>
                </a:lnTo>
                <a:lnTo>
                  <a:pt x="336" y="1070"/>
                </a:lnTo>
                <a:lnTo>
                  <a:pt x="318" y="1060"/>
                </a:lnTo>
                <a:lnTo>
                  <a:pt x="308" y="1056"/>
                </a:lnTo>
                <a:lnTo>
                  <a:pt x="296" y="1054"/>
                </a:lnTo>
                <a:lnTo>
                  <a:pt x="284" y="1056"/>
                </a:lnTo>
                <a:lnTo>
                  <a:pt x="270" y="1062"/>
                </a:lnTo>
                <a:lnTo>
                  <a:pt x="264" y="1068"/>
                </a:lnTo>
                <a:lnTo>
                  <a:pt x="258" y="1076"/>
                </a:lnTo>
                <a:lnTo>
                  <a:pt x="256" y="1086"/>
                </a:lnTo>
                <a:lnTo>
                  <a:pt x="256" y="1096"/>
                </a:lnTo>
                <a:lnTo>
                  <a:pt x="258" y="1120"/>
                </a:lnTo>
                <a:lnTo>
                  <a:pt x="262" y="1142"/>
                </a:lnTo>
                <a:lnTo>
                  <a:pt x="402" y="1382"/>
                </a:lnTo>
                <a:lnTo>
                  <a:pt x="1200" y="1382"/>
                </a:lnTo>
                <a:lnTo>
                  <a:pt x="1600" y="690"/>
                </a:lnTo>
                <a:lnTo>
                  <a:pt x="1200" y="0"/>
                </a:lnTo>
                <a:lnTo>
                  <a:pt x="1200" y="2"/>
                </a:lnTo>
                <a:close/>
              </a:path>
            </a:pathLst>
          </a:custGeom>
          <a:solidFill>
            <a:srgbClr val="B4B4B7"/>
          </a:solidFill>
          <a:ln w="38100" cap="flat" cmpd="sng">
            <a:solidFill>
              <a:srgbClr val="B4B4B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3" name="Freeform 7">
            <a:extLst>
              <a:ext uri="{FF2B5EF4-FFF2-40B4-BE49-F238E27FC236}">
                <a16:creationId xmlns:a16="http://schemas.microsoft.com/office/drawing/2014/main" xmlns="" id="{996D736E-ABEA-4AD2-833B-E8785193D165}"/>
              </a:ext>
            </a:extLst>
          </p:cNvPr>
          <p:cNvSpPr>
            <a:spLocks/>
          </p:cNvSpPr>
          <p:nvPr/>
        </p:nvSpPr>
        <p:spPr bwMode="auto">
          <a:xfrm>
            <a:off x="3348342" y="861691"/>
            <a:ext cx="2519679" cy="1799839"/>
          </a:xfrm>
          <a:custGeom>
            <a:avLst/>
            <a:gdLst>
              <a:gd name="T0" fmla="*/ 245350 w 1636"/>
              <a:gd name="T1" fmla="*/ 1122809 h 1386"/>
              <a:gd name="T2" fmla="*/ 265176 w 1636"/>
              <a:gd name="T3" fmla="*/ 1075716 h 1386"/>
              <a:gd name="T4" fmla="*/ 265176 w 1636"/>
              <a:gd name="T5" fmla="*/ 1033579 h 1386"/>
              <a:gd name="T6" fmla="*/ 287481 w 1636"/>
              <a:gd name="T7" fmla="*/ 991443 h 1386"/>
              <a:gd name="T8" fmla="*/ 322177 w 1636"/>
              <a:gd name="T9" fmla="*/ 974093 h 1386"/>
              <a:gd name="T10" fmla="*/ 374221 w 1636"/>
              <a:gd name="T11" fmla="*/ 984007 h 1386"/>
              <a:gd name="T12" fmla="*/ 463439 w 1636"/>
              <a:gd name="T13" fmla="*/ 1065801 h 1386"/>
              <a:gd name="T14" fmla="*/ 503092 w 1636"/>
              <a:gd name="T15" fmla="*/ 1145117 h 1386"/>
              <a:gd name="T16" fmla="*/ 513005 w 1636"/>
              <a:gd name="T17" fmla="*/ 1216996 h 1386"/>
              <a:gd name="T18" fmla="*/ 500614 w 1636"/>
              <a:gd name="T19" fmla="*/ 1278961 h 1386"/>
              <a:gd name="T20" fmla="*/ 475831 w 1636"/>
              <a:gd name="T21" fmla="*/ 1301269 h 1386"/>
              <a:gd name="T22" fmla="*/ 428743 w 1636"/>
              <a:gd name="T23" fmla="*/ 1311183 h 1386"/>
              <a:gd name="T24" fmla="*/ 354395 w 1636"/>
              <a:gd name="T25" fmla="*/ 1274004 h 1386"/>
              <a:gd name="T26" fmla="*/ 307307 w 1636"/>
              <a:gd name="T27" fmla="*/ 1283919 h 1386"/>
              <a:gd name="T28" fmla="*/ 292438 w 1636"/>
              <a:gd name="T29" fmla="*/ 1311183 h 1386"/>
              <a:gd name="T30" fmla="*/ 297394 w 1636"/>
              <a:gd name="T31" fmla="*/ 1365713 h 1386"/>
              <a:gd name="T32" fmla="*/ 495657 w 1636"/>
              <a:gd name="T33" fmla="*/ 1712718 h 1386"/>
              <a:gd name="T34" fmla="*/ 822791 w 1636"/>
              <a:gd name="T35" fmla="*/ 1717675 h 1386"/>
              <a:gd name="T36" fmla="*/ 899617 w 1636"/>
              <a:gd name="T37" fmla="*/ 1680496 h 1386"/>
              <a:gd name="T38" fmla="*/ 909531 w 1636"/>
              <a:gd name="T39" fmla="*/ 1643317 h 1386"/>
              <a:gd name="T40" fmla="*/ 879791 w 1636"/>
              <a:gd name="T41" fmla="*/ 1598702 h 1386"/>
              <a:gd name="T42" fmla="*/ 820312 w 1636"/>
              <a:gd name="T43" fmla="*/ 1556566 h 1386"/>
              <a:gd name="T44" fmla="*/ 810399 w 1636"/>
              <a:gd name="T45" fmla="*/ 1521865 h 1386"/>
              <a:gd name="T46" fmla="*/ 830225 w 1636"/>
              <a:gd name="T47" fmla="*/ 1472293 h 1386"/>
              <a:gd name="T48" fmla="*/ 907052 w 1636"/>
              <a:gd name="T49" fmla="*/ 1430157 h 1386"/>
              <a:gd name="T50" fmla="*/ 988836 w 1636"/>
              <a:gd name="T51" fmla="*/ 1417763 h 1386"/>
              <a:gd name="T52" fmla="*/ 1100358 w 1636"/>
              <a:gd name="T53" fmla="*/ 1440071 h 1386"/>
              <a:gd name="T54" fmla="*/ 1157359 w 1636"/>
              <a:gd name="T55" fmla="*/ 1484686 h 1386"/>
              <a:gd name="T56" fmla="*/ 1167272 w 1636"/>
              <a:gd name="T57" fmla="*/ 1521865 h 1386"/>
              <a:gd name="T58" fmla="*/ 1152402 w 1636"/>
              <a:gd name="T59" fmla="*/ 1566480 h 1386"/>
              <a:gd name="T60" fmla="*/ 1083010 w 1636"/>
              <a:gd name="T61" fmla="*/ 1613573 h 1386"/>
              <a:gd name="T62" fmla="*/ 1068141 w 1636"/>
              <a:gd name="T63" fmla="*/ 1658188 h 1386"/>
              <a:gd name="T64" fmla="*/ 1087967 w 1636"/>
              <a:gd name="T65" fmla="*/ 1687932 h 1386"/>
              <a:gd name="T66" fmla="*/ 1479536 w 1636"/>
              <a:gd name="T67" fmla="*/ 1717675 h 1386"/>
              <a:gd name="T68" fmla="*/ 1489449 w 1636"/>
              <a:gd name="T69" fmla="*/ 1707761 h 1386"/>
              <a:gd name="T70" fmla="*/ 1660451 w 1636"/>
              <a:gd name="T71" fmla="*/ 1410328 h 1386"/>
              <a:gd name="T72" fmla="*/ 1727365 w 1636"/>
              <a:gd name="T73" fmla="*/ 1368191 h 1386"/>
              <a:gd name="T74" fmla="*/ 1759582 w 1636"/>
              <a:gd name="T75" fmla="*/ 1380584 h 1386"/>
              <a:gd name="T76" fmla="*/ 1781887 w 1636"/>
              <a:gd name="T77" fmla="*/ 1427678 h 1386"/>
              <a:gd name="T78" fmla="*/ 1789322 w 1636"/>
              <a:gd name="T79" fmla="*/ 1499558 h 1386"/>
              <a:gd name="T80" fmla="*/ 1816583 w 1636"/>
              <a:gd name="T81" fmla="*/ 1526822 h 1386"/>
              <a:gd name="T82" fmla="*/ 1866148 w 1636"/>
              <a:gd name="T83" fmla="*/ 1534258 h 1386"/>
              <a:gd name="T84" fmla="*/ 1942975 w 1636"/>
              <a:gd name="T85" fmla="*/ 1489643 h 1386"/>
              <a:gd name="T86" fmla="*/ 1995019 w 1636"/>
              <a:gd name="T87" fmla="*/ 1425199 h 1386"/>
              <a:gd name="T88" fmla="*/ 2022280 w 1636"/>
              <a:gd name="T89" fmla="*/ 1355798 h 1386"/>
              <a:gd name="T90" fmla="*/ 2024759 w 1636"/>
              <a:gd name="T91" fmla="*/ 1271526 h 1386"/>
              <a:gd name="T92" fmla="*/ 1990063 w 1636"/>
              <a:gd name="T93" fmla="*/ 1226911 h 1386"/>
              <a:gd name="T94" fmla="*/ 1945454 w 1636"/>
              <a:gd name="T95" fmla="*/ 1219475 h 1386"/>
              <a:gd name="T96" fmla="*/ 1871105 w 1636"/>
              <a:gd name="T97" fmla="*/ 1254175 h 1386"/>
              <a:gd name="T98" fmla="*/ 1824018 w 1636"/>
              <a:gd name="T99" fmla="*/ 1244261 h 1386"/>
              <a:gd name="T100" fmla="*/ 1806670 w 1636"/>
              <a:gd name="T101" fmla="*/ 1216996 h 1386"/>
              <a:gd name="T102" fmla="*/ 1814105 w 1636"/>
              <a:gd name="T103" fmla="*/ 1147595 h 1386"/>
              <a:gd name="T104" fmla="*/ 1960323 w 1636"/>
              <a:gd name="T105" fmla="*/ 827855 h 1386"/>
              <a:gd name="T106" fmla="*/ 399004 w 1636"/>
              <a:gd name="T107" fmla="*/ 163588 h 1386"/>
              <a:gd name="T108" fmla="*/ 163567 w 1636"/>
              <a:gd name="T109" fmla="*/ 1117852 h 1386"/>
              <a:gd name="T110" fmla="*/ 218089 w 1636"/>
              <a:gd name="T111" fmla="*/ 1140159 h 138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36" h="1386">
                <a:moveTo>
                  <a:pt x="184" y="918"/>
                </a:moveTo>
                <a:lnTo>
                  <a:pt x="184" y="918"/>
                </a:lnTo>
                <a:lnTo>
                  <a:pt x="192" y="912"/>
                </a:lnTo>
                <a:lnTo>
                  <a:pt x="198" y="906"/>
                </a:lnTo>
                <a:lnTo>
                  <a:pt x="204" y="900"/>
                </a:lnTo>
                <a:lnTo>
                  <a:pt x="208" y="894"/>
                </a:lnTo>
                <a:lnTo>
                  <a:pt x="212" y="882"/>
                </a:lnTo>
                <a:lnTo>
                  <a:pt x="214" y="868"/>
                </a:lnTo>
                <a:lnTo>
                  <a:pt x="212" y="850"/>
                </a:lnTo>
                <a:lnTo>
                  <a:pt x="214" y="834"/>
                </a:lnTo>
                <a:lnTo>
                  <a:pt x="216" y="820"/>
                </a:lnTo>
                <a:lnTo>
                  <a:pt x="220" y="812"/>
                </a:lnTo>
                <a:lnTo>
                  <a:pt x="224" y="806"/>
                </a:lnTo>
                <a:lnTo>
                  <a:pt x="232" y="800"/>
                </a:lnTo>
                <a:lnTo>
                  <a:pt x="240" y="794"/>
                </a:lnTo>
                <a:lnTo>
                  <a:pt x="250" y="788"/>
                </a:lnTo>
                <a:lnTo>
                  <a:pt x="260" y="786"/>
                </a:lnTo>
                <a:lnTo>
                  <a:pt x="270" y="786"/>
                </a:lnTo>
                <a:lnTo>
                  <a:pt x="282" y="786"/>
                </a:lnTo>
                <a:lnTo>
                  <a:pt x="292" y="790"/>
                </a:lnTo>
                <a:lnTo>
                  <a:pt x="302" y="794"/>
                </a:lnTo>
                <a:lnTo>
                  <a:pt x="324" y="808"/>
                </a:lnTo>
                <a:lnTo>
                  <a:pt x="344" y="824"/>
                </a:lnTo>
                <a:lnTo>
                  <a:pt x="360" y="842"/>
                </a:lnTo>
                <a:lnTo>
                  <a:pt x="374" y="860"/>
                </a:lnTo>
                <a:lnTo>
                  <a:pt x="384" y="876"/>
                </a:lnTo>
                <a:lnTo>
                  <a:pt x="396" y="898"/>
                </a:lnTo>
                <a:lnTo>
                  <a:pt x="406" y="924"/>
                </a:lnTo>
                <a:lnTo>
                  <a:pt x="412" y="954"/>
                </a:lnTo>
                <a:lnTo>
                  <a:pt x="414" y="968"/>
                </a:lnTo>
                <a:lnTo>
                  <a:pt x="414" y="982"/>
                </a:lnTo>
                <a:lnTo>
                  <a:pt x="414" y="1004"/>
                </a:lnTo>
                <a:lnTo>
                  <a:pt x="412" y="1014"/>
                </a:lnTo>
                <a:lnTo>
                  <a:pt x="408" y="1022"/>
                </a:lnTo>
                <a:lnTo>
                  <a:pt x="404" y="1032"/>
                </a:lnTo>
                <a:lnTo>
                  <a:pt x="398" y="1038"/>
                </a:lnTo>
                <a:lnTo>
                  <a:pt x="392" y="1046"/>
                </a:lnTo>
                <a:lnTo>
                  <a:pt x="384" y="1050"/>
                </a:lnTo>
                <a:lnTo>
                  <a:pt x="374" y="1056"/>
                </a:lnTo>
                <a:lnTo>
                  <a:pt x="364" y="1058"/>
                </a:lnTo>
                <a:lnTo>
                  <a:pt x="354" y="1058"/>
                </a:lnTo>
                <a:lnTo>
                  <a:pt x="346" y="1058"/>
                </a:lnTo>
                <a:lnTo>
                  <a:pt x="330" y="1052"/>
                </a:lnTo>
                <a:lnTo>
                  <a:pt x="316" y="1042"/>
                </a:lnTo>
                <a:lnTo>
                  <a:pt x="302" y="1034"/>
                </a:lnTo>
                <a:lnTo>
                  <a:pt x="286" y="1028"/>
                </a:lnTo>
                <a:lnTo>
                  <a:pt x="278" y="1028"/>
                </a:lnTo>
                <a:lnTo>
                  <a:pt x="268" y="1028"/>
                </a:lnTo>
                <a:lnTo>
                  <a:pt x="258" y="1032"/>
                </a:lnTo>
                <a:lnTo>
                  <a:pt x="248" y="1036"/>
                </a:lnTo>
                <a:lnTo>
                  <a:pt x="242" y="1042"/>
                </a:lnTo>
                <a:lnTo>
                  <a:pt x="238" y="1048"/>
                </a:lnTo>
                <a:lnTo>
                  <a:pt x="236" y="1058"/>
                </a:lnTo>
                <a:lnTo>
                  <a:pt x="234" y="1068"/>
                </a:lnTo>
                <a:lnTo>
                  <a:pt x="236" y="1086"/>
                </a:lnTo>
                <a:lnTo>
                  <a:pt x="240" y="1102"/>
                </a:lnTo>
                <a:lnTo>
                  <a:pt x="398" y="1378"/>
                </a:lnTo>
                <a:lnTo>
                  <a:pt x="402" y="1378"/>
                </a:lnTo>
                <a:lnTo>
                  <a:pt x="402" y="1380"/>
                </a:lnTo>
                <a:lnTo>
                  <a:pt x="400" y="1382"/>
                </a:lnTo>
                <a:lnTo>
                  <a:pt x="402" y="1386"/>
                </a:lnTo>
                <a:lnTo>
                  <a:pt x="664" y="1386"/>
                </a:lnTo>
                <a:lnTo>
                  <a:pt x="686" y="1380"/>
                </a:lnTo>
                <a:lnTo>
                  <a:pt x="708" y="1368"/>
                </a:lnTo>
                <a:lnTo>
                  <a:pt x="718" y="1362"/>
                </a:lnTo>
                <a:lnTo>
                  <a:pt x="726" y="1356"/>
                </a:lnTo>
                <a:lnTo>
                  <a:pt x="732" y="1346"/>
                </a:lnTo>
                <a:lnTo>
                  <a:pt x="734" y="1338"/>
                </a:lnTo>
                <a:lnTo>
                  <a:pt x="734" y="1326"/>
                </a:lnTo>
                <a:lnTo>
                  <a:pt x="730" y="1316"/>
                </a:lnTo>
                <a:lnTo>
                  <a:pt x="728" y="1308"/>
                </a:lnTo>
                <a:lnTo>
                  <a:pt x="722" y="1302"/>
                </a:lnTo>
                <a:lnTo>
                  <a:pt x="710" y="1290"/>
                </a:lnTo>
                <a:lnTo>
                  <a:pt x="694" y="1282"/>
                </a:lnTo>
                <a:lnTo>
                  <a:pt x="680" y="1274"/>
                </a:lnTo>
                <a:lnTo>
                  <a:pt x="668" y="1264"/>
                </a:lnTo>
                <a:lnTo>
                  <a:pt x="662" y="1256"/>
                </a:lnTo>
                <a:lnTo>
                  <a:pt x="658" y="1248"/>
                </a:lnTo>
                <a:lnTo>
                  <a:pt x="656" y="1240"/>
                </a:lnTo>
                <a:lnTo>
                  <a:pt x="654" y="1228"/>
                </a:lnTo>
                <a:lnTo>
                  <a:pt x="656" y="1216"/>
                </a:lnTo>
                <a:lnTo>
                  <a:pt x="658" y="1206"/>
                </a:lnTo>
                <a:lnTo>
                  <a:pt x="664" y="1198"/>
                </a:lnTo>
                <a:lnTo>
                  <a:pt x="670" y="1188"/>
                </a:lnTo>
                <a:lnTo>
                  <a:pt x="678" y="1180"/>
                </a:lnTo>
                <a:lnTo>
                  <a:pt x="688" y="1174"/>
                </a:lnTo>
                <a:lnTo>
                  <a:pt x="708" y="1162"/>
                </a:lnTo>
                <a:lnTo>
                  <a:pt x="732" y="1154"/>
                </a:lnTo>
                <a:lnTo>
                  <a:pt x="756" y="1148"/>
                </a:lnTo>
                <a:lnTo>
                  <a:pt x="780" y="1144"/>
                </a:lnTo>
                <a:lnTo>
                  <a:pt x="798" y="1144"/>
                </a:lnTo>
                <a:lnTo>
                  <a:pt x="818" y="1144"/>
                </a:lnTo>
                <a:lnTo>
                  <a:pt x="840" y="1148"/>
                </a:lnTo>
                <a:lnTo>
                  <a:pt x="864" y="1154"/>
                </a:lnTo>
                <a:lnTo>
                  <a:pt x="888" y="1162"/>
                </a:lnTo>
                <a:lnTo>
                  <a:pt x="910" y="1174"/>
                </a:lnTo>
                <a:lnTo>
                  <a:pt x="918" y="1180"/>
                </a:lnTo>
                <a:lnTo>
                  <a:pt x="926" y="1188"/>
                </a:lnTo>
                <a:lnTo>
                  <a:pt x="934" y="1198"/>
                </a:lnTo>
                <a:lnTo>
                  <a:pt x="938" y="1206"/>
                </a:lnTo>
                <a:lnTo>
                  <a:pt x="942" y="1216"/>
                </a:lnTo>
                <a:lnTo>
                  <a:pt x="942" y="1228"/>
                </a:lnTo>
                <a:lnTo>
                  <a:pt x="942" y="1240"/>
                </a:lnTo>
                <a:lnTo>
                  <a:pt x="938" y="1248"/>
                </a:lnTo>
                <a:lnTo>
                  <a:pt x="934" y="1256"/>
                </a:lnTo>
                <a:lnTo>
                  <a:pt x="930" y="1264"/>
                </a:lnTo>
                <a:lnTo>
                  <a:pt x="916" y="1274"/>
                </a:lnTo>
                <a:lnTo>
                  <a:pt x="902" y="1282"/>
                </a:lnTo>
                <a:lnTo>
                  <a:pt x="888" y="1290"/>
                </a:lnTo>
                <a:lnTo>
                  <a:pt x="874" y="1302"/>
                </a:lnTo>
                <a:lnTo>
                  <a:pt x="870" y="1308"/>
                </a:lnTo>
                <a:lnTo>
                  <a:pt x="866" y="1316"/>
                </a:lnTo>
                <a:lnTo>
                  <a:pt x="864" y="1326"/>
                </a:lnTo>
                <a:lnTo>
                  <a:pt x="862" y="1338"/>
                </a:lnTo>
                <a:lnTo>
                  <a:pt x="864" y="1346"/>
                </a:lnTo>
                <a:lnTo>
                  <a:pt x="870" y="1356"/>
                </a:lnTo>
                <a:lnTo>
                  <a:pt x="878" y="1362"/>
                </a:lnTo>
                <a:lnTo>
                  <a:pt x="888" y="1368"/>
                </a:lnTo>
                <a:lnTo>
                  <a:pt x="912" y="1380"/>
                </a:lnTo>
                <a:lnTo>
                  <a:pt x="934" y="1386"/>
                </a:lnTo>
                <a:lnTo>
                  <a:pt x="1194" y="1386"/>
                </a:lnTo>
                <a:lnTo>
                  <a:pt x="1198" y="1380"/>
                </a:lnTo>
                <a:lnTo>
                  <a:pt x="1198" y="1378"/>
                </a:lnTo>
                <a:lnTo>
                  <a:pt x="1202" y="1378"/>
                </a:lnTo>
                <a:lnTo>
                  <a:pt x="1204" y="1372"/>
                </a:lnTo>
                <a:lnTo>
                  <a:pt x="1240" y="1310"/>
                </a:lnTo>
                <a:lnTo>
                  <a:pt x="1340" y="1138"/>
                </a:lnTo>
                <a:lnTo>
                  <a:pt x="1356" y="1124"/>
                </a:lnTo>
                <a:lnTo>
                  <a:pt x="1376" y="1112"/>
                </a:lnTo>
                <a:lnTo>
                  <a:pt x="1384" y="1108"/>
                </a:lnTo>
                <a:lnTo>
                  <a:pt x="1394" y="1104"/>
                </a:lnTo>
                <a:lnTo>
                  <a:pt x="1402" y="1104"/>
                </a:lnTo>
                <a:lnTo>
                  <a:pt x="1410" y="1108"/>
                </a:lnTo>
                <a:lnTo>
                  <a:pt x="1420" y="1114"/>
                </a:lnTo>
                <a:lnTo>
                  <a:pt x="1426" y="1122"/>
                </a:lnTo>
                <a:lnTo>
                  <a:pt x="1432" y="1128"/>
                </a:lnTo>
                <a:lnTo>
                  <a:pt x="1436" y="1136"/>
                </a:lnTo>
                <a:lnTo>
                  <a:pt x="1438" y="1152"/>
                </a:lnTo>
                <a:lnTo>
                  <a:pt x="1438" y="1170"/>
                </a:lnTo>
                <a:lnTo>
                  <a:pt x="1438" y="1186"/>
                </a:lnTo>
                <a:lnTo>
                  <a:pt x="1440" y="1202"/>
                </a:lnTo>
                <a:lnTo>
                  <a:pt x="1444" y="1210"/>
                </a:lnTo>
                <a:lnTo>
                  <a:pt x="1448" y="1218"/>
                </a:lnTo>
                <a:lnTo>
                  <a:pt x="1456" y="1226"/>
                </a:lnTo>
                <a:lnTo>
                  <a:pt x="1466" y="1232"/>
                </a:lnTo>
                <a:lnTo>
                  <a:pt x="1476" y="1236"/>
                </a:lnTo>
                <a:lnTo>
                  <a:pt x="1486" y="1240"/>
                </a:lnTo>
                <a:lnTo>
                  <a:pt x="1496" y="1240"/>
                </a:lnTo>
                <a:lnTo>
                  <a:pt x="1506" y="1238"/>
                </a:lnTo>
                <a:lnTo>
                  <a:pt x="1518" y="1234"/>
                </a:lnTo>
                <a:lnTo>
                  <a:pt x="1528" y="1230"/>
                </a:lnTo>
                <a:lnTo>
                  <a:pt x="1550" y="1218"/>
                </a:lnTo>
                <a:lnTo>
                  <a:pt x="1568" y="1202"/>
                </a:lnTo>
                <a:lnTo>
                  <a:pt x="1586" y="1184"/>
                </a:lnTo>
                <a:lnTo>
                  <a:pt x="1600" y="1166"/>
                </a:lnTo>
                <a:lnTo>
                  <a:pt x="1610" y="1150"/>
                </a:lnTo>
                <a:lnTo>
                  <a:pt x="1618" y="1132"/>
                </a:lnTo>
                <a:lnTo>
                  <a:pt x="1628" y="1112"/>
                </a:lnTo>
                <a:lnTo>
                  <a:pt x="1632" y="1094"/>
                </a:lnTo>
                <a:lnTo>
                  <a:pt x="1636" y="1076"/>
                </a:lnTo>
                <a:lnTo>
                  <a:pt x="1636" y="1060"/>
                </a:lnTo>
                <a:lnTo>
                  <a:pt x="1636" y="1042"/>
                </a:lnTo>
                <a:lnTo>
                  <a:pt x="1634" y="1026"/>
                </a:lnTo>
                <a:lnTo>
                  <a:pt x="1628" y="1012"/>
                </a:lnTo>
                <a:lnTo>
                  <a:pt x="1618" y="1000"/>
                </a:lnTo>
                <a:lnTo>
                  <a:pt x="1606" y="990"/>
                </a:lnTo>
                <a:lnTo>
                  <a:pt x="1596" y="986"/>
                </a:lnTo>
                <a:lnTo>
                  <a:pt x="1586" y="984"/>
                </a:lnTo>
                <a:lnTo>
                  <a:pt x="1578" y="982"/>
                </a:lnTo>
                <a:lnTo>
                  <a:pt x="1570" y="984"/>
                </a:lnTo>
                <a:lnTo>
                  <a:pt x="1554" y="990"/>
                </a:lnTo>
                <a:lnTo>
                  <a:pt x="1540" y="998"/>
                </a:lnTo>
                <a:lnTo>
                  <a:pt x="1524" y="1006"/>
                </a:lnTo>
                <a:lnTo>
                  <a:pt x="1510" y="1012"/>
                </a:lnTo>
                <a:lnTo>
                  <a:pt x="1500" y="1014"/>
                </a:lnTo>
                <a:lnTo>
                  <a:pt x="1492" y="1012"/>
                </a:lnTo>
                <a:lnTo>
                  <a:pt x="1482" y="1010"/>
                </a:lnTo>
                <a:lnTo>
                  <a:pt x="1472" y="1004"/>
                </a:lnTo>
                <a:lnTo>
                  <a:pt x="1464" y="1000"/>
                </a:lnTo>
                <a:lnTo>
                  <a:pt x="1460" y="992"/>
                </a:lnTo>
                <a:lnTo>
                  <a:pt x="1458" y="982"/>
                </a:lnTo>
                <a:lnTo>
                  <a:pt x="1458" y="972"/>
                </a:lnTo>
                <a:lnTo>
                  <a:pt x="1458" y="950"/>
                </a:lnTo>
                <a:lnTo>
                  <a:pt x="1462" y="928"/>
                </a:lnTo>
                <a:lnTo>
                  <a:pt x="1464" y="926"/>
                </a:lnTo>
                <a:lnTo>
                  <a:pt x="1466" y="920"/>
                </a:lnTo>
                <a:lnTo>
                  <a:pt x="1598" y="692"/>
                </a:lnTo>
                <a:lnTo>
                  <a:pt x="1582" y="668"/>
                </a:lnTo>
                <a:lnTo>
                  <a:pt x="1584" y="668"/>
                </a:lnTo>
                <a:lnTo>
                  <a:pt x="1198" y="0"/>
                </a:lnTo>
                <a:lnTo>
                  <a:pt x="398" y="0"/>
                </a:lnTo>
                <a:lnTo>
                  <a:pt x="322" y="132"/>
                </a:lnTo>
                <a:lnTo>
                  <a:pt x="0" y="690"/>
                </a:lnTo>
                <a:lnTo>
                  <a:pt x="116" y="888"/>
                </a:lnTo>
                <a:lnTo>
                  <a:pt x="132" y="902"/>
                </a:lnTo>
                <a:lnTo>
                  <a:pt x="150" y="914"/>
                </a:lnTo>
                <a:lnTo>
                  <a:pt x="160" y="918"/>
                </a:lnTo>
                <a:lnTo>
                  <a:pt x="168" y="920"/>
                </a:lnTo>
                <a:lnTo>
                  <a:pt x="176" y="920"/>
                </a:lnTo>
                <a:lnTo>
                  <a:pt x="184" y="918"/>
                </a:lnTo>
                <a:close/>
              </a:path>
            </a:pathLst>
          </a:custGeom>
          <a:solidFill>
            <a:srgbClr val="179A9D"/>
          </a:solidFill>
          <a:ln w="38100" cap="flat" cmpd="sng">
            <a:solidFill>
              <a:srgbClr val="179A9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4" name="Freeform 8">
            <a:extLst>
              <a:ext uri="{FF2B5EF4-FFF2-40B4-BE49-F238E27FC236}">
                <a16:creationId xmlns:a16="http://schemas.microsoft.com/office/drawing/2014/main" xmlns="" id="{E8136338-B88B-424F-91F1-8129A4951CE0}"/>
              </a:ext>
            </a:extLst>
          </p:cNvPr>
          <p:cNvSpPr>
            <a:spLocks/>
          </p:cNvSpPr>
          <p:nvPr/>
        </p:nvSpPr>
        <p:spPr bwMode="auto">
          <a:xfrm>
            <a:off x="5227607" y="1762157"/>
            <a:ext cx="2462458" cy="2107574"/>
          </a:xfrm>
          <a:custGeom>
            <a:avLst/>
            <a:gdLst>
              <a:gd name="T0" fmla="*/ 324422 w 1600"/>
              <a:gd name="T1" fmla="*/ 322016 h 1624"/>
              <a:gd name="T2" fmla="*/ 354140 w 1600"/>
              <a:gd name="T3" fmla="*/ 391373 h 1624"/>
              <a:gd name="T4" fmla="*/ 463106 w 1600"/>
              <a:gd name="T5" fmla="*/ 359172 h 1624"/>
              <a:gd name="T6" fmla="*/ 525018 w 1600"/>
              <a:gd name="T7" fmla="*/ 378988 h 1624"/>
              <a:gd name="T8" fmla="*/ 532448 w 1600"/>
              <a:gd name="T9" fmla="*/ 527611 h 1624"/>
              <a:gd name="T10" fmla="*/ 455676 w 1600"/>
              <a:gd name="T11" fmla="*/ 648986 h 1624"/>
              <a:gd name="T12" fmla="*/ 339281 w 1600"/>
              <a:gd name="T13" fmla="*/ 691096 h 1624"/>
              <a:gd name="T14" fmla="*/ 294704 w 1600"/>
              <a:gd name="T15" fmla="*/ 629170 h 1624"/>
              <a:gd name="T16" fmla="*/ 260033 w 1600"/>
              <a:gd name="T17" fmla="*/ 532565 h 1624"/>
              <a:gd name="T18" fmla="*/ 173355 w 1600"/>
              <a:gd name="T19" fmla="*/ 569721 h 1624"/>
              <a:gd name="T20" fmla="*/ 173355 w 1600"/>
              <a:gd name="T21" fmla="*/ 1156781 h 1624"/>
              <a:gd name="T22" fmla="*/ 264986 w 1600"/>
              <a:gd name="T23" fmla="*/ 1198891 h 1624"/>
              <a:gd name="T24" fmla="*/ 299657 w 1600"/>
              <a:gd name="T25" fmla="*/ 1122102 h 1624"/>
              <a:gd name="T26" fmla="*/ 331851 w 1600"/>
              <a:gd name="T27" fmla="*/ 1045314 h 1624"/>
              <a:gd name="T28" fmla="*/ 435864 w 1600"/>
              <a:gd name="T29" fmla="*/ 1062653 h 1624"/>
              <a:gd name="T30" fmla="*/ 534924 w 1600"/>
              <a:gd name="T31" fmla="*/ 1193937 h 1624"/>
              <a:gd name="T32" fmla="*/ 532448 w 1600"/>
              <a:gd name="T33" fmla="*/ 1335128 h 1624"/>
              <a:gd name="T34" fmla="*/ 465582 w 1600"/>
              <a:gd name="T35" fmla="*/ 1362376 h 1624"/>
              <a:gd name="T36" fmla="*/ 356616 w 1600"/>
              <a:gd name="T37" fmla="*/ 1330174 h 1624"/>
              <a:gd name="T38" fmla="*/ 329375 w 1600"/>
              <a:gd name="T39" fmla="*/ 1406963 h 1624"/>
              <a:gd name="T40" fmla="*/ 827151 w 1600"/>
              <a:gd name="T41" fmla="*/ 1716593 h 1624"/>
              <a:gd name="T42" fmla="*/ 849440 w 1600"/>
              <a:gd name="T43" fmla="*/ 1724025 h 1624"/>
              <a:gd name="T44" fmla="*/ 861822 w 1600"/>
              <a:gd name="T45" fmla="*/ 1731456 h 1624"/>
              <a:gd name="T46" fmla="*/ 871728 w 1600"/>
              <a:gd name="T47" fmla="*/ 1736410 h 1624"/>
              <a:gd name="T48" fmla="*/ 884111 w 1600"/>
              <a:gd name="T49" fmla="*/ 1746318 h 1624"/>
              <a:gd name="T50" fmla="*/ 891540 w 1600"/>
              <a:gd name="T51" fmla="*/ 1751272 h 1624"/>
              <a:gd name="T52" fmla="*/ 896493 w 1600"/>
              <a:gd name="T53" fmla="*/ 1761180 h 1624"/>
              <a:gd name="T54" fmla="*/ 898970 w 1600"/>
              <a:gd name="T55" fmla="*/ 1771088 h 1624"/>
              <a:gd name="T56" fmla="*/ 898970 w 1600"/>
              <a:gd name="T57" fmla="*/ 1778520 h 1624"/>
              <a:gd name="T58" fmla="*/ 896493 w 1600"/>
              <a:gd name="T59" fmla="*/ 1793382 h 1624"/>
              <a:gd name="T60" fmla="*/ 871728 w 1600"/>
              <a:gd name="T61" fmla="*/ 1828061 h 1624"/>
              <a:gd name="T62" fmla="*/ 832104 w 1600"/>
              <a:gd name="T63" fmla="*/ 1850354 h 1624"/>
              <a:gd name="T64" fmla="*/ 817245 w 1600"/>
              <a:gd name="T65" fmla="*/ 1862739 h 1624"/>
              <a:gd name="T66" fmla="*/ 807339 w 1600"/>
              <a:gd name="T67" fmla="*/ 1875124 h 1624"/>
              <a:gd name="T68" fmla="*/ 802386 w 1600"/>
              <a:gd name="T69" fmla="*/ 1894941 h 1624"/>
              <a:gd name="T70" fmla="*/ 804863 w 1600"/>
              <a:gd name="T71" fmla="*/ 1934574 h 1624"/>
              <a:gd name="T72" fmla="*/ 926211 w 1600"/>
              <a:gd name="T73" fmla="*/ 2006408 h 1624"/>
              <a:gd name="T74" fmla="*/ 1089660 w 1600"/>
              <a:gd name="T75" fmla="*/ 1989069 h 1624"/>
              <a:gd name="T76" fmla="*/ 1156526 w 1600"/>
              <a:gd name="T77" fmla="*/ 1907326 h 1624"/>
              <a:gd name="T78" fmla="*/ 1154049 w 1600"/>
              <a:gd name="T79" fmla="*/ 1885033 h 1624"/>
              <a:gd name="T80" fmla="*/ 1144143 w 1600"/>
              <a:gd name="T81" fmla="*/ 1867693 h 1624"/>
              <a:gd name="T82" fmla="*/ 1136714 w 1600"/>
              <a:gd name="T83" fmla="*/ 1860262 h 1624"/>
              <a:gd name="T84" fmla="*/ 1121855 w 1600"/>
              <a:gd name="T85" fmla="*/ 1850354 h 1624"/>
              <a:gd name="T86" fmla="*/ 1067372 w 1600"/>
              <a:gd name="T87" fmla="*/ 1808244 h 1624"/>
              <a:gd name="T88" fmla="*/ 1059942 w 1600"/>
              <a:gd name="T89" fmla="*/ 1793382 h 1624"/>
              <a:gd name="T90" fmla="*/ 1057466 w 1600"/>
              <a:gd name="T91" fmla="*/ 1780997 h 1624"/>
              <a:gd name="T92" fmla="*/ 1057466 w 1600"/>
              <a:gd name="T93" fmla="*/ 1771088 h 1624"/>
              <a:gd name="T94" fmla="*/ 1059942 w 1600"/>
              <a:gd name="T95" fmla="*/ 1761180 h 1624"/>
              <a:gd name="T96" fmla="*/ 1064895 w 1600"/>
              <a:gd name="T97" fmla="*/ 1753749 h 1624"/>
              <a:gd name="T98" fmla="*/ 1072325 w 1600"/>
              <a:gd name="T99" fmla="*/ 1746318 h 1624"/>
              <a:gd name="T100" fmla="*/ 1082231 w 1600"/>
              <a:gd name="T101" fmla="*/ 1736410 h 1624"/>
              <a:gd name="T102" fmla="*/ 1094613 w 1600"/>
              <a:gd name="T103" fmla="*/ 1731456 h 1624"/>
              <a:gd name="T104" fmla="*/ 1104519 w 1600"/>
              <a:gd name="T105" fmla="*/ 1726502 h 1624"/>
              <a:gd name="T106" fmla="*/ 1129284 w 1600"/>
              <a:gd name="T107" fmla="*/ 1716593 h 1624"/>
              <a:gd name="T108" fmla="*/ 1485900 w 1600"/>
              <a:gd name="T109" fmla="*/ 0 h 162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00" h="1624">
                <a:moveTo>
                  <a:pt x="1200" y="0"/>
                </a:moveTo>
                <a:lnTo>
                  <a:pt x="402" y="0"/>
                </a:lnTo>
                <a:lnTo>
                  <a:pt x="400" y="6"/>
                </a:lnTo>
                <a:lnTo>
                  <a:pt x="400" y="8"/>
                </a:lnTo>
                <a:lnTo>
                  <a:pt x="266" y="240"/>
                </a:lnTo>
                <a:lnTo>
                  <a:pt x="262" y="260"/>
                </a:lnTo>
                <a:lnTo>
                  <a:pt x="262" y="282"/>
                </a:lnTo>
                <a:lnTo>
                  <a:pt x="264" y="290"/>
                </a:lnTo>
                <a:lnTo>
                  <a:pt x="266" y="298"/>
                </a:lnTo>
                <a:lnTo>
                  <a:pt x="270" y="306"/>
                </a:lnTo>
                <a:lnTo>
                  <a:pt x="276" y="310"/>
                </a:lnTo>
                <a:lnTo>
                  <a:pt x="286" y="316"/>
                </a:lnTo>
                <a:lnTo>
                  <a:pt x="296" y="318"/>
                </a:lnTo>
                <a:lnTo>
                  <a:pt x="306" y="320"/>
                </a:lnTo>
                <a:lnTo>
                  <a:pt x="314" y="318"/>
                </a:lnTo>
                <a:lnTo>
                  <a:pt x="330" y="312"/>
                </a:lnTo>
                <a:lnTo>
                  <a:pt x="344" y="304"/>
                </a:lnTo>
                <a:lnTo>
                  <a:pt x="358" y="296"/>
                </a:lnTo>
                <a:lnTo>
                  <a:pt x="374" y="290"/>
                </a:lnTo>
                <a:lnTo>
                  <a:pt x="382" y="288"/>
                </a:lnTo>
                <a:lnTo>
                  <a:pt x="392" y="290"/>
                </a:lnTo>
                <a:lnTo>
                  <a:pt x="400" y="292"/>
                </a:lnTo>
                <a:lnTo>
                  <a:pt x="412" y="296"/>
                </a:lnTo>
                <a:lnTo>
                  <a:pt x="418" y="302"/>
                </a:lnTo>
                <a:lnTo>
                  <a:pt x="424" y="306"/>
                </a:lnTo>
                <a:lnTo>
                  <a:pt x="434" y="320"/>
                </a:lnTo>
                <a:lnTo>
                  <a:pt x="438" y="336"/>
                </a:lnTo>
                <a:lnTo>
                  <a:pt x="442" y="352"/>
                </a:lnTo>
                <a:lnTo>
                  <a:pt x="442" y="370"/>
                </a:lnTo>
                <a:lnTo>
                  <a:pt x="438" y="390"/>
                </a:lnTo>
                <a:lnTo>
                  <a:pt x="434" y="408"/>
                </a:lnTo>
                <a:lnTo>
                  <a:pt x="430" y="426"/>
                </a:lnTo>
                <a:lnTo>
                  <a:pt x="420" y="450"/>
                </a:lnTo>
                <a:lnTo>
                  <a:pt x="410" y="472"/>
                </a:lnTo>
                <a:lnTo>
                  <a:pt x="398" y="488"/>
                </a:lnTo>
                <a:lnTo>
                  <a:pt x="384" y="506"/>
                </a:lnTo>
                <a:lnTo>
                  <a:pt x="368" y="524"/>
                </a:lnTo>
                <a:lnTo>
                  <a:pt x="348" y="540"/>
                </a:lnTo>
                <a:lnTo>
                  <a:pt x="328" y="552"/>
                </a:lnTo>
                <a:lnTo>
                  <a:pt x="318" y="556"/>
                </a:lnTo>
                <a:lnTo>
                  <a:pt x="306" y="560"/>
                </a:lnTo>
                <a:lnTo>
                  <a:pt x="296" y="562"/>
                </a:lnTo>
                <a:lnTo>
                  <a:pt x="284" y="562"/>
                </a:lnTo>
                <a:lnTo>
                  <a:pt x="274" y="558"/>
                </a:lnTo>
                <a:lnTo>
                  <a:pt x="264" y="554"/>
                </a:lnTo>
                <a:lnTo>
                  <a:pt x="256" y="548"/>
                </a:lnTo>
                <a:lnTo>
                  <a:pt x="248" y="540"/>
                </a:lnTo>
                <a:lnTo>
                  <a:pt x="244" y="532"/>
                </a:lnTo>
                <a:lnTo>
                  <a:pt x="240" y="524"/>
                </a:lnTo>
                <a:lnTo>
                  <a:pt x="238" y="508"/>
                </a:lnTo>
                <a:lnTo>
                  <a:pt x="238" y="492"/>
                </a:lnTo>
                <a:lnTo>
                  <a:pt x="238" y="474"/>
                </a:lnTo>
                <a:lnTo>
                  <a:pt x="234" y="458"/>
                </a:lnTo>
                <a:lnTo>
                  <a:pt x="232" y="450"/>
                </a:lnTo>
                <a:lnTo>
                  <a:pt x="226" y="444"/>
                </a:lnTo>
                <a:lnTo>
                  <a:pt x="218" y="436"/>
                </a:lnTo>
                <a:lnTo>
                  <a:pt x="210" y="430"/>
                </a:lnTo>
                <a:lnTo>
                  <a:pt x="202" y="426"/>
                </a:lnTo>
                <a:lnTo>
                  <a:pt x="192" y="426"/>
                </a:lnTo>
                <a:lnTo>
                  <a:pt x="184" y="430"/>
                </a:lnTo>
                <a:lnTo>
                  <a:pt x="174" y="434"/>
                </a:lnTo>
                <a:lnTo>
                  <a:pt x="156" y="446"/>
                </a:lnTo>
                <a:lnTo>
                  <a:pt x="140" y="460"/>
                </a:lnTo>
                <a:lnTo>
                  <a:pt x="40" y="632"/>
                </a:lnTo>
                <a:lnTo>
                  <a:pt x="4" y="694"/>
                </a:lnTo>
                <a:lnTo>
                  <a:pt x="0" y="694"/>
                </a:lnTo>
                <a:lnTo>
                  <a:pt x="2" y="696"/>
                </a:lnTo>
                <a:lnTo>
                  <a:pt x="4" y="696"/>
                </a:lnTo>
                <a:lnTo>
                  <a:pt x="140" y="934"/>
                </a:lnTo>
                <a:lnTo>
                  <a:pt x="158" y="948"/>
                </a:lnTo>
                <a:lnTo>
                  <a:pt x="176" y="962"/>
                </a:lnTo>
                <a:lnTo>
                  <a:pt x="186" y="968"/>
                </a:lnTo>
                <a:lnTo>
                  <a:pt x="196" y="970"/>
                </a:lnTo>
                <a:lnTo>
                  <a:pt x="206" y="970"/>
                </a:lnTo>
                <a:lnTo>
                  <a:pt x="214" y="968"/>
                </a:lnTo>
                <a:lnTo>
                  <a:pt x="224" y="960"/>
                </a:lnTo>
                <a:lnTo>
                  <a:pt x="230" y="954"/>
                </a:lnTo>
                <a:lnTo>
                  <a:pt x="236" y="946"/>
                </a:lnTo>
                <a:lnTo>
                  <a:pt x="240" y="938"/>
                </a:lnTo>
                <a:lnTo>
                  <a:pt x="242" y="922"/>
                </a:lnTo>
                <a:lnTo>
                  <a:pt x="242" y="906"/>
                </a:lnTo>
                <a:lnTo>
                  <a:pt x="242" y="888"/>
                </a:lnTo>
                <a:lnTo>
                  <a:pt x="244" y="872"/>
                </a:lnTo>
                <a:lnTo>
                  <a:pt x="248" y="864"/>
                </a:lnTo>
                <a:lnTo>
                  <a:pt x="252" y="858"/>
                </a:lnTo>
                <a:lnTo>
                  <a:pt x="260" y="850"/>
                </a:lnTo>
                <a:lnTo>
                  <a:pt x="268" y="844"/>
                </a:lnTo>
                <a:lnTo>
                  <a:pt x="278" y="838"/>
                </a:lnTo>
                <a:lnTo>
                  <a:pt x="290" y="836"/>
                </a:lnTo>
                <a:lnTo>
                  <a:pt x="300" y="836"/>
                </a:lnTo>
                <a:lnTo>
                  <a:pt x="310" y="836"/>
                </a:lnTo>
                <a:lnTo>
                  <a:pt x="322" y="840"/>
                </a:lnTo>
                <a:lnTo>
                  <a:pt x="332" y="844"/>
                </a:lnTo>
                <a:lnTo>
                  <a:pt x="352" y="858"/>
                </a:lnTo>
                <a:lnTo>
                  <a:pt x="372" y="874"/>
                </a:lnTo>
                <a:lnTo>
                  <a:pt x="390" y="892"/>
                </a:lnTo>
                <a:lnTo>
                  <a:pt x="404" y="910"/>
                </a:lnTo>
                <a:lnTo>
                  <a:pt x="414" y="926"/>
                </a:lnTo>
                <a:lnTo>
                  <a:pt x="422" y="944"/>
                </a:lnTo>
                <a:lnTo>
                  <a:pt x="432" y="964"/>
                </a:lnTo>
                <a:lnTo>
                  <a:pt x="438" y="988"/>
                </a:lnTo>
                <a:lnTo>
                  <a:pt x="442" y="1012"/>
                </a:lnTo>
                <a:lnTo>
                  <a:pt x="444" y="1038"/>
                </a:lnTo>
                <a:lnTo>
                  <a:pt x="442" y="1048"/>
                </a:lnTo>
                <a:lnTo>
                  <a:pt x="440" y="1060"/>
                </a:lnTo>
                <a:lnTo>
                  <a:pt x="436" y="1070"/>
                </a:lnTo>
                <a:lnTo>
                  <a:pt x="430" y="1078"/>
                </a:lnTo>
                <a:lnTo>
                  <a:pt x="422" y="1086"/>
                </a:lnTo>
                <a:lnTo>
                  <a:pt x="412" y="1092"/>
                </a:lnTo>
                <a:lnTo>
                  <a:pt x="402" y="1098"/>
                </a:lnTo>
                <a:lnTo>
                  <a:pt x="392" y="1100"/>
                </a:lnTo>
                <a:lnTo>
                  <a:pt x="384" y="1100"/>
                </a:lnTo>
                <a:lnTo>
                  <a:pt x="376" y="1100"/>
                </a:lnTo>
                <a:lnTo>
                  <a:pt x="360" y="1094"/>
                </a:lnTo>
                <a:lnTo>
                  <a:pt x="346" y="1084"/>
                </a:lnTo>
                <a:lnTo>
                  <a:pt x="330" y="1076"/>
                </a:lnTo>
                <a:lnTo>
                  <a:pt x="316" y="1070"/>
                </a:lnTo>
                <a:lnTo>
                  <a:pt x="306" y="1070"/>
                </a:lnTo>
                <a:lnTo>
                  <a:pt x="298" y="1070"/>
                </a:lnTo>
                <a:lnTo>
                  <a:pt x="288" y="1074"/>
                </a:lnTo>
                <a:lnTo>
                  <a:pt x="278" y="1078"/>
                </a:lnTo>
                <a:lnTo>
                  <a:pt x="272" y="1084"/>
                </a:lnTo>
                <a:lnTo>
                  <a:pt x="266" y="1092"/>
                </a:lnTo>
                <a:lnTo>
                  <a:pt x="264" y="1102"/>
                </a:lnTo>
                <a:lnTo>
                  <a:pt x="264" y="1114"/>
                </a:lnTo>
                <a:lnTo>
                  <a:pt x="266" y="1136"/>
                </a:lnTo>
                <a:lnTo>
                  <a:pt x="270" y="1158"/>
                </a:lnTo>
                <a:lnTo>
                  <a:pt x="402" y="1386"/>
                </a:lnTo>
                <a:lnTo>
                  <a:pt x="668" y="1386"/>
                </a:lnTo>
                <a:lnTo>
                  <a:pt x="674" y="1388"/>
                </a:lnTo>
                <a:lnTo>
                  <a:pt x="686" y="1392"/>
                </a:lnTo>
                <a:lnTo>
                  <a:pt x="688" y="1394"/>
                </a:lnTo>
                <a:lnTo>
                  <a:pt x="692" y="1394"/>
                </a:lnTo>
                <a:lnTo>
                  <a:pt x="694" y="1396"/>
                </a:lnTo>
                <a:lnTo>
                  <a:pt x="696" y="1398"/>
                </a:lnTo>
                <a:lnTo>
                  <a:pt x="700" y="1398"/>
                </a:lnTo>
                <a:lnTo>
                  <a:pt x="702" y="1400"/>
                </a:lnTo>
                <a:lnTo>
                  <a:pt x="704" y="1402"/>
                </a:lnTo>
                <a:lnTo>
                  <a:pt x="706" y="1402"/>
                </a:lnTo>
                <a:lnTo>
                  <a:pt x="710" y="1406"/>
                </a:lnTo>
                <a:lnTo>
                  <a:pt x="714" y="1410"/>
                </a:lnTo>
                <a:lnTo>
                  <a:pt x="716" y="1410"/>
                </a:lnTo>
                <a:lnTo>
                  <a:pt x="718" y="1412"/>
                </a:lnTo>
                <a:lnTo>
                  <a:pt x="720" y="1414"/>
                </a:lnTo>
                <a:lnTo>
                  <a:pt x="722" y="1416"/>
                </a:lnTo>
                <a:lnTo>
                  <a:pt x="722" y="1418"/>
                </a:lnTo>
                <a:lnTo>
                  <a:pt x="724" y="1420"/>
                </a:lnTo>
                <a:lnTo>
                  <a:pt x="724" y="1422"/>
                </a:lnTo>
                <a:lnTo>
                  <a:pt x="726" y="1424"/>
                </a:lnTo>
                <a:lnTo>
                  <a:pt x="726" y="1426"/>
                </a:lnTo>
                <a:lnTo>
                  <a:pt x="726" y="1430"/>
                </a:lnTo>
                <a:lnTo>
                  <a:pt x="726" y="1436"/>
                </a:lnTo>
                <a:lnTo>
                  <a:pt x="726" y="1438"/>
                </a:lnTo>
                <a:lnTo>
                  <a:pt x="726" y="1442"/>
                </a:lnTo>
                <a:lnTo>
                  <a:pt x="724" y="1444"/>
                </a:lnTo>
                <a:lnTo>
                  <a:pt x="724" y="1448"/>
                </a:lnTo>
                <a:lnTo>
                  <a:pt x="720" y="1458"/>
                </a:lnTo>
                <a:lnTo>
                  <a:pt x="716" y="1464"/>
                </a:lnTo>
                <a:lnTo>
                  <a:pt x="710" y="1470"/>
                </a:lnTo>
                <a:lnTo>
                  <a:pt x="704" y="1476"/>
                </a:lnTo>
                <a:lnTo>
                  <a:pt x="690" y="1484"/>
                </a:lnTo>
                <a:lnTo>
                  <a:pt x="676" y="1492"/>
                </a:lnTo>
                <a:lnTo>
                  <a:pt x="674" y="1494"/>
                </a:lnTo>
                <a:lnTo>
                  <a:pt x="672" y="1494"/>
                </a:lnTo>
                <a:lnTo>
                  <a:pt x="668" y="1498"/>
                </a:lnTo>
                <a:lnTo>
                  <a:pt x="666" y="1498"/>
                </a:lnTo>
                <a:lnTo>
                  <a:pt x="662" y="1502"/>
                </a:lnTo>
                <a:lnTo>
                  <a:pt x="660" y="1504"/>
                </a:lnTo>
                <a:lnTo>
                  <a:pt x="656" y="1508"/>
                </a:lnTo>
                <a:lnTo>
                  <a:pt x="652" y="1514"/>
                </a:lnTo>
                <a:lnTo>
                  <a:pt x="650" y="1522"/>
                </a:lnTo>
                <a:lnTo>
                  <a:pt x="648" y="1530"/>
                </a:lnTo>
                <a:lnTo>
                  <a:pt x="648" y="1532"/>
                </a:lnTo>
                <a:lnTo>
                  <a:pt x="646" y="1540"/>
                </a:lnTo>
                <a:lnTo>
                  <a:pt x="648" y="1552"/>
                </a:lnTo>
                <a:lnTo>
                  <a:pt x="650" y="1562"/>
                </a:lnTo>
                <a:lnTo>
                  <a:pt x="656" y="1572"/>
                </a:lnTo>
                <a:lnTo>
                  <a:pt x="662" y="1580"/>
                </a:lnTo>
                <a:lnTo>
                  <a:pt x="670" y="1588"/>
                </a:lnTo>
                <a:lnTo>
                  <a:pt x="680" y="1594"/>
                </a:lnTo>
                <a:lnTo>
                  <a:pt x="700" y="1606"/>
                </a:lnTo>
                <a:lnTo>
                  <a:pt x="724" y="1614"/>
                </a:lnTo>
                <a:lnTo>
                  <a:pt x="748" y="1620"/>
                </a:lnTo>
                <a:lnTo>
                  <a:pt x="770" y="1624"/>
                </a:lnTo>
                <a:lnTo>
                  <a:pt x="790" y="1624"/>
                </a:lnTo>
                <a:lnTo>
                  <a:pt x="810" y="1624"/>
                </a:lnTo>
                <a:lnTo>
                  <a:pt x="832" y="1620"/>
                </a:lnTo>
                <a:lnTo>
                  <a:pt x="856" y="1614"/>
                </a:lnTo>
                <a:lnTo>
                  <a:pt x="880" y="1606"/>
                </a:lnTo>
                <a:lnTo>
                  <a:pt x="902" y="1594"/>
                </a:lnTo>
                <a:lnTo>
                  <a:pt x="910" y="1588"/>
                </a:lnTo>
                <a:lnTo>
                  <a:pt x="918" y="1580"/>
                </a:lnTo>
                <a:lnTo>
                  <a:pt x="926" y="1572"/>
                </a:lnTo>
                <a:lnTo>
                  <a:pt x="930" y="1562"/>
                </a:lnTo>
                <a:lnTo>
                  <a:pt x="934" y="1552"/>
                </a:lnTo>
                <a:lnTo>
                  <a:pt x="934" y="1540"/>
                </a:lnTo>
                <a:lnTo>
                  <a:pt x="934" y="1532"/>
                </a:lnTo>
                <a:lnTo>
                  <a:pt x="934" y="1530"/>
                </a:lnTo>
                <a:lnTo>
                  <a:pt x="932" y="1522"/>
                </a:lnTo>
                <a:lnTo>
                  <a:pt x="930" y="1522"/>
                </a:lnTo>
                <a:lnTo>
                  <a:pt x="928" y="1514"/>
                </a:lnTo>
                <a:lnTo>
                  <a:pt x="924" y="1508"/>
                </a:lnTo>
                <a:lnTo>
                  <a:pt x="920" y="1504"/>
                </a:lnTo>
                <a:lnTo>
                  <a:pt x="918" y="1502"/>
                </a:lnTo>
                <a:lnTo>
                  <a:pt x="914" y="1498"/>
                </a:lnTo>
                <a:lnTo>
                  <a:pt x="912" y="1498"/>
                </a:lnTo>
                <a:lnTo>
                  <a:pt x="908" y="1494"/>
                </a:lnTo>
                <a:lnTo>
                  <a:pt x="906" y="1494"/>
                </a:lnTo>
                <a:lnTo>
                  <a:pt x="904" y="1492"/>
                </a:lnTo>
                <a:lnTo>
                  <a:pt x="890" y="1484"/>
                </a:lnTo>
                <a:lnTo>
                  <a:pt x="878" y="1476"/>
                </a:lnTo>
                <a:lnTo>
                  <a:pt x="866" y="1466"/>
                </a:lnTo>
                <a:lnTo>
                  <a:pt x="862" y="1460"/>
                </a:lnTo>
                <a:lnTo>
                  <a:pt x="858" y="1454"/>
                </a:lnTo>
                <a:lnTo>
                  <a:pt x="856" y="1448"/>
                </a:lnTo>
                <a:lnTo>
                  <a:pt x="856" y="1444"/>
                </a:lnTo>
                <a:lnTo>
                  <a:pt x="856" y="1442"/>
                </a:lnTo>
                <a:lnTo>
                  <a:pt x="854" y="1438"/>
                </a:lnTo>
                <a:lnTo>
                  <a:pt x="854" y="1436"/>
                </a:lnTo>
                <a:lnTo>
                  <a:pt x="854" y="1430"/>
                </a:lnTo>
                <a:lnTo>
                  <a:pt x="854" y="1426"/>
                </a:lnTo>
                <a:lnTo>
                  <a:pt x="856" y="1424"/>
                </a:lnTo>
                <a:lnTo>
                  <a:pt x="856" y="1422"/>
                </a:lnTo>
                <a:lnTo>
                  <a:pt x="856" y="1420"/>
                </a:lnTo>
                <a:lnTo>
                  <a:pt x="858" y="1418"/>
                </a:lnTo>
                <a:lnTo>
                  <a:pt x="860" y="1416"/>
                </a:lnTo>
                <a:lnTo>
                  <a:pt x="862" y="1414"/>
                </a:lnTo>
                <a:lnTo>
                  <a:pt x="862" y="1412"/>
                </a:lnTo>
                <a:lnTo>
                  <a:pt x="864" y="1410"/>
                </a:lnTo>
                <a:lnTo>
                  <a:pt x="866" y="1410"/>
                </a:lnTo>
                <a:lnTo>
                  <a:pt x="870" y="1406"/>
                </a:lnTo>
                <a:lnTo>
                  <a:pt x="874" y="1402"/>
                </a:lnTo>
                <a:lnTo>
                  <a:pt x="876" y="1402"/>
                </a:lnTo>
                <a:lnTo>
                  <a:pt x="880" y="1400"/>
                </a:lnTo>
                <a:lnTo>
                  <a:pt x="882" y="1398"/>
                </a:lnTo>
                <a:lnTo>
                  <a:pt x="884" y="1398"/>
                </a:lnTo>
                <a:lnTo>
                  <a:pt x="886" y="1396"/>
                </a:lnTo>
                <a:lnTo>
                  <a:pt x="890" y="1394"/>
                </a:lnTo>
                <a:lnTo>
                  <a:pt x="892" y="1394"/>
                </a:lnTo>
                <a:lnTo>
                  <a:pt x="894" y="1392"/>
                </a:lnTo>
                <a:lnTo>
                  <a:pt x="906" y="1388"/>
                </a:lnTo>
                <a:lnTo>
                  <a:pt x="908" y="1388"/>
                </a:lnTo>
                <a:lnTo>
                  <a:pt x="912" y="1386"/>
                </a:lnTo>
                <a:lnTo>
                  <a:pt x="1200" y="1386"/>
                </a:lnTo>
                <a:lnTo>
                  <a:pt x="1200" y="1384"/>
                </a:lnTo>
                <a:lnTo>
                  <a:pt x="1600" y="694"/>
                </a:lnTo>
                <a:lnTo>
                  <a:pt x="1200" y="0"/>
                </a:lnTo>
                <a:close/>
              </a:path>
            </a:pathLst>
          </a:custGeom>
          <a:solidFill>
            <a:srgbClr val="D0E6A7"/>
          </a:solidFill>
          <a:ln w="38100" cap="flat" cmpd="sng">
            <a:solidFill>
              <a:srgbClr val="D0E6A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6" name="CaixaDeTexto 44">
            <a:extLst>
              <a:ext uri="{FF2B5EF4-FFF2-40B4-BE49-F238E27FC236}">
                <a16:creationId xmlns:a16="http://schemas.microsoft.com/office/drawing/2014/main" xmlns="" id="{407B3E76-38E8-4149-887E-E939927E5083}"/>
              </a:ext>
            </a:extLst>
          </p:cNvPr>
          <p:cNvSpPr txBox="1"/>
          <p:nvPr/>
        </p:nvSpPr>
        <p:spPr>
          <a:xfrm>
            <a:off x="3947784" y="914624"/>
            <a:ext cx="171099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b="1" dirty="0">
                <a:solidFill>
                  <a:srgbClr val="FFFFFF"/>
                </a:solidFill>
                <a:latin typeface="Candara"/>
              </a:rPr>
              <a:t>O caso de Pernambuco: 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resultados positivos em </a:t>
            </a:r>
            <a:r>
              <a:rPr lang="pt-BR" b="1" dirty="0">
                <a:solidFill>
                  <a:srgbClr val="FFFFFF"/>
                </a:solidFill>
                <a:latin typeface="Candara"/>
              </a:rPr>
              <a:t>aprendizagem e fluxo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.</a:t>
            </a:r>
          </a:p>
        </p:txBody>
      </p:sp>
      <p:sp>
        <p:nvSpPr>
          <p:cNvPr id="27" name="CaixaDeTexto 45">
            <a:extLst>
              <a:ext uri="{FF2B5EF4-FFF2-40B4-BE49-F238E27FC236}">
                <a16:creationId xmlns:a16="http://schemas.microsoft.com/office/drawing/2014/main" xmlns="" id="{5135CE5D-482D-4ADE-B036-8DED230EDE9D}"/>
              </a:ext>
            </a:extLst>
          </p:cNvPr>
          <p:cNvSpPr txBox="1"/>
          <p:nvPr/>
        </p:nvSpPr>
        <p:spPr>
          <a:xfrm>
            <a:off x="5830076" y="1766446"/>
            <a:ext cx="187566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O caso de Pernambuco: resultados positivos na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diminuição das desigualdades sociais.</a:t>
            </a:r>
          </a:p>
        </p:txBody>
      </p:sp>
      <p:sp>
        <p:nvSpPr>
          <p:cNvPr id="30" name="Oval 1">
            <a:extLst>
              <a:ext uri="{FF2B5EF4-FFF2-40B4-BE49-F238E27FC236}">
                <a16:creationId xmlns:a16="http://schemas.microsoft.com/office/drawing/2014/main" xmlns="" id="{8424BEDF-5742-4E51-B2A6-E53D86B1BBC4}"/>
              </a:ext>
            </a:extLst>
          </p:cNvPr>
          <p:cNvSpPr/>
          <p:nvPr/>
        </p:nvSpPr>
        <p:spPr>
          <a:xfrm>
            <a:off x="3455708" y="981621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2" name="Oval 22">
            <a:extLst>
              <a:ext uri="{FF2B5EF4-FFF2-40B4-BE49-F238E27FC236}">
                <a16:creationId xmlns:a16="http://schemas.microsoft.com/office/drawing/2014/main" xmlns="" id="{2345E612-4328-4605-95B3-58B9D04B490E}"/>
              </a:ext>
            </a:extLst>
          </p:cNvPr>
          <p:cNvSpPr/>
          <p:nvPr/>
        </p:nvSpPr>
        <p:spPr>
          <a:xfrm>
            <a:off x="7425494" y="2411634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3" name="Oval 23">
            <a:extLst>
              <a:ext uri="{FF2B5EF4-FFF2-40B4-BE49-F238E27FC236}">
                <a16:creationId xmlns:a16="http://schemas.microsoft.com/office/drawing/2014/main" xmlns="" id="{3E01D848-2FE5-47BE-864F-CB116501DD8F}"/>
              </a:ext>
            </a:extLst>
          </p:cNvPr>
          <p:cNvSpPr/>
          <p:nvPr/>
        </p:nvSpPr>
        <p:spPr>
          <a:xfrm>
            <a:off x="7425494" y="4313641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4" name="Oval 24">
            <a:extLst>
              <a:ext uri="{FF2B5EF4-FFF2-40B4-BE49-F238E27FC236}">
                <a16:creationId xmlns:a16="http://schemas.microsoft.com/office/drawing/2014/main" xmlns="" id="{A2946D69-8B08-45AC-B277-6D95FB7EF62D}"/>
              </a:ext>
            </a:extLst>
          </p:cNvPr>
          <p:cNvSpPr/>
          <p:nvPr/>
        </p:nvSpPr>
        <p:spPr>
          <a:xfrm>
            <a:off x="1261708" y="4313641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35" name="Oval 25">
            <a:extLst>
              <a:ext uri="{FF2B5EF4-FFF2-40B4-BE49-F238E27FC236}">
                <a16:creationId xmlns:a16="http://schemas.microsoft.com/office/drawing/2014/main" xmlns="" id="{8AEA5937-E383-408F-BB2B-93FF92C7C4B9}"/>
              </a:ext>
            </a:extLst>
          </p:cNvPr>
          <p:cNvSpPr/>
          <p:nvPr/>
        </p:nvSpPr>
        <p:spPr>
          <a:xfrm>
            <a:off x="1261708" y="2411634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36" name="Oval 26">
            <a:extLst>
              <a:ext uri="{FF2B5EF4-FFF2-40B4-BE49-F238E27FC236}">
                <a16:creationId xmlns:a16="http://schemas.microsoft.com/office/drawing/2014/main" xmlns="" id="{180B3E0D-CA1F-4082-B49A-38BDD95381DD}"/>
              </a:ext>
            </a:extLst>
          </p:cNvPr>
          <p:cNvSpPr/>
          <p:nvPr/>
        </p:nvSpPr>
        <p:spPr>
          <a:xfrm>
            <a:off x="3455708" y="5811726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7" name="Oval 27">
            <a:extLst>
              <a:ext uri="{FF2B5EF4-FFF2-40B4-BE49-F238E27FC236}">
                <a16:creationId xmlns:a16="http://schemas.microsoft.com/office/drawing/2014/main" xmlns="" id="{4CA210C0-8E22-4477-8F6A-1EB32416C738}"/>
              </a:ext>
            </a:extLst>
          </p:cNvPr>
          <p:cNvSpPr/>
          <p:nvPr/>
        </p:nvSpPr>
        <p:spPr>
          <a:xfrm>
            <a:off x="3455708" y="3344249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38" name="CaixaDeTexto 51">
            <a:extLst>
              <a:ext uri="{FF2B5EF4-FFF2-40B4-BE49-F238E27FC236}">
                <a16:creationId xmlns:a16="http://schemas.microsoft.com/office/drawing/2014/main" xmlns="" id="{D9421149-3B4D-420F-A090-ED51EDF1BC28}"/>
              </a:ext>
            </a:extLst>
          </p:cNvPr>
          <p:cNvSpPr txBox="1"/>
          <p:nvPr/>
        </p:nvSpPr>
        <p:spPr>
          <a:xfrm>
            <a:off x="5864789" y="3852326"/>
            <a:ext cx="163713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Política de fomento às escolas integrais e os seus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resultados</a:t>
            </a:r>
            <a:r>
              <a:rPr lang="pt-BR" dirty="0">
                <a:solidFill>
                  <a:srgbClr val="0D64AD"/>
                </a:solidFill>
                <a:latin typeface="Candara"/>
              </a:rPr>
              <a:t> iniciais.  </a:t>
            </a:r>
          </a:p>
        </p:txBody>
      </p:sp>
      <p:sp>
        <p:nvSpPr>
          <p:cNvPr id="39" name="CaixaDeTexto 51">
            <a:extLst>
              <a:ext uri="{FF2B5EF4-FFF2-40B4-BE49-F238E27FC236}">
                <a16:creationId xmlns:a16="http://schemas.microsoft.com/office/drawing/2014/main" xmlns="" id="{7A7BFAF4-2CCF-4DF3-AA54-C5E2751BAC7A}"/>
              </a:ext>
            </a:extLst>
          </p:cNvPr>
          <p:cNvSpPr txBox="1"/>
          <p:nvPr/>
        </p:nvSpPr>
        <p:spPr>
          <a:xfrm>
            <a:off x="1918833" y="3853577"/>
            <a:ext cx="17455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9" name="CaixaDeTexto 48">
            <a:extLst>
              <a:ext uri="{FF2B5EF4-FFF2-40B4-BE49-F238E27FC236}">
                <a16:creationId xmlns:a16="http://schemas.microsoft.com/office/drawing/2014/main" xmlns="" id="{43694E47-F56B-4F9E-927C-EF8A02D0EFC8}"/>
              </a:ext>
            </a:extLst>
          </p:cNvPr>
          <p:cNvSpPr txBox="1"/>
          <p:nvPr/>
        </p:nvSpPr>
        <p:spPr>
          <a:xfrm>
            <a:off x="1929789" y="1778155"/>
            <a:ext cx="181360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FFFFFF"/>
                </a:solidFill>
                <a:latin typeface="Candara"/>
              </a:rPr>
              <a:t>As escolas integrais podem contribuir na </a:t>
            </a:r>
            <a:r>
              <a:rPr lang="pt-BR" b="1" dirty="0">
                <a:solidFill>
                  <a:srgbClr val="FFFFFF"/>
                </a:solidFill>
                <a:latin typeface="Candara"/>
              </a:rPr>
              <a:t>ressignificação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 do ensino médio para os jovens 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0F935FD8-6BC8-44E7-B872-1B829BF24B57}"/>
              </a:ext>
            </a:extLst>
          </p:cNvPr>
          <p:cNvSpPr/>
          <p:nvPr/>
        </p:nvSpPr>
        <p:spPr>
          <a:xfrm>
            <a:off x="1868244" y="3942717"/>
            <a:ext cx="17109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FFFFFF"/>
                </a:solidFill>
                <a:latin typeface="+mj-lt"/>
              </a:rPr>
              <a:t>Os estudantes demonstram </a:t>
            </a:r>
            <a:r>
              <a:rPr lang="pt-BR" b="1" dirty="0">
                <a:solidFill>
                  <a:srgbClr val="FFFFFF"/>
                </a:solidFill>
                <a:latin typeface="+mj-lt"/>
              </a:rPr>
              <a:t>satisfação com as escolas integrais</a:t>
            </a:r>
          </a:p>
        </p:txBody>
      </p:sp>
      <p:sp>
        <p:nvSpPr>
          <p:cNvPr id="31" name="CaixaDeTexto 45">
            <a:extLst>
              <a:ext uri="{FF2B5EF4-FFF2-40B4-BE49-F238E27FC236}">
                <a16:creationId xmlns:a16="http://schemas.microsoft.com/office/drawing/2014/main" xmlns="" id="{CB881336-F051-4235-8DDA-ED065F17359F}"/>
              </a:ext>
            </a:extLst>
          </p:cNvPr>
          <p:cNvSpPr txBox="1"/>
          <p:nvPr/>
        </p:nvSpPr>
        <p:spPr>
          <a:xfrm>
            <a:off x="3841805" y="4747198"/>
            <a:ext cx="195274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É possível expandir as escolas integrais, de forma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eficiente</a:t>
            </a:r>
            <a:r>
              <a:rPr lang="pt-BR" dirty="0">
                <a:solidFill>
                  <a:srgbClr val="0D64AD"/>
                </a:solidFill>
                <a:latin typeface="Candara"/>
              </a:rPr>
              <a:t> e priorizando as comunidades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vulneráveis </a:t>
            </a:r>
          </a:p>
        </p:txBody>
      </p:sp>
      <p:sp>
        <p:nvSpPr>
          <p:cNvPr id="40" name="CaixaDeTexto 45">
            <a:extLst>
              <a:ext uri="{FF2B5EF4-FFF2-40B4-BE49-F238E27FC236}">
                <a16:creationId xmlns:a16="http://schemas.microsoft.com/office/drawing/2014/main" xmlns="" id="{BE6A8BCD-8473-4075-9088-6BD8B0020EF9}"/>
              </a:ext>
            </a:extLst>
          </p:cNvPr>
          <p:cNvSpPr txBox="1"/>
          <p:nvPr/>
        </p:nvSpPr>
        <p:spPr>
          <a:xfrm>
            <a:off x="3954998" y="2654913"/>
            <a:ext cx="179319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dirty="0">
                <a:solidFill>
                  <a:srgbClr val="0D64AD"/>
                </a:solidFill>
                <a:latin typeface="Candara"/>
              </a:rPr>
              <a:t>As escolas integrais têm impacto relevante sobre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acesso ao ensino superior </a:t>
            </a:r>
            <a:r>
              <a:rPr lang="pt-BR" dirty="0">
                <a:solidFill>
                  <a:srgbClr val="0D64AD"/>
                </a:solidFill>
                <a:latin typeface="Candara"/>
              </a:rPr>
              <a:t>e </a:t>
            </a:r>
            <a:r>
              <a:rPr lang="pt-BR" b="1" dirty="0">
                <a:solidFill>
                  <a:srgbClr val="0D64AD"/>
                </a:solidFill>
                <a:latin typeface="Candara"/>
              </a:rPr>
              <a:t>renda</a:t>
            </a:r>
            <a:r>
              <a:rPr lang="pt-BR" dirty="0">
                <a:solidFill>
                  <a:srgbClr val="0D64AD"/>
                </a:solidFill>
                <a:latin typeface="Candara"/>
              </a:rPr>
              <a:t> dos egressos</a:t>
            </a:r>
          </a:p>
        </p:txBody>
      </p:sp>
    </p:spTree>
    <p:extLst>
      <p:ext uri="{BB962C8B-B14F-4D97-AF65-F5344CB8AC3E}">
        <p14:creationId xmlns:p14="http://schemas.microsoft.com/office/powerpoint/2010/main" val="13781784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xmlns="" id="{485993ED-BDC2-46F4-B34B-47443039A2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xmlns="" id="{485993ED-BDC2-46F4-B34B-47443039A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0EDF407F-6AEA-4863-86E3-2BF840C6A6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3706" y="340862"/>
            <a:ext cx="6289341" cy="528182"/>
          </a:xfrm>
        </p:spPr>
        <p:txBody>
          <a:bodyPr>
            <a:noAutofit/>
          </a:bodyPr>
          <a:lstStyle/>
          <a:p>
            <a:r>
              <a:rPr lang="pt-BR" sz="2600" dirty="0"/>
              <a:t>O impacto na promoção da equidade: </a:t>
            </a:r>
            <a:r>
              <a:rPr lang="pt-BR" sz="2600" b="1" dirty="0"/>
              <a:t>RAÇA E GÊNERO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xmlns="" id="{42636301-5D24-4223-A772-5FF223073CF9}"/>
              </a:ext>
            </a:extLst>
          </p:cNvPr>
          <p:cNvSpPr/>
          <p:nvPr/>
        </p:nvSpPr>
        <p:spPr>
          <a:xfrm>
            <a:off x="5655342" y="580338"/>
            <a:ext cx="1842091" cy="7965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BR" dirty="0">
                <a:solidFill>
                  <a:srgbClr val="FFFFFF"/>
                </a:solidFill>
              </a:rPr>
              <a:t>Equidade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8A0C624C-54B0-4A95-B700-C8715F3239D4}"/>
              </a:ext>
            </a:extLst>
          </p:cNvPr>
          <p:cNvSpPr/>
          <p:nvPr/>
        </p:nvSpPr>
        <p:spPr>
          <a:xfrm>
            <a:off x="951678" y="1834788"/>
            <a:ext cx="2869694" cy="148162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b="1" dirty="0">
                <a:solidFill>
                  <a:srgbClr val="FFFFFF"/>
                </a:solidFill>
              </a:rPr>
              <a:t>Pretos e pardos </a:t>
            </a:r>
            <a:r>
              <a:rPr lang="pt-BR" sz="1800" dirty="0">
                <a:solidFill>
                  <a:srgbClr val="FFFFFF"/>
                </a:solidFill>
              </a:rPr>
              <a:t>ganham cerca de </a:t>
            </a:r>
            <a:r>
              <a:rPr lang="pt-BR" sz="1800" b="1" dirty="0">
                <a:solidFill>
                  <a:srgbClr val="FFFFFF"/>
                </a:solidFill>
              </a:rPr>
              <a:t>10% menos </a:t>
            </a:r>
            <a:r>
              <a:rPr lang="pt-BR" sz="1800" dirty="0">
                <a:solidFill>
                  <a:srgbClr val="FFFFFF"/>
                </a:solidFill>
              </a:rPr>
              <a:t>que </a:t>
            </a:r>
            <a:r>
              <a:rPr lang="pt-BR" sz="1800" b="1" dirty="0">
                <a:solidFill>
                  <a:srgbClr val="FFFFFF"/>
                </a:solidFill>
              </a:rPr>
              <a:t>brancos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xmlns="" id="{46F89DA4-6858-4049-9CC2-444453E21255}"/>
              </a:ext>
            </a:extLst>
          </p:cNvPr>
          <p:cNvSpPr/>
          <p:nvPr/>
        </p:nvSpPr>
        <p:spPr>
          <a:xfrm>
            <a:off x="951678" y="3499815"/>
            <a:ext cx="2869694" cy="148162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b="1" dirty="0">
                <a:solidFill>
                  <a:schemeClr val="tx2"/>
                </a:solidFill>
              </a:rPr>
              <a:t>Mulheres </a:t>
            </a:r>
            <a:r>
              <a:rPr lang="pt-BR" sz="1800" dirty="0">
                <a:solidFill>
                  <a:schemeClr val="tx2"/>
                </a:solidFill>
              </a:rPr>
              <a:t>ganham cerca de </a:t>
            </a:r>
            <a:r>
              <a:rPr lang="pt-BR" sz="1800" b="1" dirty="0">
                <a:solidFill>
                  <a:schemeClr val="tx2"/>
                </a:solidFill>
              </a:rPr>
              <a:t>23% menos </a:t>
            </a:r>
            <a:r>
              <a:rPr lang="pt-BR" sz="1800" dirty="0">
                <a:solidFill>
                  <a:schemeClr val="tx2"/>
                </a:solidFill>
              </a:rPr>
              <a:t>que </a:t>
            </a:r>
            <a:r>
              <a:rPr lang="pt-BR" sz="1800" b="1" dirty="0">
                <a:solidFill>
                  <a:schemeClr val="tx2"/>
                </a:solidFill>
              </a:rPr>
              <a:t>homens</a:t>
            </a:r>
          </a:p>
        </p:txBody>
      </p:sp>
      <p:sp>
        <p:nvSpPr>
          <p:cNvPr id="4" name="Seta: para a Direita 3">
            <a:extLst>
              <a:ext uri="{FF2B5EF4-FFF2-40B4-BE49-F238E27FC236}">
                <a16:creationId xmlns:a16="http://schemas.microsoft.com/office/drawing/2014/main" xmlns="" id="{B4AB8AA5-6EFD-4054-A7BE-09FE7C96EB5C}"/>
              </a:ext>
            </a:extLst>
          </p:cNvPr>
          <p:cNvSpPr/>
          <p:nvPr/>
        </p:nvSpPr>
        <p:spPr>
          <a:xfrm>
            <a:off x="4153171" y="2377706"/>
            <a:ext cx="746374" cy="395785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Seta: para a Direita 19">
            <a:extLst>
              <a:ext uri="{FF2B5EF4-FFF2-40B4-BE49-F238E27FC236}">
                <a16:creationId xmlns:a16="http://schemas.microsoft.com/office/drawing/2014/main" xmlns="" id="{C9291804-9B2E-47EF-954A-BEA7F838F32C}"/>
              </a:ext>
            </a:extLst>
          </p:cNvPr>
          <p:cNvSpPr/>
          <p:nvPr/>
        </p:nvSpPr>
        <p:spPr>
          <a:xfrm>
            <a:off x="4153171" y="4097323"/>
            <a:ext cx="746374" cy="395785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xmlns="" id="{0C31B307-E2AB-4259-A727-0B528E821A9E}"/>
              </a:ext>
            </a:extLst>
          </p:cNvPr>
          <p:cNvSpPr/>
          <p:nvPr/>
        </p:nvSpPr>
        <p:spPr>
          <a:xfrm>
            <a:off x="5141541" y="1834788"/>
            <a:ext cx="2869694" cy="148162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b="1" dirty="0">
                <a:solidFill>
                  <a:srgbClr val="FFFFFF"/>
                </a:solidFill>
              </a:rPr>
              <a:t>O ensino integral reduz o </a:t>
            </a:r>
            <a:r>
              <a:rPr lang="pt-BR" sz="1800" b="1" i="1" dirty="0">
                <a:solidFill>
                  <a:srgbClr val="FFFFFF"/>
                </a:solidFill>
              </a:rPr>
              <a:t>gap </a:t>
            </a:r>
            <a:r>
              <a:rPr lang="pt-BR" sz="1800" b="1" dirty="0">
                <a:solidFill>
                  <a:srgbClr val="FFFFFF"/>
                </a:solidFill>
              </a:rPr>
              <a:t>racial em 13%**</a:t>
            </a:r>
            <a:r>
              <a:rPr lang="pt-BR" sz="1800" dirty="0">
                <a:solidFill>
                  <a:srgbClr val="FFFFFF"/>
                </a:solidFill>
              </a:rPr>
              <a:t>, isto é, </a:t>
            </a:r>
            <a:r>
              <a:rPr lang="pt-BR" sz="1800" b="1" dirty="0">
                <a:solidFill>
                  <a:srgbClr val="FFFFFF"/>
                </a:solidFill>
              </a:rPr>
              <a:t>pelo menos </a:t>
            </a:r>
            <a:r>
              <a:rPr lang="pt-BR" sz="1800" dirty="0">
                <a:solidFill>
                  <a:srgbClr val="FFFFFF"/>
                </a:solidFill>
              </a:rPr>
              <a:t>zera essa diferença de salários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xmlns="" id="{2AF647F2-9BB4-4DFD-A08B-A60A3F23FFD1}"/>
              </a:ext>
            </a:extLst>
          </p:cNvPr>
          <p:cNvSpPr/>
          <p:nvPr/>
        </p:nvSpPr>
        <p:spPr>
          <a:xfrm>
            <a:off x="5141541" y="3499815"/>
            <a:ext cx="2869694" cy="148162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chemeClr val="tx2"/>
                </a:solidFill>
              </a:rPr>
              <a:t>Não há diferença estatisticamente  significativa</a:t>
            </a:r>
            <a:endParaRPr lang="pt-BR" sz="1800" i="1" dirty="0">
              <a:solidFill>
                <a:schemeClr val="tx2"/>
              </a:solidFill>
            </a:endParaRPr>
          </a:p>
        </p:txBody>
      </p:sp>
      <p:sp>
        <p:nvSpPr>
          <p:cNvPr id="13" name="Balão de Fala: Retângulo 12">
            <a:extLst>
              <a:ext uri="{FF2B5EF4-FFF2-40B4-BE49-F238E27FC236}">
                <a16:creationId xmlns:a16="http://schemas.microsoft.com/office/drawing/2014/main" xmlns="" id="{B8AC7667-D21B-4393-A957-B7B475EA5271}"/>
              </a:ext>
            </a:extLst>
          </p:cNvPr>
          <p:cNvSpPr/>
          <p:nvPr/>
        </p:nvSpPr>
        <p:spPr>
          <a:xfrm>
            <a:off x="2253804" y="5396380"/>
            <a:ext cx="5777150" cy="841120"/>
          </a:xfrm>
          <a:prstGeom prst="wedgeRectCallout">
            <a:avLst>
              <a:gd name="adj1" fmla="val 26809"/>
              <a:gd name="adj2" fmla="val -92851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FFFF"/>
                </a:solidFill>
              </a:rPr>
              <a:t>No entanto, </a:t>
            </a:r>
            <a:r>
              <a:rPr lang="pt-BR" b="1" dirty="0">
                <a:solidFill>
                  <a:srgbClr val="FFFFFF"/>
                </a:solidFill>
              </a:rPr>
              <a:t>a probabilidade das mulheres trabalharem aumenta 8%*</a:t>
            </a:r>
            <a:r>
              <a:rPr lang="pt-BR" dirty="0">
                <a:solidFill>
                  <a:srgbClr val="FFFFFF"/>
                </a:solidFill>
              </a:rPr>
              <a:t>, no caso das egressas entre 2009 e 2011. A probabilidade não se altera para as egressas entre 2012 e 2014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xmlns="" id="{075DC985-C4F0-4667-8FA6-93DB7A459A4C}"/>
              </a:ext>
            </a:extLst>
          </p:cNvPr>
          <p:cNvSpPr txBox="1"/>
          <p:nvPr/>
        </p:nvSpPr>
        <p:spPr>
          <a:xfrm>
            <a:off x="363707" y="6331424"/>
            <a:ext cx="78818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*** Significativo a 1%</a:t>
            </a:r>
          </a:p>
          <a:p>
            <a:r>
              <a:rPr lang="pt-BR" sz="100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** Significativo a 5%    * Significativo a 10%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0CCB865B-1849-45E2-98F3-73D872D46006}"/>
              </a:ext>
            </a:extLst>
          </p:cNvPr>
          <p:cNvSpPr txBox="1"/>
          <p:nvPr/>
        </p:nvSpPr>
        <p:spPr>
          <a:xfrm>
            <a:off x="830680" y="1308537"/>
            <a:ext cx="31116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chemeClr val="tx2"/>
                </a:solidFill>
                <a:latin typeface="+mj-lt"/>
              </a:rPr>
              <a:t>Escolas regulares PE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xmlns="" id="{3ADAB4CE-0CE4-4A83-9B89-063DA568BF1F}"/>
              </a:ext>
            </a:extLst>
          </p:cNvPr>
          <p:cNvSpPr txBox="1"/>
          <p:nvPr/>
        </p:nvSpPr>
        <p:spPr>
          <a:xfrm>
            <a:off x="5066349" y="1287515"/>
            <a:ext cx="31116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chemeClr val="tx2"/>
                </a:solidFill>
                <a:latin typeface="+mj-lt"/>
              </a:rPr>
              <a:t>Escolas Integrais PE</a:t>
            </a: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xmlns="" id="{5A982207-E6C1-486C-AE5D-93D1C99CB8A5}"/>
              </a:ext>
            </a:extLst>
          </p:cNvPr>
          <p:cNvGrpSpPr/>
          <p:nvPr/>
        </p:nvGrpSpPr>
        <p:grpSpPr>
          <a:xfrm>
            <a:off x="7472150" y="201835"/>
            <a:ext cx="1451226" cy="307778"/>
            <a:chOff x="7472150" y="201835"/>
            <a:chExt cx="1451226" cy="307778"/>
          </a:xfrm>
        </p:grpSpPr>
        <p:cxnSp>
          <p:nvCxnSpPr>
            <p:cNvPr id="18" name="Conector reto 17">
              <a:extLst>
                <a:ext uri="{FF2B5EF4-FFF2-40B4-BE49-F238E27FC236}">
                  <a16:creationId xmlns:a16="http://schemas.microsoft.com/office/drawing/2014/main" xmlns="" id="{32CDED08-BEF0-4304-B86A-BD9EECA273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72150" y="201835"/>
              <a:ext cx="1439211" cy="1"/>
            </a:xfrm>
            <a:prstGeom prst="line">
              <a:avLst/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xmlns="" id="{746538A7-BCAD-4EDC-9058-0200BDB72E31}"/>
                </a:ext>
              </a:extLst>
            </p:cNvPr>
            <p:cNvSpPr txBox="1"/>
            <p:nvPr/>
          </p:nvSpPr>
          <p:spPr>
            <a:xfrm>
              <a:off x="7472150" y="201836"/>
              <a:ext cx="14512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solidFill>
                    <a:srgbClr val="FF0000"/>
                  </a:solidFill>
                </a:rPr>
                <a:t>PRELIMINAR</a:t>
              </a:r>
            </a:p>
          </p:txBody>
        </p:sp>
        <p:cxnSp>
          <p:nvCxnSpPr>
            <p:cNvPr id="24" name="Conector reto 23">
              <a:extLst>
                <a:ext uri="{FF2B5EF4-FFF2-40B4-BE49-F238E27FC236}">
                  <a16:creationId xmlns:a16="http://schemas.microsoft.com/office/drawing/2014/main" xmlns="" id="{EDD6D441-B209-49DC-A8BB-D0B5906C289C}"/>
                </a:ext>
              </a:extLst>
            </p:cNvPr>
            <p:cNvCxnSpPr>
              <a:cxnSpLocks/>
            </p:cNvCxnSpPr>
            <p:nvPr/>
          </p:nvCxnSpPr>
          <p:spPr>
            <a:xfrm>
              <a:off x="7472150" y="507617"/>
              <a:ext cx="1439211" cy="0"/>
            </a:xfrm>
            <a:prstGeom prst="line">
              <a:avLst/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562246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xmlns="" id="{485993ED-BDC2-46F4-B34B-47443039A2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xmlns="" id="{485993ED-BDC2-46F4-B34B-47443039A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0EDF407F-6AEA-4863-86E3-2BF840C6A6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3707" y="586928"/>
            <a:ext cx="6510059" cy="528182"/>
          </a:xfrm>
        </p:spPr>
        <p:txBody>
          <a:bodyPr>
            <a:noAutofit/>
          </a:bodyPr>
          <a:lstStyle/>
          <a:p>
            <a:r>
              <a:rPr lang="pt-BR" sz="2600" dirty="0"/>
              <a:t>Outras elementos de melhoria nas </a:t>
            </a:r>
            <a:r>
              <a:rPr lang="pt-BR" sz="2600" b="1" dirty="0"/>
              <a:t>condições de vida dos egressos das escolas integrais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xmlns="" id="{FBA2EA78-D55C-4EC3-88CF-E7375BC5890C}"/>
              </a:ext>
            </a:extLst>
          </p:cNvPr>
          <p:cNvSpPr/>
          <p:nvPr/>
        </p:nvSpPr>
        <p:spPr>
          <a:xfrm>
            <a:off x="429080" y="1959872"/>
            <a:ext cx="8021238" cy="52818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sz="1800" b="1" dirty="0">
                <a:solidFill>
                  <a:schemeClr val="tx2"/>
                </a:solidFill>
              </a:rPr>
              <a:t>Os egressos do integral se casam mais tarde: </a:t>
            </a:r>
            <a:r>
              <a:rPr lang="pt-BR" sz="1800" dirty="0">
                <a:solidFill>
                  <a:schemeClr val="tx2"/>
                </a:solidFill>
              </a:rPr>
              <a:t>18% estão casados vs. 25% no parcial</a:t>
            </a:r>
          </a:p>
          <a:p>
            <a:endParaRPr lang="pt-BR" sz="1568" b="1" dirty="0">
              <a:solidFill>
                <a:srgbClr val="FFFFFF"/>
              </a:solidFill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xmlns="" id="{240656AF-92D2-4322-B8F5-E55D1A6F8A92}"/>
              </a:ext>
            </a:extLst>
          </p:cNvPr>
          <p:cNvSpPr/>
          <p:nvPr/>
        </p:nvSpPr>
        <p:spPr>
          <a:xfrm>
            <a:off x="429081" y="2853105"/>
            <a:ext cx="8021238" cy="52818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sz="1800" b="1" dirty="0">
                <a:solidFill>
                  <a:schemeClr val="tx2"/>
                </a:solidFill>
              </a:rPr>
              <a:t>Os egressos do integral têm filhos mais tarde</a:t>
            </a:r>
            <a:r>
              <a:rPr lang="pt-BR" sz="1800" dirty="0">
                <a:solidFill>
                  <a:schemeClr val="tx2"/>
                </a:solidFill>
              </a:rPr>
              <a:t>: 19% têm filhos vs. 29% no parcial </a:t>
            </a:r>
          </a:p>
          <a:p>
            <a:endParaRPr lang="pt-BR" sz="1568" b="1" dirty="0">
              <a:solidFill>
                <a:srgbClr val="FFFFFF"/>
              </a:solidFill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xmlns="" id="{1C04EA5D-0596-498D-BC74-7C11DDBA868F}"/>
              </a:ext>
            </a:extLst>
          </p:cNvPr>
          <p:cNvSpPr/>
          <p:nvPr/>
        </p:nvSpPr>
        <p:spPr>
          <a:xfrm>
            <a:off x="429081" y="3746338"/>
            <a:ext cx="8021238" cy="6755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sz="1800" b="1" dirty="0">
                <a:solidFill>
                  <a:schemeClr val="accent1">
                    <a:lumMod val="50000"/>
                  </a:schemeClr>
                </a:solidFill>
              </a:rPr>
              <a:t>Os egressos do integral participam mais de projetos sociais: </a:t>
            </a:r>
            <a:r>
              <a:rPr lang="pt-BR" sz="1800" dirty="0">
                <a:solidFill>
                  <a:schemeClr val="accent1">
                    <a:lumMod val="50000"/>
                  </a:schemeClr>
                </a:solidFill>
              </a:rPr>
              <a:t>42% no integral vs. 36% no parcial </a:t>
            </a:r>
          </a:p>
          <a:p>
            <a:endParaRPr lang="pt-BR" sz="1568" b="1" dirty="0">
              <a:solidFill>
                <a:srgbClr val="FFFFFF"/>
              </a:solidFill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xmlns="" id="{E30A53B0-DEBF-4955-B816-C4F98BE80C5B}"/>
              </a:ext>
            </a:extLst>
          </p:cNvPr>
          <p:cNvSpPr/>
          <p:nvPr/>
        </p:nvSpPr>
        <p:spPr>
          <a:xfrm>
            <a:off x="429081" y="4786940"/>
            <a:ext cx="8021238" cy="6755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sz="1800" b="1" dirty="0">
                <a:solidFill>
                  <a:schemeClr val="accent1">
                    <a:lumMod val="50000"/>
                  </a:schemeClr>
                </a:solidFill>
              </a:rPr>
              <a:t>Mais egressos do integral trabalham no segmento Educação: </a:t>
            </a:r>
            <a:r>
              <a:rPr lang="pt-BR" sz="1800" dirty="0">
                <a:solidFill>
                  <a:schemeClr val="accent1">
                    <a:lumMod val="50000"/>
                  </a:schemeClr>
                </a:solidFill>
              </a:rPr>
              <a:t>~10% no integral vs. 6% no parcial</a:t>
            </a:r>
          </a:p>
          <a:p>
            <a:endParaRPr lang="pt-BR" sz="1568" b="1" dirty="0">
              <a:solidFill>
                <a:srgbClr val="FFFFFF"/>
              </a:solidFill>
            </a:endParaRP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xmlns="" id="{5F5349D2-F786-47E0-A8B2-1C34AA0B9A29}"/>
              </a:ext>
            </a:extLst>
          </p:cNvPr>
          <p:cNvGrpSpPr/>
          <p:nvPr/>
        </p:nvGrpSpPr>
        <p:grpSpPr>
          <a:xfrm>
            <a:off x="7472150" y="201835"/>
            <a:ext cx="1451226" cy="307778"/>
            <a:chOff x="7472150" y="201835"/>
            <a:chExt cx="1451226" cy="307778"/>
          </a:xfrm>
        </p:grpSpPr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xmlns="" id="{2EF957E2-1843-4A57-8EF4-FC59DD41D1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72150" y="201835"/>
              <a:ext cx="1439211" cy="1"/>
            </a:xfrm>
            <a:prstGeom prst="line">
              <a:avLst/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xmlns="" id="{45512EC9-274E-4998-9D44-5479039A9C4F}"/>
                </a:ext>
              </a:extLst>
            </p:cNvPr>
            <p:cNvSpPr txBox="1"/>
            <p:nvPr/>
          </p:nvSpPr>
          <p:spPr>
            <a:xfrm>
              <a:off x="7472150" y="201836"/>
              <a:ext cx="14512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solidFill>
                    <a:srgbClr val="FF0000"/>
                  </a:solidFill>
                </a:rPr>
                <a:t>PRELIMINAR</a:t>
              </a:r>
            </a:p>
          </p:txBody>
        </p:sp>
        <p:cxnSp>
          <p:nvCxnSpPr>
            <p:cNvPr id="11" name="Conector reto 10">
              <a:extLst>
                <a:ext uri="{FF2B5EF4-FFF2-40B4-BE49-F238E27FC236}">
                  <a16:creationId xmlns:a16="http://schemas.microsoft.com/office/drawing/2014/main" xmlns="" id="{F1C9975D-04B4-4A92-8199-E8F1777FFEED}"/>
                </a:ext>
              </a:extLst>
            </p:cNvPr>
            <p:cNvCxnSpPr>
              <a:cxnSpLocks/>
            </p:cNvCxnSpPr>
            <p:nvPr/>
          </p:nvCxnSpPr>
          <p:spPr>
            <a:xfrm>
              <a:off x="7472150" y="507617"/>
              <a:ext cx="1439211" cy="0"/>
            </a:xfrm>
            <a:prstGeom prst="line">
              <a:avLst/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652204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BD651F3-DE90-463D-9C0C-DC5CB1FBB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Back-up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xmlns="" id="{D8968AE7-269F-4E81-89D2-57D40E0D8D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0839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xmlns="" id="{74747800-A1CC-4203-A3F5-846484DC3B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754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xmlns="" id="{74747800-A1CC-4203-A3F5-846484DC3B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754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tângulo 8" hidden="1">
            <a:extLst>
              <a:ext uri="{FF2B5EF4-FFF2-40B4-BE49-F238E27FC236}">
                <a16:creationId xmlns:a16="http://schemas.microsoft.com/office/drawing/2014/main" xmlns="" id="{17A4BA03-C4A9-42FC-9292-E60CDD3BB5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98"/>
            <a:ext cx="155581" cy="15558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352" dirty="0">
              <a:latin typeface="Gill Sans"/>
              <a:ea typeface="+mj-ea"/>
              <a:sym typeface="Gill San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B7D87054-F5B5-47E8-9CAA-D7338296C3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Legenda – níveis socioeconômicos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xmlns="" id="{DB67EC0D-EF5A-4FAD-9FC8-650685340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10" name="Botão de Ação: Voltar ou Anterior 9">
            <a:hlinkClick r:id="rId7" action="ppaction://hlinksldjump" highlightClick="1"/>
            <a:extLst>
              <a:ext uri="{FF2B5EF4-FFF2-40B4-BE49-F238E27FC236}">
                <a16:creationId xmlns:a16="http://schemas.microsoft.com/office/drawing/2014/main" xmlns="" id="{3270F5A2-3D1D-4677-9E01-0A6E4F8563F7}"/>
              </a:ext>
            </a:extLst>
          </p:cNvPr>
          <p:cNvSpPr/>
          <p:nvPr/>
        </p:nvSpPr>
        <p:spPr>
          <a:xfrm>
            <a:off x="8253195" y="394580"/>
            <a:ext cx="282250" cy="282250"/>
          </a:xfrm>
          <a:prstGeom prst="actionButtonBackPrevious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68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xmlns="" id="{891BAD7F-4A5B-4FAF-B4EA-1DBE03FFA147}"/>
              </a:ext>
            </a:extLst>
          </p:cNvPr>
          <p:cNvSpPr txBox="1"/>
          <p:nvPr/>
        </p:nvSpPr>
        <p:spPr>
          <a:xfrm>
            <a:off x="17753" y="6400538"/>
            <a:ext cx="853470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solidFill>
                  <a:schemeClr val="accent1">
                    <a:lumMod val="50000"/>
                  </a:schemeClr>
                </a:solidFill>
              </a:rPr>
              <a:t>Fonte: http://download.inep.gov.br/informacoes_estatisticas/indicadores_educacionais/2015/nota_tecnica/nota_tecnica_inep_inse_2015.pdf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xmlns="" id="{ABBBA07D-6899-4DBB-925F-C2B5750CDD5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4359" t="35640" r="15142" b="16422"/>
          <a:stretch/>
        </p:blipFill>
        <p:spPr>
          <a:xfrm>
            <a:off x="119276" y="1076861"/>
            <a:ext cx="8842162" cy="4567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9841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A67B49A6-7A87-49F3-AAE7-C00F6DD3E9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A67B49A6-7A87-49F3-AAE7-C00F6DD3E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rtlCol="0">
            <a:noAutofit/>
          </a:bodyPr>
          <a:lstStyle/>
          <a:p>
            <a:pPr rtl="0"/>
            <a:r>
              <a:rPr lang="pt-BR" sz="2700" dirty="0"/>
              <a:t>ANÁLISE COM EGRESSOS EM PERNAMBUCO 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54E26E91-FA1B-6245-924D-A20CF7519F85}" type="slidenum">
              <a:rPr lang="en-US" smtClean="0"/>
              <a:pPr rtl="0"/>
              <a:t>33</a:t>
            </a:fld>
            <a:endParaRPr lang="en-US" dirty="0"/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xmlns="" id="{90EEACC4-3FAF-47C2-9C2D-55DAE9A6F331}"/>
              </a:ext>
            </a:extLst>
          </p:cNvPr>
          <p:cNvGrpSpPr/>
          <p:nvPr/>
        </p:nvGrpSpPr>
        <p:grpSpPr>
          <a:xfrm>
            <a:off x="178636" y="1337299"/>
            <a:ext cx="8637819" cy="4473333"/>
            <a:chOff x="178636" y="1168362"/>
            <a:chExt cx="8161280" cy="3471312"/>
          </a:xfrm>
        </p:grpSpPr>
        <p:sp>
          <p:nvSpPr>
            <p:cNvPr id="21" name="Fluxograma: Processo Alternativo 20"/>
            <p:cNvSpPr/>
            <p:nvPr/>
          </p:nvSpPr>
          <p:spPr>
            <a:xfrm>
              <a:off x="260842" y="1168362"/>
              <a:ext cx="6461461" cy="889000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  <a:alpha val="46000"/>
              </a:schemeClr>
            </a:solidFill>
            <a:ln w="28575">
              <a:solidFill>
                <a:schemeClr val="accent1">
                  <a:lumMod val="60000"/>
                  <a:lumOff val="40000"/>
                  <a:alpha val="46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2962">
                <a:defRPr/>
              </a:pPr>
              <a:endParaRPr lang="pt-BR" sz="1428" b="1" kern="0" dirty="0">
                <a:solidFill>
                  <a:schemeClr val="tx2"/>
                </a:solidFill>
              </a:endParaRPr>
            </a:p>
          </p:txBody>
        </p:sp>
        <p:cxnSp>
          <p:nvCxnSpPr>
            <p:cNvPr id="45" name="Conector reto 44"/>
            <p:cNvCxnSpPr/>
            <p:nvPr/>
          </p:nvCxnSpPr>
          <p:spPr>
            <a:xfrm>
              <a:off x="645341" y="2236871"/>
              <a:ext cx="6871381" cy="0"/>
            </a:xfrm>
            <a:prstGeom prst="line">
              <a:avLst/>
            </a:prstGeom>
            <a:ln w="3175"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AutoShape 2" descr="https://sites.google.com/site/vponczek/_/rsrc/1472868692215/Home/LEARN_ingles_azul%20%281%29.png?height=70&amp;width=400"/>
            <p:cNvSpPr>
              <a:spLocks noChangeAspect="1" noChangeArrowheads="1"/>
            </p:cNvSpPr>
            <p:nvPr/>
          </p:nvSpPr>
          <p:spPr bwMode="auto">
            <a:xfrm>
              <a:off x="4245637" y="3208338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" name="AutoShape 4" descr="https://sites.google.com/site/vponczek/_/rsrc/1472868692215/Home/LEARN_ingles_azul%20%281%29.png?height=70&amp;width=400"/>
            <p:cNvSpPr>
              <a:spLocks noChangeAspect="1" noChangeArrowheads="1"/>
            </p:cNvSpPr>
            <p:nvPr/>
          </p:nvSpPr>
          <p:spPr bwMode="auto">
            <a:xfrm>
              <a:off x="4605479" y="2882352"/>
              <a:ext cx="56750" cy="56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cxnSp>
          <p:nvCxnSpPr>
            <p:cNvPr id="75" name="Conector reto 74"/>
            <p:cNvCxnSpPr/>
            <p:nvPr/>
          </p:nvCxnSpPr>
          <p:spPr>
            <a:xfrm>
              <a:off x="645341" y="3513138"/>
              <a:ext cx="6871381" cy="0"/>
            </a:xfrm>
            <a:prstGeom prst="line">
              <a:avLst/>
            </a:prstGeom>
            <a:ln w="3175"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Fluxograma: Processo Alternativo 28">
              <a:extLst>
                <a:ext uri="{FF2B5EF4-FFF2-40B4-BE49-F238E27FC236}">
                  <a16:creationId xmlns:a16="http://schemas.microsoft.com/office/drawing/2014/main" xmlns="" id="{98EF9A66-1FB4-4088-8615-BFA46D1430A4}"/>
                </a:ext>
              </a:extLst>
            </p:cNvPr>
            <p:cNvSpPr/>
            <p:nvPr/>
          </p:nvSpPr>
          <p:spPr>
            <a:xfrm>
              <a:off x="1521628" y="2434181"/>
              <a:ext cx="6790381" cy="889000"/>
            </a:xfrm>
            <a:prstGeom prst="flowChartAlternateProcess">
              <a:avLst/>
            </a:prstGeom>
            <a:solidFill>
              <a:schemeClr val="bg2">
                <a:lumMod val="60000"/>
                <a:lumOff val="40000"/>
                <a:alpha val="50000"/>
              </a:schemeClr>
            </a:solidFill>
            <a:ln w="28575">
              <a:solidFill>
                <a:schemeClr val="bg2">
                  <a:lumMod val="60000"/>
                  <a:lumOff val="40000"/>
                  <a:alpha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 algn="ctr" defTabSz="932962">
                <a:buFont typeface="Arial" panose="020B0604020202020204" pitchFamily="34" charset="0"/>
                <a:buChar char="•"/>
                <a:defRPr/>
              </a:pPr>
              <a:endParaRPr lang="pt-BR" sz="1428" b="1" kern="0" dirty="0">
                <a:solidFill>
                  <a:schemeClr val="tx2"/>
                </a:solidFill>
              </a:endParaRPr>
            </a:p>
          </p:txBody>
        </p:sp>
        <p:sp>
          <p:nvSpPr>
            <p:cNvPr id="30" name="Fluxograma: Processo Alternativo 29">
              <a:extLst>
                <a:ext uri="{FF2B5EF4-FFF2-40B4-BE49-F238E27FC236}">
                  <a16:creationId xmlns:a16="http://schemas.microsoft.com/office/drawing/2014/main" xmlns="" id="{30C756CB-7BC6-417A-9A9A-765BA6DAC054}"/>
                </a:ext>
              </a:extLst>
            </p:cNvPr>
            <p:cNvSpPr/>
            <p:nvPr/>
          </p:nvSpPr>
          <p:spPr>
            <a:xfrm>
              <a:off x="218024" y="3750674"/>
              <a:ext cx="6442083" cy="889000"/>
            </a:xfrm>
            <a:prstGeom prst="flowChartAlternateProcess">
              <a:avLst/>
            </a:prstGeom>
            <a:solidFill>
              <a:schemeClr val="tx2">
                <a:lumMod val="20000"/>
                <a:lumOff val="80000"/>
                <a:alpha val="52000"/>
              </a:schemeClr>
            </a:solidFill>
            <a:ln w="28575">
              <a:solidFill>
                <a:schemeClr val="tx2">
                  <a:lumMod val="40000"/>
                  <a:lumOff val="60000"/>
                  <a:alpha val="52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2962">
                <a:defRPr/>
              </a:pPr>
              <a:endParaRPr lang="pt-BR" sz="1800" b="1" kern="0" dirty="0">
                <a:solidFill>
                  <a:schemeClr val="tx2"/>
                </a:solidFill>
              </a:endParaRPr>
            </a:p>
            <a:p>
              <a:pPr algn="ctr" defTabSz="932962">
                <a:defRPr/>
              </a:pPr>
              <a:endParaRPr lang="pt-BR" sz="1800" b="1" kern="0" dirty="0">
                <a:solidFill>
                  <a:schemeClr val="tx2"/>
                </a:solidFill>
              </a:endParaRPr>
            </a:p>
          </p:txBody>
        </p:sp>
        <p:sp>
          <p:nvSpPr>
            <p:cNvPr id="42" name="Fluxograma: Processo Alternativo 41">
              <a:extLst>
                <a:ext uri="{FF2B5EF4-FFF2-40B4-BE49-F238E27FC236}">
                  <a16:creationId xmlns:a16="http://schemas.microsoft.com/office/drawing/2014/main" xmlns="" id="{A4FFE28F-9449-4A9A-8CB2-0459E23C2CC2}"/>
                </a:ext>
              </a:extLst>
            </p:cNvPr>
            <p:cNvSpPr/>
            <p:nvPr/>
          </p:nvSpPr>
          <p:spPr>
            <a:xfrm>
              <a:off x="6280939" y="1403850"/>
              <a:ext cx="1636175" cy="444581"/>
            </a:xfrm>
            <a:prstGeom prst="flowChartAlternateProcess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>
                <a:defRPr/>
              </a:pPr>
              <a:r>
                <a:rPr lang="pt-BR" sz="1800" b="1" kern="0" dirty="0">
                  <a:solidFill>
                    <a:srgbClr val="FFFFFF"/>
                  </a:solidFill>
                </a:rPr>
                <a:t>MOTIVAÇÃO</a:t>
              </a:r>
            </a:p>
          </p:txBody>
        </p:sp>
        <p:sp>
          <p:nvSpPr>
            <p:cNvPr id="44" name="Fluxograma: Processo Alternativo 43">
              <a:extLst>
                <a:ext uri="{FF2B5EF4-FFF2-40B4-BE49-F238E27FC236}">
                  <a16:creationId xmlns:a16="http://schemas.microsoft.com/office/drawing/2014/main" xmlns="" id="{9A1150AF-5513-4AAB-B9E2-7E7D25BF7B30}"/>
                </a:ext>
              </a:extLst>
            </p:cNvPr>
            <p:cNvSpPr/>
            <p:nvPr/>
          </p:nvSpPr>
          <p:spPr>
            <a:xfrm>
              <a:off x="410970" y="2660972"/>
              <a:ext cx="1822865" cy="444581"/>
            </a:xfrm>
            <a:prstGeom prst="flowChartAlternateProcess">
              <a:avLst/>
            </a:prstGeom>
            <a:solidFill>
              <a:schemeClr val="bg2">
                <a:lumMod val="75000"/>
              </a:schemeClr>
            </a:solidFill>
            <a:ln w="28575">
              <a:solidFill>
                <a:schemeClr val="bg2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>
                <a:defRPr/>
              </a:pPr>
              <a:r>
                <a:rPr lang="pt-BR" sz="1800" b="1" kern="0" dirty="0">
                  <a:solidFill>
                    <a:srgbClr val="FFFFFF"/>
                  </a:solidFill>
                </a:rPr>
                <a:t>AMOSTRA</a:t>
              </a:r>
            </a:p>
          </p:txBody>
        </p:sp>
        <p:sp>
          <p:nvSpPr>
            <p:cNvPr id="50" name="Fluxograma: Processo Alternativo 49">
              <a:extLst>
                <a:ext uri="{FF2B5EF4-FFF2-40B4-BE49-F238E27FC236}">
                  <a16:creationId xmlns:a16="http://schemas.microsoft.com/office/drawing/2014/main" xmlns="" id="{B3589B06-CD68-426C-9AB2-08D1D81F1C43}"/>
                </a:ext>
              </a:extLst>
            </p:cNvPr>
            <p:cNvSpPr/>
            <p:nvPr/>
          </p:nvSpPr>
          <p:spPr>
            <a:xfrm>
              <a:off x="6342940" y="3998283"/>
              <a:ext cx="1441907" cy="444581"/>
            </a:xfrm>
            <a:prstGeom prst="flowChartAlternateProcess">
              <a:avLst/>
            </a:prstGeom>
            <a:solidFill>
              <a:schemeClr val="tx2">
                <a:lumMod val="75000"/>
              </a:schemeClr>
            </a:solidFill>
            <a:ln w="28575">
              <a:solidFill>
                <a:schemeClr val="tx2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>
                <a:defRPr/>
              </a:pPr>
              <a:r>
                <a:rPr lang="pt-BR" sz="1800" b="1" kern="0" dirty="0">
                  <a:solidFill>
                    <a:srgbClr val="FFFFFF"/>
                  </a:solidFill>
                </a:rPr>
                <a:t>ETAPAS</a:t>
              </a:r>
            </a:p>
          </p:txBody>
        </p: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xmlns="" id="{3C36669F-51C6-400B-B07D-BD317897AC29}"/>
                </a:ext>
              </a:extLst>
            </p:cNvPr>
            <p:cNvSpPr txBox="1"/>
            <p:nvPr/>
          </p:nvSpPr>
          <p:spPr>
            <a:xfrm>
              <a:off x="1797346" y="2455393"/>
              <a:ext cx="6542570" cy="83592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pt-BR" b="1" dirty="0">
                  <a:solidFill>
                    <a:schemeClr val="bg2">
                      <a:lumMod val="50000"/>
                    </a:schemeClr>
                  </a:solidFill>
                  <a:latin typeface="+mn-lt"/>
                </a:rPr>
                <a:t>2.814</a:t>
              </a:r>
              <a:r>
                <a:rPr lang="pt-BR" dirty="0">
                  <a:solidFill>
                    <a:schemeClr val="bg2">
                      <a:lumMod val="50000"/>
                    </a:schemeClr>
                  </a:solidFill>
                  <a:latin typeface="+mn-lt"/>
                </a:rPr>
                <a:t> </a:t>
              </a:r>
              <a:r>
                <a:rPr lang="pt-BR" b="1" dirty="0">
                  <a:solidFill>
                    <a:schemeClr val="bg2">
                      <a:lumMod val="50000"/>
                    </a:schemeClr>
                  </a:solidFill>
                  <a:latin typeface="+mn-lt"/>
                </a:rPr>
                <a:t>respondentes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chemeClr val="bg2">
                      <a:lumMod val="50000"/>
                    </a:schemeClr>
                  </a:solidFill>
                  <a:latin typeface="+mn-lt"/>
                </a:rPr>
                <a:t>1.655 egressos de escolas </a:t>
              </a:r>
              <a:r>
                <a:rPr lang="pt-BR" b="1" dirty="0">
                  <a:solidFill>
                    <a:schemeClr val="bg2">
                      <a:lumMod val="50000"/>
                    </a:schemeClr>
                  </a:solidFill>
                  <a:latin typeface="+mn-lt"/>
                </a:rPr>
                <a:t>parciais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chemeClr val="bg2">
                      <a:lumMod val="50000"/>
                    </a:schemeClr>
                  </a:solidFill>
                  <a:latin typeface="+mn-lt"/>
                </a:rPr>
                <a:t>787 egressos de escolas </a:t>
              </a:r>
              <a:r>
                <a:rPr lang="pt-BR" b="1" dirty="0">
                  <a:solidFill>
                    <a:schemeClr val="bg2">
                      <a:lumMod val="50000"/>
                    </a:schemeClr>
                  </a:solidFill>
                  <a:latin typeface="+mn-lt"/>
                </a:rPr>
                <a:t>integrais</a:t>
              </a:r>
              <a:r>
                <a:rPr lang="pt-BR" dirty="0">
                  <a:solidFill>
                    <a:schemeClr val="bg2">
                      <a:lumMod val="50000"/>
                    </a:schemeClr>
                  </a:solidFill>
                  <a:latin typeface="+mn-lt"/>
                </a:rPr>
                <a:t> que estudaram em turmas integrais 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chemeClr val="bg2">
                      <a:lumMod val="50000"/>
                    </a:schemeClr>
                  </a:solidFill>
                  <a:latin typeface="+mn-lt"/>
                </a:rPr>
                <a:t>372 egressos de escolas em </a:t>
              </a:r>
              <a:r>
                <a:rPr lang="pt-BR" b="1" dirty="0">
                  <a:solidFill>
                    <a:schemeClr val="bg2">
                      <a:lumMod val="50000"/>
                    </a:schemeClr>
                  </a:solidFill>
                  <a:latin typeface="+mn-lt"/>
                </a:rPr>
                <a:t>fase de conversão </a:t>
              </a:r>
              <a:r>
                <a:rPr lang="pt-BR" dirty="0">
                  <a:solidFill>
                    <a:schemeClr val="bg2">
                      <a:lumMod val="50000"/>
                    </a:schemeClr>
                  </a:solidFill>
                  <a:latin typeface="+mn-lt"/>
                </a:rPr>
                <a:t>(estudantes do parcial)</a:t>
              </a:r>
            </a:p>
          </p:txBody>
        </p:sp>
        <p:sp>
          <p:nvSpPr>
            <p:cNvPr id="51" name="CaixaDeTexto 50">
              <a:extLst>
                <a:ext uri="{FF2B5EF4-FFF2-40B4-BE49-F238E27FC236}">
                  <a16:creationId xmlns:a16="http://schemas.microsoft.com/office/drawing/2014/main" xmlns="" id="{C04909AD-F1D2-4B72-8840-1AC704138A25}"/>
                </a:ext>
              </a:extLst>
            </p:cNvPr>
            <p:cNvSpPr txBox="1"/>
            <p:nvPr/>
          </p:nvSpPr>
          <p:spPr>
            <a:xfrm>
              <a:off x="363707" y="1188369"/>
              <a:ext cx="5947051" cy="83592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Rastreamento dos egressos do </a:t>
              </a:r>
              <a:r>
                <a:rPr lang="pt-BR" b="1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Ensino Médio </a:t>
              </a:r>
              <a:r>
                <a:rPr lang="pt-BR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da Rede Estadual de </a:t>
              </a:r>
              <a:r>
                <a:rPr lang="pt-BR" b="1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PE </a:t>
              </a:r>
              <a:r>
                <a:rPr lang="pt-BR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entre</a:t>
              </a:r>
              <a:r>
                <a:rPr lang="pt-BR" b="1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 2009 </a:t>
              </a:r>
              <a:r>
                <a:rPr lang="pt-BR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e</a:t>
              </a:r>
              <a:r>
                <a:rPr lang="pt-BR" b="1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 2014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Participantes egressos de </a:t>
              </a:r>
              <a:r>
                <a:rPr lang="pt-BR" b="1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escolas integrais e parciai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Questões de </a:t>
              </a:r>
              <a:r>
                <a:rPr lang="pt-BR" b="1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escolaridade</a:t>
              </a:r>
              <a:r>
                <a:rPr lang="pt-BR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, </a:t>
              </a:r>
              <a:r>
                <a:rPr lang="pt-BR" b="1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renda</a:t>
              </a:r>
              <a:r>
                <a:rPr lang="pt-BR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, </a:t>
              </a:r>
              <a:r>
                <a:rPr lang="pt-BR" b="1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produtividade</a:t>
              </a:r>
              <a:r>
                <a:rPr lang="pt-BR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, </a:t>
              </a:r>
              <a:r>
                <a:rPr lang="pt-BR" b="1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socioemocionais</a:t>
              </a:r>
              <a:r>
                <a:rPr lang="pt-BR" dirty="0">
                  <a:solidFill>
                    <a:schemeClr val="tx2">
                      <a:lumMod val="50000"/>
                    </a:schemeClr>
                  </a:solidFill>
                  <a:latin typeface="+mn-lt"/>
                </a:rPr>
                <a:t> </a:t>
              </a:r>
            </a:p>
          </p:txBody>
        </p:sp>
        <p:sp>
          <p:nvSpPr>
            <p:cNvPr id="52" name="CaixaDeTexto 51">
              <a:extLst>
                <a:ext uri="{FF2B5EF4-FFF2-40B4-BE49-F238E27FC236}">
                  <a16:creationId xmlns:a16="http://schemas.microsoft.com/office/drawing/2014/main" xmlns="" id="{6C95DE2B-1A50-4E5D-8E25-4B46F5D89D1E}"/>
                </a:ext>
              </a:extLst>
            </p:cNvPr>
            <p:cNvSpPr txBox="1"/>
            <p:nvPr/>
          </p:nvSpPr>
          <p:spPr>
            <a:xfrm>
              <a:off x="178636" y="3778999"/>
              <a:ext cx="6132122" cy="83592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285750" indent="-285750">
                <a:buFont typeface="Arial" panose="020B0604020202020204" pitchFamily="34" charset="0"/>
                <a:buChar char="•"/>
                <a:defRPr sz="1400" b="1">
                  <a:solidFill>
                    <a:schemeClr val="bg2">
                      <a:lumMod val="50000"/>
                    </a:schemeClr>
                  </a:solidFill>
                  <a:latin typeface="+mn-lt"/>
                </a:defRPr>
              </a:lvl1pPr>
              <a:lvl2pPr marL="742950" lvl="1" indent="-285750">
                <a:buFont typeface="Arial" panose="020B0604020202020204" pitchFamily="34" charset="0"/>
                <a:buChar char="•"/>
                <a:defRPr sz="1400">
                  <a:solidFill>
                    <a:schemeClr val="bg2">
                      <a:lumMod val="50000"/>
                    </a:schemeClr>
                  </a:solidFill>
                  <a:latin typeface="+mn-lt"/>
                </a:defRPr>
              </a:lvl2pPr>
            </a:lstStyle>
            <a:p>
              <a:r>
                <a:rPr lang="pt-BR" sz="1600" dirty="0">
                  <a:solidFill>
                    <a:schemeClr val="tx2">
                      <a:lumMod val="75000"/>
                    </a:schemeClr>
                  </a:solidFill>
                </a:rPr>
                <a:t>Pesquisa telefônica: </a:t>
              </a:r>
              <a:r>
                <a:rPr lang="pt-BR" sz="1600" b="0" dirty="0">
                  <a:solidFill>
                    <a:schemeClr val="tx2">
                      <a:lumMod val="75000"/>
                    </a:schemeClr>
                  </a:solidFill>
                </a:rPr>
                <a:t>33.834 contatos feitos e 2.814 entrevistas realizadas (concurso cultural premiou 10 iPhones)</a:t>
              </a:r>
            </a:p>
            <a:p>
              <a:r>
                <a:rPr lang="pt-BR" sz="1600" dirty="0">
                  <a:solidFill>
                    <a:schemeClr val="tx2">
                      <a:lumMod val="75000"/>
                    </a:schemeClr>
                  </a:solidFill>
                </a:rPr>
                <a:t>Pesquisa Domiciliar: </a:t>
              </a:r>
              <a:r>
                <a:rPr lang="pt-BR" sz="1600" b="0" dirty="0">
                  <a:solidFill>
                    <a:schemeClr val="tx2">
                      <a:lumMod val="75000"/>
                    </a:schemeClr>
                  </a:solidFill>
                </a:rPr>
                <a:t>300</a:t>
              </a:r>
              <a:r>
                <a:rPr lang="pt-BR" sz="1600" dirty="0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pt-BR" sz="1600" b="0" dirty="0">
                  <a:solidFill>
                    <a:schemeClr val="tx2">
                      <a:lumMod val="75000"/>
                    </a:schemeClr>
                  </a:solidFill>
                </a:rPr>
                <a:t>visitas domiciliares e 58 pessoas encontradas</a:t>
              </a:r>
            </a:p>
            <a:p>
              <a:r>
                <a:rPr lang="pt-BR" sz="1600" dirty="0">
                  <a:solidFill>
                    <a:schemeClr val="tx2">
                      <a:lumMod val="75000"/>
                    </a:schemeClr>
                  </a:solidFill>
                </a:rPr>
                <a:t>Grupos Focais: </a:t>
              </a:r>
              <a:r>
                <a:rPr lang="pt-BR" sz="1600" b="0" dirty="0">
                  <a:solidFill>
                    <a:schemeClr val="tx2">
                      <a:lumMod val="75000"/>
                    </a:schemeClr>
                  </a:solidFill>
                </a:rPr>
                <a:t>52 participantes para conversas aprofundadas</a:t>
              </a:r>
            </a:p>
          </p:txBody>
        </p:sp>
      </p:grpSp>
      <p:pic>
        <p:nvPicPr>
          <p:cNvPr id="19" name="Imagem 18">
            <a:hlinkClick r:id="rId7" action="ppaction://hlinksldjump"/>
            <a:extLst>
              <a:ext uri="{FF2B5EF4-FFF2-40B4-BE49-F238E27FC236}">
                <a16:creationId xmlns:a16="http://schemas.microsoft.com/office/drawing/2014/main" xmlns="" id="{1F67C274-5DAE-4BD6-BD8F-C9C021C3C4C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8719" r="8381" b="14319"/>
          <a:stretch/>
        </p:blipFill>
        <p:spPr>
          <a:xfrm rot="10800000">
            <a:off x="7342915" y="5881954"/>
            <a:ext cx="246020" cy="254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3687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8" name="Rectangle 17"/>
          <p:cNvSpPr>
            <a:spLocks noGrp="1" noChangeArrowheads="1"/>
          </p:cNvSpPr>
          <p:nvPr>
            <p:ph type="ctrTitle"/>
          </p:nvPr>
        </p:nvSpPr>
        <p:spPr>
          <a:xfrm>
            <a:off x="363706" y="275358"/>
            <a:ext cx="8597731" cy="528182"/>
          </a:xfrm>
        </p:spPr>
        <p:txBody>
          <a:bodyPr>
            <a:normAutofit/>
          </a:bodyPr>
          <a:lstStyle/>
          <a:p>
            <a:r>
              <a:rPr lang="pt-BR" dirty="0"/>
              <a:t>O CASO DE PERNAMBUCO: APRENDIZAGEM E FLUXO </a:t>
            </a:r>
            <a:endParaRPr lang="en-GB" altLang="en-US" dirty="0"/>
          </a:p>
        </p:txBody>
      </p:sp>
      <p:sp>
        <p:nvSpPr>
          <p:cNvPr id="3079" name="Freeform 7"/>
          <p:cNvSpPr>
            <a:spLocks/>
          </p:cNvSpPr>
          <p:nvPr/>
        </p:nvSpPr>
        <p:spPr bwMode="auto">
          <a:xfrm>
            <a:off x="3375638" y="943580"/>
            <a:ext cx="2519679" cy="1799839"/>
          </a:xfrm>
          <a:custGeom>
            <a:avLst/>
            <a:gdLst>
              <a:gd name="T0" fmla="*/ 245350 w 1636"/>
              <a:gd name="T1" fmla="*/ 1122809 h 1386"/>
              <a:gd name="T2" fmla="*/ 265176 w 1636"/>
              <a:gd name="T3" fmla="*/ 1075716 h 1386"/>
              <a:gd name="T4" fmla="*/ 265176 w 1636"/>
              <a:gd name="T5" fmla="*/ 1033579 h 1386"/>
              <a:gd name="T6" fmla="*/ 287481 w 1636"/>
              <a:gd name="T7" fmla="*/ 991443 h 1386"/>
              <a:gd name="T8" fmla="*/ 322177 w 1636"/>
              <a:gd name="T9" fmla="*/ 974093 h 1386"/>
              <a:gd name="T10" fmla="*/ 374221 w 1636"/>
              <a:gd name="T11" fmla="*/ 984007 h 1386"/>
              <a:gd name="T12" fmla="*/ 463439 w 1636"/>
              <a:gd name="T13" fmla="*/ 1065801 h 1386"/>
              <a:gd name="T14" fmla="*/ 503092 w 1636"/>
              <a:gd name="T15" fmla="*/ 1145117 h 1386"/>
              <a:gd name="T16" fmla="*/ 513005 w 1636"/>
              <a:gd name="T17" fmla="*/ 1216996 h 1386"/>
              <a:gd name="T18" fmla="*/ 500614 w 1636"/>
              <a:gd name="T19" fmla="*/ 1278961 h 1386"/>
              <a:gd name="T20" fmla="*/ 475831 w 1636"/>
              <a:gd name="T21" fmla="*/ 1301269 h 1386"/>
              <a:gd name="T22" fmla="*/ 428743 w 1636"/>
              <a:gd name="T23" fmla="*/ 1311183 h 1386"/>
              <a:gd name="T24" fmla="*/ 354395 w 1636"/>
              <a:gd name="T25" fmla="*/ 1274004 h 1386"/>
              <a:gd name="T26" fmla="*/ 307307 w 1636"/>
              <a:gd name="T27" fmla="*/ 1283919 h 1386"/>
              <a:gd name="T28" fmla="*/ 292438 w 1636"/>
              <a:gd name="T29" fmla="*/ 1311183 h 1386"/>
              <a:gd name="T30" fmla="*/ 297394 w 1636"/>
              <a:gd name="T31" fmla="*/ 1365713 h 1386"/>
              <a:gd name="T32" fmla="*/ 495657 w 1636"/>
              <a:gd name="T33" fmla="*/ 1712718 h 1386"/>
              <a:gd name="T34" fmla="*/ 822791 w 1636"/>
              <a:gd name="T35" fmla="*/ 1717675 h 1386"/>
              <a:gd name="T36" fmla="*/ 899617 w 1636"/>
              <a:gd name="T37" fmla="*/ 1680496 h 1386"/>
              <a:gd name="T38" fmla="*/ 909531 w 1636"/>
              <a:gd name="T39" fmla="*/ 1643317 h 1386"/>
              <a:gd name="T40" fmla="*/ 879791 w 1636"/>
              <a:gd name="T41" fmla="*/ 1598702 h 1386"/>
              <a:gd name="T42" fmla="*/ 820312 w 1636"/>
              <a:gd name="T43" fmla="*/ 1556566 h 1386"/>
              <a:gd name="T44" fmla="*/ 810399 w 1636"/>
              <a:gd name="T45" fmla="*/ 1521865 h 1386"/>
              <a:gd name="T46" fmla="*/ 830225 w 1636"/>
              <a:gd name="T47" fmla="*/ 1472293 h 1386"/>
              <a:gd name="T48" fmla="*/ 907052 w 1636"/>
              <a:gd name="T49" fmla="*/ 1430157 h 1386"/>
              <a:gd name="T50" fmla="*/ 988836 w 1636"/>
              <a:gd name="T51" fmla="*/ 1417763 h 1386"/>
              <a:gd name="T52" fmla="*/ 1100358 w 1636"/>
              <a:gd name="T53" fmla="*/ 1440071 h 1386"/>
              <a:gd name="T54" fmla="*/ 1157359 w 1636"/>
              <a:gd name="T55" fmla="*/ 1484686 h 1386"/>
              <a:gd name="T56" fmla="*/ 1167272 w 1636"/>
              <a:gd name="T57" fmla="*/ 1521865 h 1386"/>
              <a:gd name="T58" fmla="*/ 1152402 w 1636"/>
              <a:gd name="T59" fmla="*/ 1566480 h 1386"/>
              <a:gd name="T60" fmla="*/ 1083010 w 1636"/>
              <a:gd name="T61" fmla="*/ 1613573 h 1386"/>
              <a:gd name="T62" fmla="*/ 1068141 w 1636"/>
              <a:gd name="T63" fmla="*/ 1658188 h 1386"/>
              <a:gd name="T64" fmla="*/ 1087967 w 1636"/>
              <a:gd name="T65" fmla="*/ 1687932 h 1386"/>
              <a:gd name="T66" fmla="*/ 1479536 w 1636"/>
              <a:gd name="T67" fmla="*/ 1717675 h 1386"/>
              <a:gd name="T68" fmla="*/ 1489449 w 1636"/>
              <a:gd name="T69" fmla="*/ 1707761 h 1386"/>
              <a:gd name="T70" fmla="*/ 1660451 w 1636"/>
              <a:gd name="T71" fmla="*/ 1410328 h 1386"/>
              <a:gd name="T72" fmla="*/ 1727365 w 1636"/>
              <a:gd name="T73" fmla="*/ 1368191 h 1386"/>
              <a:gd name="T74" fmla="*/ 1759582 w 1636"/>
              <a:gd name="T75" fmla="*/ 1380584 h 1386"/>
              <a:gd name="T76" fmla="*/ 1781887 w 1636"/>
              <a:gd name="T77" fmla="*/ 1427678 h 1386"/>
              <a:gd name="T78" fmla="*/ 1789322 w 1636"/>
              <a:gd name="T79" fmla="*/ 1499558 h 1386"/>
              <a:gd name="T80" fmla="*/ 1816583 w 1636"/>
              <a:gd name="T81" fmla="*/ 1526822 h 1386"/>
              <a:gd name="T82" fmla="*/ 1866148 w 1636"/>
              <a:gd name="T83" fmla="*/ 1534258 h 1386"/>
              <a:gd name="T84" fmla="*/ 1942975 w 1636"/>
              <a:gd name="T85" fmla="*/ 1489643 h 1386"/>
              <a:gd name="T86" fmla="*/ 1995019 w 1636"/>
              <a:gd name="T87" fmla="*/ 1425199 h 1386"/>
              <a:gd name="T88" fmla="*/ 2022280 w 1636"/>
              <a:gd name="T89" fmla="*/ 1355798 h 1386"/>
              <a:gd name="T90" fmla="*/ 2024759 w 1636"/>
              <a:gd name="T91" fmla="*/ 1271526 h 1386"/>
              <a:gd name="T92" fmla="*/ 1990063 w 1636"/>
              <a:gd name="T93" fmla="*/ 1226911 h 1386"/>
              <a:gd name="T94" fmla="*/ 1945454 w 1636"/>
              <a:gd name="T95" fmla="*/ 1219475 h 1386"/>
              <a:gd name="T96" fmla="*/ 1871105 w 1636"/>
              <a:gd name="T97" fmla="*/ 1254175 h 1386"/>
              <a:gd name="T98" fmla="*/ 1824018 w 1636"/>
              <a:gd name="T99" fmla="*/ 1244261 h 1386"/>
              <a:gd name="T100" fmla="*/ 1806670 w 1636"/>
              <a:gd name="T101" fmla="*/ 1216996 h 1386"/>
              <a:gd name="T102" fmla="*/ 1814105 w 1636"/>
              <a:gd name="T103" fmla="*/ 1147595 h 1386"/>
              <a:gd name="T104" fmla="*/ 1960323 w 1636"/>
              <a:gd name="T105" fmla="*/ 827855 h 1386"/>
              <a:gd name="T106" fmla="*/ 399004 w 1636"/>
              <a:gd name="T107" fmla="*/ 163588 h 1386"/>
              <a:gd name="T108" fmla="*/ 163567 w 1636"/>
              <a:gd name="T109" fmla="*/ 1117852 h 1386"/>
              <a:gd name="T110" fmla="*/ 218089 w 1636"/>
              <a:gd name="T111" fmla="*/ 1140159 h 138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36" h="1386">
                <a:moveTo>
                  <a:pt x="184" y="918"/>
                </a:moveTo>
                <a:lnTo>
                  <a:pt x="184" y="918"/>
                </a:lnTo>
                <a:lnTo>
                  <a:pt x="192" y="912"/>
                </a:lnTo>
                <a:lnTo>
                  <a:pt x="198" y="906"/>
                </a:lnTo>
                <a:lnTo>
                  <a:pt x="204" y="900"/>
                </a:lnTo>
                <a:lnTo>
                  <a:pt x="208" y="894"/>
                </a:lnTo>
                <a:lnTo>
                  <a:pt x="212" y="882"/>
                </a:lnTo>
                <a:lnTo>
                  <a:pt x="214" y="868"/>
                </a:lnTo>
                <a:lnTo>
                  <a:pt x="212" y="850"/>
                </a:lnTo>
                <a:lnTo>
                  <a:pt x="214" y="834"/>
                </a:lnTo>
                <a:lnTo>
                  <a:pt x="216" y="820"/>
                </a:lnTo>
                <a:lnTo>
                  <a:pt x="220" y="812"/>
                </a:lnTo>
                <a:lnTo>
                  <a:pt x="224" y="806"/>
                </a:lnTo>
                <a:lnTo>
                  <a:pt x="232" y="800"/>
                </a:lnTo>
                <a:lnTo>
                  <a:pt x="240" y="794"/>
                </a:lnTo>
                <a:lnTo>
                  <a:pt x="250" y="788"/>
                </a:lnTo>
                <a:lnTo>
                  <a:pt x="260" y="786"/>
                </a:lnTo>
                <a:lnTo>
                  <a:pt x="270" y="786"/>
                </a:lnTo>
                <a:lnTo>
                  <a:pt x="282" y="786"/>
                </a:lnTo>
                <a:lnTo>
                  <a:pt x="292" y="790"/>
                </a:lnTo>
                <a:lnTo>
                  <a:pt x="302" y="794"/>
                </a:lnTo>
                <a:lnTo>
                  <a:pt x="324" y="808"/>
                </a:lnTo>
                <a:lnTo>
                  <a:pt x="344" y="824"/>
                </a:lnTo>
                <a:lnTo>
                  <a:pt x="360" y="842"/>
                </a:lnTo>
                <a:lnTo>
                  <a:pt x="374" y="860"/>
                </a:lnTo>
                <a:lnTo>
                  <a:pt x="384" y="876"/>
                </a:lnTo>
                <a:lnTo>
                  <a:pt x="396" y="898"/>
                </a:lnTo>
                <a:lnTo>
                  <a:pt x="406" y="924"/>
                </a:lnTo>
                <a:lnTo>
                  <a:pt x="412" y="954"/>
                </a:lnTo>
                <a:lnTo>
                  <a:pt x="414" y="968"/>
                </a:lnTo>
                <a:lnTo>
                  <a:pt x="414" y="982"/>
                </a:lnTo>
                <a:lnTo>
                  <a:pt x="414" y="1004"/>
                </a:lnTo>
                <a:lnTo>
                  <a:pt x="412" y="1014"/>
                </a:lnTo>
                <a:lnTo>
                  <a:pt x="408" y="1022"/>
                </a:lnTo>
                <a:lnTo>
                  <a:pt x="404" y="1032"/>
                </a:lnTo>
                <a:lnTo>
                  <a:pt x="398" y="1038"/>
                </a:lnTo>
                <a:lnTo>
                  <a:pt x="392" y="1046"/>
                </a:lnTo>
                <a:lnTo>
                  <a:pt x="384" y="1050"/>
                </a:lnTo>
                <a:lnTo>
                  <a:pt x="374" y="1056"/>
                </a:lnTo>
                <a:lnTo>
                  <a:pt x="364" y="1058"/>
                </a:lnTo>
                <a:lnTo>
                  <a:pt x="354" y="1058"/>
                </a:lnTo>
                <a:lnTo>
                  <a:pt x="346" y="1058"/>
                </a:lnTo>
                <a:lnTo>
                  <a:pt x="330" y="1052"/>
                </a:lnTo>
                <a:lnTo>
                  <a:pt x="316" y="1042"/>
                </a:lnTo>
                <a:lnTo>
                  <a:pt x="302" y="1034"/>
                </a:lnTo>
                <a:lnTo>
                  <a:pt x="286" y="1028"/>
                </a:lnTo>
                <a:lnTo>
                  <a:pt x="278" y="1028"/>
                </a:lnTo>
                <a:lnTo>
                  <a:pt x="268" y="1028"/>
                </a:lnTo>
                <a:lnTo>
                  <a:pt x="258" y="1032"/>
                </a:lnTo>
                <a:lnTo>
                  <a:pt x="248" y="1036"/>
                </a:lnTo>
                <a:lnTo>
                  <a:pt x="242" y="1042"/>
                </a:lnTo>
                <a:lnTo>
                  <a:pt x="238" y="1048"/>
                </a:lnTo>
                <a:lnTo>
                  <a:pt x="236" y="1058"/>
                </a:lnTo>
                <a:lnTo>
                  <a:pt x="234" y="1068"/>
                </a:lnTo>
                <a:lnTo>
                  <a:pt x="236" y="1086"/>
                </a:lnTo>
                <a:lnTo>
                  <a:pt x="240" y="1102"/>
                </a:lnTo>
                <a:lnTo>
                  <a:pt x="398" y="1378"/>
                </a:lnTo>
                <a:lnTo>
                  <a:pt x="402" y="1378"/>
                </a:lnTo>
                <a:lnTo>
                  <a:pt x="402" y="1380"/>
                </a:lnTo>
                <a:lnTo>
                  <a:pt x="400" y="1382"/>
                </a:lnTo>
                <a:lnTo>
                  <a:pt x="402" y="1386"/>
                </a:lnTo>
                <a:lnTo>
                  <a:pt x="664" y="1386"/>
                </a:lnTo>
                <a:lnTo>
                  <a:pt x="686" y="1380"/>
                </a:lnTo>
                <a:lnTo>
                  <a:pt x="708" y="1368"/>
                </a:lnTo>
                <a:lnTo>
                  <a:pt x="718" y="1362"/>
                </a:lnTo>
                <a:lnTo>
                  <a:pt x="726" y="1356"/>
                </a:lnTo>
                <a:lnTo>
                  <a:pt x="732" y="1346"/>
                </a:lnTo>
                <a:lnTo>
                  <a:pt x="734" y="1338"/>
                </a:lnTo>
                <a:lnTo>
                  <a:pt x="734" y="1326"/>
                </a:lnTo>
                <a:lnTo>
                  <a:pt x="730" y="1316"/>
                </a:lnTo>
                <a:lnTo>
                  <a:pt x="728" y="1308"/>
                </a:lnTo>
                <a:lnTo>
                  <a:pt x="722" y="1302"/>
                </a:lnTo>
                <a:lnTo>
                  <a:pt x="710" y="1290"/>
                </a:lnTo>
                <a:lnTo>
                  <a:pt x="694" y="1282"/>
                </a:lnTo>
                <a:lnTo>
                  <a:pt x="680" y="1274"/>
                </a:lnTo>
                <a:lnTo>
                  <a:pt x="668" y="1264"/>
                </a:lnTo>
                <a:lnTo>
                  <a:pt x="662" y="1256"/>
                </a:lnTo>
                <a:lnTo>
                  <a:pt x="658" y="1248"/>
                </a:lnTo>
                <a:lnTo>
                  <a:pt x="656" y="1240"/>
                </a:lnTo>
                <a:lnTo>
                  <a:pt x="654" y="1228"/>
                </a:lnTo>
                <a:lnTo>
                  <a:pt x="656" y="1216"/>
                </a:lnTo>
                <a:lnTo>
                  <a:pt x="658" y="1206"/>
                </a:lnTo>
                <a:lnTo>
                  <a:pt x="664" y="1198"/>
                </a:lnTo>
                <a:lnTo>
                  <a:pt x="670" y="1188"/>
                </a:lnTo>
                <a:lnTo>
                  <a:pt x="678" y="1180"/>
                </a:lnTo>
                <a:lnTo>
                  <a:pt x="688" y="1174"/>
                </a:lnTo>
                <a:lnTo>
                  <a:pt x="708" y="1162"/>
                </a:lnTo>
                <a:lnTo>
                  <a:pt x="732" y="1154"/>
                </a:lnTo>
                <a:lnTo>
                  <a:pt x="756" y="1148"/>
                </a:lnTo>
                <a:lnTo>
                  <a:pt x="780" y="1144"/>
                </a:lnTo>
                <a:lnTo>
                  <a:pt x="798" y="1144"/>
                </a:lnTo>
                <a:lnTo>
                  <a:pt x="818" y="1144"/>
                </a:lnTo>
                <a:lnTo>
                  <a:pt x="840" y="1148"/>
                </a:lnTo>
                <a:lnTo>
                  <a:pt x="864" y="1154"/>
                </a:lnTo>
                <a:lnTo>
                  <a:pt x="888" y="1162"/>
                </a:lnTo>
                <a:lnTo>
                  <a:pt x="910" y="1174"/>
                </a:lnTo>
                <a:lnTo>
                  <a:pt x="918" y="1180"/>
                </a:lnTo>
                <a:lnTo>
                  <a:pt x="926" y="1188"/>
                </a:lnTo>
                <a:lnTo>
                  <a:pt x="934" y="1198"/>
                </a:lnTo>
                <a:lnTo>
                  <a:pt x="938" y="1206"/>
                </a:lnTo>
                <a:lnTo>
                  <a:pt x="942" y="1216"/>
                </a:lnTo>
                <a:lnTo>
                  <a:pt x="942" y="1228"/>
                </a:lnTo>
                <a:lnTo>
                  <a:pt x="942" y="1240"/>
                </a:lnTo>
                <a:lnTo>
                  <a:pt x="938" y="1248"/>
                </a:lnTo>
                <a:lnTo>
                  <a:pt x="934" y="1256"/>
                </a:lnTo>
                <a:lnTo>
                  <a:pt x="930" y="1264"/>
                </a:lnTo>
                <a:lnTo>
                  <a:pt x="916" y="1274"/>
                </a:lnTo>
                <a:lnTo>
                  <a:pt x="902" y="1282"/>
                </a:lnTo>
                <a:lnTo>
                  <a:pt x="888" y="1290"/>
                </a:lnTo>
                <a:lnTo>
                  <a:pt x="874" y="1302"/>
                </a:lnTo>
                <a:lnTo>
                  <a:pt x="870" y="1308"/>
                </a:lnTo>
                <a:lnTo>
                  <a:pt x="866" y="1316"/>
                </a:lnTo>
                <a:lnTo>
                  <a:pt x="864" y="1326"/>
                </a:lnTo>
                <a:lnTo>
                  <a:pt x="862" y="1338"/>
                </a:lnTo>
                <a:lnTo>
                  <a:pt x="864" y="1346"/>
                </a:lnTo>
                <a:lnTo>
                  <a:pt x="870" y="1356"/>
                </a:lnTo>
                <a:lnTo>
                  <a:pt x="878" y="1362"/>
                </a:lnTo>
                <a:lnTo>
                  <a:pt x="888" y="1368"/>
                </a:lnTo>
                <a:lnTo>
                  <a:pt x="912" y="1380"/>
                </a:lnTo>
                <a:lnTo>
                  <a:pt x="934" y="1386"/>
                </a:lnTo>
                <a:lnTo>
                  <a:pt x="1194" y="1386"/>
                </a:lnTo>
                <a:lnTo>
                  <a:pt x="1198" y="1380"/>
                </a:lnTo>
                <a:lnTo>
                  <a:pt x="1198" y="1378"/>
                </a:lnTo>
                <a:lnTo>
                  <a:pt x="1202" y="1378"/>
                </a:lnTo>
                <a:lnTo>
                  <a:pt x="1204" y="1372"/>
                </a:lnTo>
                <a:lnTo>
                  <a:pt x="1240" y="1310"/>
                </a:lnTo>
                <a:lnTo>
                  <a:pt x="1340" y="1138"/>
                </a:lnTo>
                <a:lnTo>
                  <a:pt x="1356" y="1124"/>
                </a:lnTo>
                <a:lnTo>
                  <a:pt x="1376" y="1112"/>
                </a:lnTo>
                <a:lnTo>
                  <a:pt x="1384" y="1108"/>
                </a:lnTo>
                <a:lnTo>
                  <a:pt x="1394" y="1104"/>
                </a:lnTo>
                <a:lnTo>
                  <a:pt x="1402" y="1104"/>
                </a:lnTo>
                <a:lnTo>
                  <a:pt x="1410" y="1108"/>
                </a:lnTo>
                <a:lnTo>
                  <a:pt x="1420" y="1114"/>
                </a:lnTo>
                <a:lnTo>
                  <a:pt x="1426" y="1122"/>
                </a:lnTo>
                <a:lnTo>
                  <a:pt x="1432" y="1128"/>
                </a:lnTo>
                <a:lnTo>
                  <a:pt x="1436" y="1136"/>
                </a:lnTo>
                <a:lnTo>
                  <a:pt x="1438" y="1152"/>
                </a:lnTo>
                <a:lnTo>
                  <a:pt x="1438" y="1170"/>
                </a:lnTo>
                <a:lnTo>
                  <a:pt x="1438" y="1186"/>
                </a:lnTo>
                <a:lnTo>
                  <a:pt x="1440" y="1202"/>
                </a:lnTo>
                <a:lnTo>
                  <a:pt x="1444" y="1210"/>
                </a:lnTo>
                <a:lnTo>
                  <a:pt x="1448" y="1218"/>
                </a:lnTo>
                <a:lnTo>
                  <a:pt x="1456" y="1226"/>
                </a:lnTo>
                <a:lnTo>
                  <a:pt x="1466" y="1232"/>
                </a:lnTo>
                <a:lnTo>
                  <a:pt x="1476" y="1236"/>
                </a:lnTo>
                <a:lnTo>
                  <a:pt x="1486" y="1240"/>
                </a:lnTo>
                <a:lnTo>
                  <a:pt x="1496" y="1240"/>
                </a:lnTo>
                <a:lnTo>
                  <a:pt x="1506" y="1238"/>
                </a:lnTo>
                <a:lnTo>
                  <a:pt x="1518" y="1234"/>
                </a:lnTo>
                <a:lnTo>
                  <a:pt x="1528" y="1230"/>
                </a:lnTo>
                <a:lnTo>
                  <a:pt x="1550" y="1218"/>
                </a:lnTo>
                <a:lnTo>
                  <a:pt x="1568" y="1202"/>
                </a:lnTo>
                <a:lnTo>
                  <a:pt x="1586" y="1184"/>
                </a:lnTo>
                <a:lnTo>
                  <a:pt x="1600" y="1166"/>
                </a:lnTo>
                <a:lnTo>
                  <a:pt x="1610" y="1150"/>
                </a:lnTo>
                <a:lnTo>
                  <a:pt x="1618" y="1132"/>
                </a:lnTo>
                <a:lnTo>
                  <a:pt x="1628" y="1112"/>
                </a:lnTo>
                <a:lnTo>
                  <a:pt x="1632" y="1094"/>
                </a:lnTo>
                <a:lnTo>
                  <a:pt x="1636" y="1076"/>
                </a:lnTo>
                <a:lnTo>
                  <a:pt x="1636" y="1060"/>
                </a:lnTo>
                <a:lnTo>
                  <a:pt x="1636" y="1042"/>
                </a:lnTo>
                <a:lnTo>
                  <a:pt x="1634" y="1026"/>
                </a:lnTo>
                <a:lnTo>
                  <a:pt x="1628" y="1012"/>
                </a:lnTo>
                <a:lnTo>
                  <a:pt x="1618" y="1000"/>
                </a:lnTo>
                <a:lnTo>
                  <a:pt x="1606" y="990"/>
                </a:lnTo>
                <a:lnTo>
                  <a:pt x="1596" y="986"/>
                </a:lnTo>
                <a:lnTo>
                  <a:pt x="1586" y="984"/>
                </a:lnTo>
                <a:lnTo>
                  <a:pt x="1578" y="982"/>
                </a:lnTo>
                <a:lnTo>
                  <a:pt x="1570" y="984"/>
                </a:lnTo>
                <a:lnTo>
                  <a:pt x="1554" y="990"/>
                </a:lnTo>
                <a:lnTo>
                  <a:pt x="1540" y="998"/>
                </a:lnTo>
                <a:lnTo>
                  <a:pt x="1524" y="1006"/>
                </a:lnTo>
                <a:lnTo>
                  <a:pt x="1510" y="1012"/>
                </a:lnTo>
                <a:lnTo>
                  <a:pt x="1500" y="1014"/>
                </a:lnTo>
                <a:lnTo>
                  <a:pt x="1492" y="1012"/>
                </a:lnTo>
                <a:lnTo>
                  <a:pt x="1482" y="1010"/>
                </a:lnTo>
                <a:lnTo>
                  <a:pt x="1472" y="1004"/>
                </a:lnTo>
                <a:lnTo>
                  <a:pt x="1464" y="1000"/>
                </a:lnTo>
                <a:lnTo>
                  <a:pt x="1460" y="992"/>
                </a:lnTo>
                <a:lnTo>
                  <a:pt x="1458" y="982"/>
                </a:lnTo>
                <a:lnTo>
                  <a:pt x="1458" y="972"/>
                </a:lnTo>
                <a:lnTo>
                  <a:pt x="1458" y="950"/>
                </a:lnTo>
                <a:lnTo>
                  <a:pt x="1462" y="928"/>
                </a:lnTo>
                <a:lnTo>
                  <a:pt x="1464" y="926"/>
                </a:lnTo>
                <a:lnTo>
                  <a:pt x="1466" y="920"/>
                </a:lnTo>
                <a:lnTo>
                  <a:pt x="1598" y="692"/>
                </a:lnTo>
                <a:lnTo>
                  <a:pt x="1582" y="668"/>
                </a:lnTo>
                <a:lnTo>
                  <a:pt x="1584" y="668"/>
                </a:lnTo>
                <a:lnTo>
                  <a:pt x="1198" y="0"/>
                </a:lnTo>
                <a:lnTo>
                  <a:pt x="398" y="0"/>
                </a:lnTo>
                <a:lnTo>
                  <a:pt x="322" y="132"/>
                </a:lnTo>
                <a:lnTo>
                  <a:pt x="0" y="690"/>
                </a:lnTo>
                <a:lnTo>
                  <a:pt x="116" y="888"/>
                </a:lnTo>
                <a:lnTo>
                  <a:pt x="132" y="902"/>
                </a:lnTo>
                <a:lnTo>
                  <a:pt x="150" y="914"/>
                </a:lnTo>
                <a:lnTo>
                  <a:pt x="160" y="918"/>
                </a:lnTo>
                <a:lnTo>
                  <a:pt x="168" y="920"/>
                </a:lnTo>
                <a:lnTo>
                  <a:pt x="176" y="920"/>
                </a:lnTo>
                <a:lnTo>
                  <a:pt x="184" y="918"/>
                </a:lnTo>
                <a:close/>
              </a:path>
            </a:pathLst>
          </a:custGeom>
          <a:solidFill>
            <a:srgbClr val="179A9D"/>
          </a:solidFill>
          <a:ln w="38100" cap="flat" cmpd="sng">
            <a:solidFill>
              <a:srgbClr val="179A9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 sz="1568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xmlns="" id="{903A581B-8F83-4637-A9AA-D8906877254D}"/>
              </a:ext>
            </a:extLst>
          </p:cNvPr>
          <p:cNvSpPr/>
          <p:nvPr/>
        </p:nvSpPr>
        <p:spPr>
          <a:xfrm>
            <a:off x="3483004" y="1063510"/>
            <a:ext cx="475988" cy="4759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827583E-0A9D-4FD4-8889-DDBCF82D3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26E91-FA1B-6245-924D-A20CF7519F8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CaixaDeTexto 43">
            <a:extLst>
              <a:ext uri="{FF2B5EF4-FFF2-40B4-BE49-F238E27FC236}">
                <a16:creationId xmlns:a16="http://schemas.microsoft.com/office/drawing/2014/main" xmlns="" id="{2DF457F5-5EFA-4B07-9942-E8B9968AB06D}"/>
              </a:ext>
            </a:extLst>
          </p:cNvPr>
          <p:cNvSpPr txBox="1"/>
          <p:nvPr/>
        </p:nvSpPr>
        <p:spPr>
          <a:xfrm>
            <a:off x="3922302" y="1002949"/>
            <a:ext cx="187566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FFFFFF"/>
                </a:solidFill>
                <a:latin typeface="Candara"/>
              </a:rPr>
              <a:t>O caso de Pernambuco: 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resultados positivos em </a:t>
            </a:r>
            <a:r>
              <a:rPr lang="pt-BR" b="1" dirty="0">
                <a:solidFill>
                  <a:srgbClr val="FFFFFF"/>
                </a:solidFill>
                <a:latin typeface="Candara"/>
              </a:rPr>
              <a:t>aprendizagem e fluxo</a:t>
            </a:r>
            <a:r>
              <a:rPr lang="pt-BR" dirty="0">
                <a:solidFill>
                  <a:srgbClr val="FFFFFF"/>
                </a:solidFill>
                <a:latin typeface="Candara"/>
              </a:rPr>
              <a:t>.</a:t>
            </a:r>
          </a:p>
          <a:p>
            <a:pPr lvl="0"/>
            <a:endParaRPr lang="pt-BR" dirty="0">
              <a:solidFill>
                <a:srgbClr val="FFFFFF"/>
              </a:solidFill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7770907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Title 1"/>
          <p:cNvSpPr>
            <a:spLocks noGrp="1"/>
          </p:cNvSpPr>
          <p:nvPr>
            <p:ph type="ctrTitle"/>
          </p:nvPr>
        </p:nvSpPr>
        <p:spPr>
          <a:xfrm>
            <a:off x="349770" y="266014"/>
            <a:ext cx="8524948" cy="528182"/>
          </a:xfrm>
        </p:spPr>
        <p:txBody>
          <a:bodyPr>
            <a:noAutofit/>
          </a:bodyPr>
          <a:lstStyle/>
          <a:p>
            <a:r>
              <a:rPr lang="pt-BR" dirty="0"/>
              <a:t>PERNAMBUCO Apresenta uma situação socioeconômica desafiadora</a:t>
            </a:r>
          </a:p>
        </p:txBody>
      </p:sp>
      <p:sp>
        <p:nvSpPr>
          <p:cNvPr id="537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3404469" y="6391660"/>
            <a:ext cx="2091002" cy="279638"/>
          </a:xfrm>
        </p:spPr>
        <p:txBody>
          <a:bodyPr/>
          <a:lstStyle/>
          <a:p>
            <a:fld id="{54E26E91-FA1B-6245-924D-A20CF7519F8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77" name="Picture 2" descr="Bandeira de Pernambuco">
            <a:extLst>
              <a:ext uri="{FF2B5EF4-FFF2-40B4-BE49-F238E27FC236}">
                <a16:creationId xmlns:a16="http://schemas.microsoft.com/office/drawing/2014/main" xmlns="" id="{2C20926F-903D-4522-BFAA-11C0BD3089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4109" y="91282"/>
            <a:ext cx="354546" cy="26967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xmlns="" id="{2A94DBEA-AD3F-48DE-9A0A-A78D16CB133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346142"/>
              </p:ext>
            </p:extLst>
          </p:nvPr>
        </p:nvGraphicFramePr>
        <p:xfrm>
          <a:off x="76840" y="2770496"/>
          <a:ext cx="5020548" cy="26681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Chart" r:id="rId60" imgW="4819599" imgH="2476597" progId="MSGraph.Chart.8">
                  <p:embed followColorScheme="full"/>
                </p:oleObj>
              </mc:Choice>
              <mc:Fallback>
                <p:oleObj name="Chart" r:id="rId60" imgW="4819599" imgH="2476597" progId="MSGraph.Chart.8">
                  <p:embed followColorScheme="full"/>
                  <p:pic>
                    <p:nvPicPr>
                      <p:cNvPr id="8" name="Object 3">
                        <a:extLst>
                          <a:ext uri="{FF2B5EF4-FFF2-40B4-BE49-F238E27FC236}">
                            <a16:creationId xmlns:a16="http://schemas.microsoft.com/office/drawing/2014/main" xmlns="" id="{2A94DBEA-AD3F-48DE-9A0A-A78D16CB1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76840" y="2770496"/>
                        <a:ext cx="5020548" cy="2668101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xmlns="" id="{6DE42598-467B-4F5A-AD78-E6CF01CF26B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 flipV="1">
            <a:off x="1962433" y="5438597"/>
            <a:ext cx="182563" cy="24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35A458C-EACC-45B2-B0DF-B114EA23B8B9}" type="datetime'''''''M''''''''''''G''''''''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MG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xmlns="" id="{F46928B9-0275-49C5-91BD-27386A0206C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 flipV="1">
            <a:off x="1629058" y="5438597"/>
            <a:ext cx="182563" cy="187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71C96CA-E035-4E4E-A908-62B9DFECBF49}" type="datetime'''''''''''''''''E''''''''''''''''''''S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ES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C27EF4AA-40A7-4B77-926F-B25CD37ACE1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 flipV="1">
            <a:off x="2481545" y="5438597"/>
            <a:ext cx="182563" cy="20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016A5D3-FC9C-4C26-8F43-AEFA27054B38}" type="datetime'R''''''''''''''R''''''''''''''''''''''''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RR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B866229E-28E6-4201-81A3-F5B32B4DA62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 flipV="1">
            <a:off x="2143408" y="5438597"/>
            <a:ext cx="18256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33861B6-2A0F-4163-96AA-288574267A54}" type="datetime'''''''''''''''''''''''''''''''''''''''''''''A''M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AM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xmlns="" id="{D9B15458-F7B0-4BE9-B20D-6BD6C8FB710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 flipV="1">
            <a:off x="2314858" y="5438597"/>
            <a:ext cx="182563" cy="21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8579675-FE47-4155-A49C-11B389D31125}" type="datetime'''''''''''''R''''''''''''''O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RO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xmlns="" id="{881DAAE0-D266-4407-BA77-F8BE4F752C4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 flipV="1">
            <a:off x="3038758" y="5438597"/>
            <a:ext cx="182563" cy="184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FB4AB79-9877-41C4-A31E-89C7F2E972D8}" type="datetime'''''''''''''''''''''''''''''''''''''''S''E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SE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xmlns="" id="{4F7ADBCD-96E0-46CC-AA05-1CE875C0BA1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 flipV="1">
            <a:off x="2857783" y="5438597"/>
            <a:ext cx="182563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13FF650-E447-4D7D-9EF9-E58FD665C005}" type="datetime'''''''''''''''''''''''''A''''''''''''''P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AP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xmlns="" id="{9BBC5EA8-B180-4057-BB3D-0070DA3F58C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 flipV="1">
            <a:off x="1438558" y="5438597"/>
            <a:ext cx="182563" cy="220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5E151CA-D7F8-48CB-92D6-35FDECB4144A}" type="datetime'''''''M''S''''''''''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MS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xmlns="" id="{3C4AC43A-8DA7-4DC5-8C8E-73BE48E607B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 flipV="1">
            <a:off x="2648233" y="5438597"/>
            <a:ext cx="182563" cy="193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4B94549-8EAD-4C7C-BAEA-C1745CEAA5DD}" type="datetime'T''''''''O''''''''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TO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xmlns="" id="{F3FE4C93-1641-4C4B-91B7-4F554BC142E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 flipV="1">
            <a:off x="1790983" y="5438597"/>
            <a:ext cx="182563" cy="231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2AFFFFE-8039-4039-BFF8-8B2FE5567E94}" type="datetime'''''''''''''''G''''''''''''''''''''O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GO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xmlns="" id="{DEB9D5C9-7042-4854-BC85-DA826EC4C07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 flipV="1">
            <a:off x="3419758" y="5438597"/>
            <a:ext cx="182563" cy="187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8638D86B-6C2F-450B-A40E-A35C1AD0E198}" type="datetime'''P''''''''''E''''''''''''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PE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xmlns="" id="{3CAB0DF4-6824-4F41-8541-AD581238F81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 flipV="1">
            <a:off x="3610258" y="5438597"/>
            <a:ext cx="182563" cy="214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31E7941-6D2E-4A71-A917-8AC7405EFAA2}" type="datetime'''''RN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RN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xmlns="" id="{020D902B-8329-4D65-8F35-9A1913D2651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 flipV="1">
            <a:off x="3229258" y="5438597"/>
            <a:ext cx="182563" cy="201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8B7F4F32-633A-41CC-96F2-63F1B077E306}" type="datetime'''''''''''''''''''''A''''''''''''''''''''''''C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AC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xmlns="" id="{375FFBFA-156B-40DF-AD2B-EDA0ACA8310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 flipV="1">
            <a:off x="4129370" y="5438597"/>
            <a:ext cx="182563" cy="196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BEDC8E9-07E2-447B-9438-6FFF99708E11}" type="datetime'''''''''''''''''''''''''''''''''''''''''''''''C''E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CE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xmlns="" id="{B1016DC9-B28E-4515-90D1-779981A6071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 flipV="1">
            <a:off x="3953158" y="5438597"/>
            <a:ext cx="182563" cy="17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EEDCDAE-E73F-4E6C-9DEB-703E797E894C}" type="datetime'P''''''A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PA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xmlns="" id="{21451DC9-5E93-437F-90EC-0EF9D667B17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 flipV="1">
            <a:off x="3781708" y="5438597"/>
            <a:ext cx="182563" cy="20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4DD6882-2CA4-4A1E-A7AC-10E51876F8EF}" type="datetime'''''''''''''B''''''''''''''''''''''''''''''''''''''A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BA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xmlns="" id="{D144166E-1FC9-46F6-B846-733B1F707B9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 flipV="1">
            <a:off x="4638958" y="5438597"/>
            <a:ext cx="182563" cy="134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3E73DC6-845E-4F38-BBD0-B238CED69DAD}" type="datetime'''''PI''''''''''''''''''''''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PI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xmlns="" id="{14BE03BA-4E7E-4274-BD84-0C9A2346AA0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 flipV="1">
            <a:off x="4477033" y="5438597"/>
            <a:ext cx="182563" cy="184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48D72F7-464B-476B-BE31-18C6EECD969C}" type="datetime'''''''''''''''''''''''''''''A''''''L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AL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xmlns="" id="{34E08EEE-01B7-4BC2-A5D4-5D42F9E61BD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 flipV="1">
            <a:off x="4286533" y="5438597"/>
            <a:ext cx="182563" cy="195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98D41C4-99DE-4AF1-AC30-DA9D67929A03}" type="datetime'P''''B''''''''''''''''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PB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xmlns="" id="{0A171260-7AD7-4412-9FCB-15A6107411F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 flipV="1">
            <a:off x="4810408" y="5438597"/>
            <a:ext cx="18256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01C4A00-A4AE-40CE-90B0-6FD5AA24E433}" type="datetime'''''''''''''M''''''''A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MA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xmlns="" id="{6B245860-EA9C-495B-BE7A-A6442BB1CF8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 flipV="1">
            <a:off x="1086133" y="5438597"/>
            <a:ext cx="182563" cy="193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DCE0E22-C926-48C2-A9BC-AA40A3204784}" type="datetime'PR''''''''''''''''''''''''''''''''''''''''''''''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PR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xmlns="" id="{890C890E-5E96-4278-90E4-DBFF0D3ACFD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 flipV="1">
            <a:off x="900395" y="5438597"/>
            <a:ext cx="182563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C6AD208-5CED-4C5D-B9FE-319743416448}" type="datetime'''''R''''''''''''''''''''''S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RS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xmlns="" id="{98AD879A-EBAB-42E5-A2F8-BDD66B4BB16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 flipV="1">
            <a:off x="1276633" y="5438597"/>
            <a:ext cx="182563" cy="21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45B0E75-DAE7-4CB0-8588-2BE6F5363997}" type="datetime'''''''''''''''''M''''''''''''''''''''''T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MT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xmlns="" id="{0DB14136-1E40-48FA-93EA-F7998C8E04F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 flipV="1">
            <a:off x="743233" y="5438597"/>
            <a:ext cx="182563" cy="195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09CB893-96EE-4C7E-95C9-0D3FB3E69084}" type="datetime'''''S''''''''C''''''''''''''''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SC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xmlns="" id="{E2CE7217-8ABF-4585-A7F5-7CF015EEE58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 flipV="1">
            <a:off x="571783" y="5438597"/>
            <a:ext cx="182563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F14F18B-6404-4EA1-8BA8-69FDBFF6C260}" type="datetime'R''''''''''''''''''''J''''''''''''''''''''''''''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RJ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xmlns="" id="{4279C60C-ED5D-4A57-89E7-89D3B8D0D25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 flipV="1">
            <a:off x="383841" y="5438597"/>
            <a:ext cx="182563" cy="184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7127B08-2090-4675-AAE2-C1C70F06413D}" type="datetime'''SP''''''''''''''''''''''''''''''''''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SP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xmlns="" id="{8F10A542-1DAC-4423-BB6F-C64A2AB0343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 flipV="1">
            <a:off x="213670" y="5438597"/>
            <a:ext cx="182563" cy="193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351F5D0-0759-4ADA-AA5A-A147ACA5C530}" type="datetime'''''''''''''''''''''D''''''''''''''''F'''''''''''''''">
              <a:rPr lang="en-US" altLang="en-US" sz="1300" b="1">
                <a:solidFill>
                  <a:schemeClr val="tx2"/>
                </a:solidFill>
                <a:sym typeface="NaturaSans" panose="02000503070000020004" pitchFamily="50" charset="0"/>
              </a:rPr>
              <a:pPr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DF</a:t>
            </a:fld>
            <a:endParaRPr lang="en-US" sz="1300" b="1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xmlns="" id="{4F0E3997-08C5-40C5-9DF1-3F844A469A5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081745" y="4587742"/>
            <a:ext cx="1825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BF7CF39-C72A-40B6-991A-1A1B528B5D31}" type="datetime'''''''1''''''''''''5''''''''''''''''''''''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5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xmlns="" id="{BBAF9832-5A37-4C40-AC77-5A3ED613AD5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273833" y="4625842"/>
            <a:ext cx="1873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8F06566-70F1-4628-A9AC-E9719D2CD602}" type="datetime'1''''''4''''''''''''''''''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4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xmlns="" id="{7589387B-3D9E-4B20-8BD7-A1702571366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648483" y="4654417"/>
            <a:ext cx="1809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41754EE-F779-4200-9CB9-D15C90757717}" type="datetime'''''1''''''''''''''''''''''''''''''''''''''''''2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2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xmlns="" id="{AB3F82EC-BBFD-497E-8A78-98EB44E649D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445283" y="4635367"/>
            <a:ext cx="1873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02A5A35-43DB-497C-BFA8-89D3EB9C941D}" type="datetime'''1''4''''''''''''''''''''''''''''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4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xmlns="" id="{F3C4F681-E75A-4F77-9849-84CB1D890B9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861763" y="4701909"/>
            <a:ext cx="1460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75583B1-8B6C-4BEB-8B4E-DD754BB60254}" type="datetime'''''''''''''''''''''1''''''''''''''''''''''''1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1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xmlns="" id="{CB0C890D-A2C5-44FC-BC0E-806ECDB0995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952908" y="4286117"/>
            <a:ext cx="2174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EB0DAAE-6086-4EEA-AEFD-541C273DC8EF}" type="datetime'''''''''''''''''''2''''''''''''''''''''''''''''''''''5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25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xmlns="" id="{9B005FDF-171E-4AB2-BBFA-34C42FBD741B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446495" y="4044817"/>
            <a:ext cx="1841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8B785686-F480-43FB-8786-124780BF877B}" type="datetime'''3''''''''''''''''''1''''''''''''''''''''''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31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xmlns="" id="{9D7A8615-04ED-4BD6-AED8-DEF313F4E51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89283" y="4000367"/>
            <a:ext cx="2254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26116DE-D768-4ED9-A64A-3FAC6DAAED71}" type="datetime'''''''''3''''''''''''''''''''''''''''''''''''''''''''4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34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xmlns="" id="{FC9576BC-722B-402B-92A6-022BA21A9CD9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656045" y="4054342"/>
            <a:ext cx="1841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1307111-A62C-4D97-A018-AFB23FBBDFD4}" type="datetime'''''''''''''''''''''''''''''''''''''''''''''3''1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31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xmlns="" id="{60CA0036-27EE-49D3-BCF4-38617EF5A0C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255995" y="4016242"/>
            <a:ext cx="2222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5ED4385-C828-4954-B4A9-8E5473616705}" type="datetime'''''''''''''''''''''''''''''''''''''''''''''''''''''''3''3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33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xmlns="" id="{6C1E5953-2F56-40B2-80D9-FC2E8BA44312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911883" y="4530592"/>
            <a:ext cx="18891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8985BED-6FB6-48CF-A823-B4DC28B1463C}" type="datetime'''''''''''''''''''''''''''''''1''''''6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6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xmlns="" id="{163F6103-E1D4-4F2C-B25D-38A4643D6D4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224495" y="4473442"/>
            <a:ext cx="1730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DA3D5B1-3C92-44A3-902A-37F7A2D2E0B2}" type="datetime'''''''''''''1''''''''''''''''''''''''''''''''''''7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7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xmlns="" id="{D1BCC8BB-8DBC-494E-A5E4-1D91C6F80AC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779870" y="4187692"/>
            <a:ext cx="2238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B2C0FCA-9608-47FE-9E2C-6EFE6D1AC4F4}" type="datetime'''''''''''''''''''''''''''''2''''''6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26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xmlns="" id="{9369B1C7-679D-4491-83AF-7162C501A98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070258" y="3987667"/>
            <a:ext cx="2254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C6800C0-735F-427F-990C-2270A4E265E9}" type="datetime'''''''''''''''3''4''''''''''''''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34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xmlns="" id="{4EBCB9FE-11CA-43DE-A80A-1C0ACDED94F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405470" y="4473442"/>
            <a:ext cx="1730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B9D77D7-DCA3-4AEB-ACC1-F54DA7FB75E3}" type="datetime'''''''''''''''''''''1''''''''''''''''''7''''''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7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xmlns="" id="{D1EBB076-CE91-4FF4-9505-4CFAD7070F3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125945" y="4311517"/>
            <a:ext cx="2159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E6CCB60-81BA-48DF-A5AE-67D810C0892A}" type="datetime'''''''''''''''''''''''''''''''2''''''''''''''2''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22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xmlns="" id="{3F11F65F-A226-46E2-BA04-FD98596F464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3024470" y="4454392"/>
            <a:ext cx="1730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936DDC2-2557-4D2D-91D2-CA82CB0496CB}" type="datetime'''''''1''''''''''''''''''''''''''''''7''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7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xmlns="" id="{508D8214-AA50-4535-85DC-8959C226AD5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57520" y="3873367"/>
            <a:ext cx="2111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9CAF091-D52C-4627-A0E9-9EB5682D16C4}" type="datetime'''''''''''''3''''''''''''''''''7''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37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xmlns="" id="{731CCD2B-C3AB-4019-ACB5-D1E2B8638487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57470" y="3609842"/>
            <a:ext cx="2286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DD12B11-D2E0-44A9-8732-D21BD4D77876}" type="datetime'''''''''''''''''''''''''''''''''''''''''''''''''''4''4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44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xmlns="" id="{34ACE060-BE9A-46A6-93F0-6B3D4E64C1D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2673633" y="4397242"/>
            <a:ext cx="18891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5406B2B-7837-4A2D-AF14-F1EEAD9BC7F7}" type="datetime'''''''''''''1''''''''''''''''''''9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9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xmlns="" id="{8B47820C-5E9D-4707-958D-6B2049E2FF4E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203483" y="2758942"/>
            <a:ext cx="21431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535F600-A248-4517-8832-6B616D8EAF9E}" type="datetime'''''''''''7''''''''''''4''''''''''''''''''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74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xmlns="" id="{91EA2C92-9580-46BB-B875-9A8ACBC6A07E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2310095" y="4349617"/>
            <a:ext cx="1809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A7B8AB7-B410-4F46-9D40-7DB144720065}" type="datetime'21''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21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xmlns="" id="{4684C347-87EB-4E36-B039-E173D39EF61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590833" y="3778117"/>
            <a:ext cx="23971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33835A4-644A-40F9-A593-1EAF97336076}" type="datetime'''''''40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40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xmlns="" id="{FF5F0BBF-8164-4880-9681-E59D36DDAA7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3749958" y="4482967"/>
            <a:ext cx="18891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6D4FE80-F724-4900-A90E-174B2DA8CB01}" type="datetime'''''''1''''''''''''''''''''''''''''''6''''''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6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xmlns="" id="{E40AF2F3-25DF-446F-BFE4-0A2ECA72B0D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2470433" y="4359142"/>
            <a:ext cx="2333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079C1D2-621D-4D4D-AAF2-0F35B06DEB00}" type="datetime'''''''2''''''''''''''''''''''''''''0''''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20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xmlns="" id="{19A00416-5B1B-4A36-AB5D-199C8EF9E64B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2843495" y="4425817"/>
            <a:ext cx="1905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635D568-EB80-40A9-866F-BECD26452EAA}" type="datetime'''''1''''''''''''8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8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xmlns="" id="{E66655FA-0797-4AD0-891F-2CDA494402D8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3586445" y="4473442"/>
            <a:ext cx="1730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rgbClr val="020202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FF6600"/>
                </a:solidFill>
                <a:latin typeface="NaturaSans" panose="02000503070000020004" pitchFamily="50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9091E83-AE2E-471D-B890-D374904670E2}" type="datetime'''''''''''1''''''''''''''''''''''''''''7'''''">
              <a:rPr lang="en-US" altLang="en-US" sz="1300">
                <a:solidFill>
                  <a:schemeClr val="tx2"/>
                </a:solidFill>
                <a:sym typeface="NaturaSans" panose="02000503070000020004" pitchFamily="50" charset="0"/>
              </a:rPr>
              <a:pPr/>
              <a:t>17</a:t>
            </a:fld>
            <a:endParaRPr lang="en-US" sz="1300" dirty="0">
              <a:solidFill>
                <a:schemeClr val="tx2"/>
              </a:solidFill>
              <a:sym typeface="NaturaSans" panose="02000503070000020004" pitchFamily="50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xmlns="" id="{300543BA-0663-4721-BB2D-B97F67F0063D}"/>
              </a:ext>
            </a:extLst>
          </p:cNvPr>
          <p:cNvSpPr txBox="1"/>
          <p:nvPr/>
        </p:nvSpPr>
        <p:spPr>
          <a:xfrm>
            <a:off x="92204" y="1512085"/>
            <a:ext cx="46737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tx2"/>
                </a:solidFill>
                <a:latin typeface="+mj-lt"/>
              </a:rPr>
              <a:t>PIB per capita dos estados (2015)</a:t>
            </a:r>
          </a:p>
        </p:txBody>
      </p:sp>
      <p:pic>
        <p:nvPicPr>
          <p:cNvPr id="119" name="Picture 2">
            <a:extLst>
              <a:ext uri="{FF2B5EF4-FFF2-40B4-BE49-F238E27FC236}">
                <a16:creationId xmlns:a16="http://schemas.microsoft.com/office/drawing/2014/main" xmlns="" id="{970A454C-1FDA-4B8C-903A-D55FADA5362D}"/>
              </a:ext>
            </a:extLst>
          </p:cNvPr>
          <p:cNvPicPr>
            <a:picLocks noChangeAspect="1"/>
          </p:cNvPicPr>
          <p:nvPr/>
        </p:nvPicPr>
        <p:blipFill>
          <a:blip r:embed="rId6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181205" y="1781575"/>
            <a:ext cx="4578239" cy="38636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0" name="CaixaDeTexto 119">
            <a:extLst>
              <a:ext uri="{FF2B5EF4-FFF2-40B4-BE49-F238E27FC236}">
                <a16:creationId xmlns:a16="http://schemas.microsoft.com/office/drawing/2014/main" xmlns="" id="{0003E83C-B547-4862-82C4-EA49240BB096}"/>
              </a:ext>
            </a:extLst>
          </p:cNvPr>
          <p:cNvSpPr txBox="1"/>
          <p:nvPr/>
        </p:nvSpPr>
        <p:spPr>
          <a:xfrm>
            <a:off x="4765968" y="1433288"/>
            <a:ext cx="41226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tx2"/>
                </a:solidFill>
                <a:latin typeface="+mj-lt"/>
              </a:rPr>
              <a:t>Mapa de calor de nota média SAEB do EM da Rede Pública por UF em Matemática</a:t>
            </a:r>
          </a:p>
        </p:txBody>
      </p:sp>
      <p:sp>
        <p:nvSpPr>
          <p:cNvPr id="121" name="ee4pFootnotes">
            <a:extLst>
              <a:ext uri="{FF2B5EF4-FFF2-40B4-BE49-F238E27FC236}">
                <a16:creationId xmlns:a16="http://schemas.microsoft.com/office/drawing/2014/main" xmlns="" id="{A0554401-6EA3-49DC-997A-B41B59B30C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7929" y="5716508"/>
            <a:ext cx="3329837" cy="5539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pt-BR" sz="1000" dirty="0">
                <a:solidFill>
                  <a:schemeClr val="tx2"/>
                </a:solidFill>
                <a:latin typeface="+mn-lt"/>
                <a:cs typeface="Arial" pitchFamily="34" charset="0"/>
              </a:rPr>
              <a:t>Nota: Média da Rede Pública em Matemática = 257 </a:t>
            </a:r>
          </a:p>
          <a:p>
            <a:pPr>
              <a:lnSpc>
                <a:spcPct val="90000"/>
              </a:lnSpc>
            </a:pPr>
            <a:r>
              <a:rPr lang="pt-BR" sz="10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Média da Rede Pública PE = 263 </a:t>
            </a:r>
          </a:p>
          <a:p>
            <a:pPr>
              <a:lnSpc>
                <a:spcPct val="90000"/>
              </a:lnSpc>
            </a:pPr>
            <a:r>
              <a:rPr lang="pt-BR" sz="1000" dirty="0">
                <a:solidFill>
                  <a:schemeClr val="tx2"/>
                </a:solidFill>
                <a:latin typeface="+mn-lt"/>
                <a:cs typeface="Arial" pitchFamily="34" charset="0"/>
              </a:rPr>
              <a:t>Fonte: INEP/Resultados SAEB 2017; </a:t>
            </a:r>
          </a:p>
          <a:p>
            <a:pPr>
              <a:lnSpc>
                <a:spcPct val="90000"/>
              </a:lnSpc>
            </a:pPr>
            <a:r>
              <a:rPr lang="pt-BR" sz="1000" dirty="0">
                <a:solidFill>
                  <a:schemeClr val="tx2"/>
                </a:solidFill>
                <a:latin typeface="+mn-lt"/>
                <a:cs typeface="Arial" pitchFamily="34" charset="0"/>
              </a:rPr>
              <a:t>Análise Instituto Natura</a:t>
            </a:r>
          </a:p>
        </p:txBody>
      </p:sp>
      <p:sp>
        <p:nvSpPr>
          <p:cNvPr id="122" name="ee4pFootnotes">
            <a:extLst>
              <a:ext uri="{FF2B5EF4-FFF2-40B4-BE49-F238E27FC236}">
                <a16:creationId xmlns:a16="http://schemas.microsoft.com/office/drawing/2014/main" xmlns="" id="{B67A9377-B19F-4B88-BFF0-3CEF78915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3414" y="5822473"/>
            <a:ext cx="7182000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+mn-lt"/>
                <a:cs typeface="Arial" pitchFamily="34" charset="0"/>
              </a:rPr>
              <a:t>Fonte: IBGE 2015 e </a:t>
            </a:r>
            <a:r>
              <a:rPr lang="pt-BR" sz="1000" dirty="0">
                <a:solidFill>
                  <a:schemeClr val="tx2"/>
                </a:solidFill>
                <a:latin typeface="+mn-lt"/>
                <a:cs typeface="Arial" pitchFamily="34" charset="0"/>
              </a:rPr>
              <a:t>IPEA 2013</a:t>
            </a:r>
            <a:endParaRPr lang="en-US" sz="1000" dirty="0">
              <a:solidFill>
                <a:schemeClr val="tx2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5AC572CC-19E1-4EBF-BA8F-C8C439AFE03C}"/>
              </a:ext>
            </a:extLst>
          </p:cNvPr>
          <p:cNvSpPr/>
          <p:nvPr/>
        </p:nvSpPr>
        <p:spPr>
          <a:xfrm>
            <a:off x="376484" y="895062"/>
            <a:ext cx="85249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800" b="1" dirty="0">
                <a:solidFill>
                  <a:schemeClr val="bg2"/>
                </a:solidFill>
                <a:latin typeface="+mj-lt"/>
              </a:rPr>
              <a:t>... E ainda assim apresenta nota SAEB 2017 acima da média nacional</a:t>
            </a:r>
          </a:p>
        </p:txBody>
      </p:sp>
    </p:spTree>
    <p:extLst>
      <p:ext uri="{BB962C8B-B14F-4D97-AF65-F5344CB8AC3E}">
        <p14:creationId xmlns:p14="http://schemas.microsoft.com/office/powerpoint/2010/main" val="2962080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TextBox 208"/>
          <p:cNvSpPr txBox="1"/>
          <p:nvPr/>
        </p:nvSpPr>
        <p:spPr>
          <a:xfrm>
            <a:off x="331060" y="1107683"/>
            <a:ext cx="119046" cy="309066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endParaRPr lang="en-US" sz="1568" dirty="0">
              <a:solidFill>
                <a:prstClr val="black"/>
              </a:solidFill>
            </a:endParaRPr>
          </a:p>
        </p:txBody>
      </p:sp>
      <p:sp>
        <p:nvSpPr>
          <p:cNvPr id="165" name="Oval 214"/>
          <p:cNvSpPr/>
          <p:nvPr/>
        </p:nvSpPr>
        <p:spPr>
          <a:xfrm>
            <a:off x="7313085" y="4431855"/>
            <a:ext cx="178844" cy="118431"/>
          </a:xfrm>
          <a:prstGeom prst="ellipse">
            <a:avLst/>
          </a:pr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0916" tIns="30916" rIns="30916" bIns="30916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66" name="TextBox 216"/>
          <p:cNvSpPr txBox="1"/>
          <p:nvPr/>
        </p:nvSpPr>
        <p:spPr>
          <a:xfrm>
            <a:off x="7628415" y="4374402"/>
            <a:ext cx="1024378" cy="493323"/>
          </a:xfrm>
          <a:prstGeom prst="rect">
            <a:avLst/>
          </a:prstGeom>
          <a:noFill/>
        </p:spPr>
        <p:txBody>
          <a:bodyPr wrap="square" lIns="30916" tIns="30916" rIns="30916" bIns="30916" rtlCol="0">
            <a:spAutoFit/>
          </a:bodyPr>
          <a:lstStyle/>
          <a:p>
            <a:pPr defTabSz="895743"/>
            <a:r>
              <a:rPr lang="pt-BR" sz="1400" dirty="0">
                <a:solidFill>
                  <a:prstClr val="black"/>
                </a:solidFill>
                <a:latin typeface="+mj-lt"/>
              </a:rPr>
              <a:t>Pernambuco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67" name="Oval 221"/>
          <p:cNvSpPr/>
          <p:nvPr/>
        </p:nvSpPr>
        <p:spPr>
          <a:xfrm>
            <a:off x="7313087" y="470171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0916" tIns="30916" rIns="30916" bIns="30916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68" name="TextBox 222"/>
          <p:cNvSpPr txBox="1"/>
          <p:nvPr/>
        </p:nvSpPr>
        <p:spPr>
          <a:xfrm>
            <a:off x="7628416" y="4644264"/>
            <a:ext cx="1024378" cy="493323"/>
          </a:xfrm>
          <a:prstGeom prst="rect">
            <a:avLst/>
          </a:prstGeom>
          <a:noFill/>
        </p:spPr>
        <p:txBody>
          <a:bodyPr wrap="square" lIns="30916" tIns="30916" rIns="30916" bIns="30916" rtlCol="0">
            <a:spAutoFit/>
          </a:bodyPr>
          <a:lstStyle/>
          <a:p>
            <a:pPr defTabSz="895743"/>
            <a:r>
              <a:rPr lang="pt-BR" sz="1400" dirty="0">
                <a:solidFill>
                  <a:prstClr val="black"/>
                </a:solidFill>
                <a:latin typeface="+mj-lt"/>
              </a:rPr>
              <a:t>Outros estados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78" name="Title 1"/>
          <p:cNvSpPr>
            <a:spLocks noGrp="1"/>
          </p:cNvSpPr>
          <p:nvPr>
            <p:ph type="ctrTitle"/>
          </p:nvPr>
        </p:nvSpPr>
        <p:spPr>
          <a:xfrm>
            <a:off x="363707" y="275358"/>
            <a:ext cx="8227378" cy="528182"/>
          </a:xfrm>
        </p:spPr>
        <p:txBody>
          <a:bodyPr>
            <a:noAutofit/>
          </a:bodyPr>
          <a:lstStyle/>
          <a:p>
            <a:r>
              <a:rPr lang="pt-BR" dirty="0"/>
              <a:t>EM APENAS 8 ANOS, O estado de Pernambuco SAIU DA 22ª posição e alcançou As primeiras posições no ideb</a:t>
            </a:r>
          </a:p>
        </p:txBody>
      </p:sp>
      <p:sp>
        <p:nvSpPr>
          <p:cNvPr id="182" name="Retângulo 181"/>
          <p:cNvSpPr/>
          <p:nvPr/>
        </p:nvSpPr>
        <p:spPr>
          <a:xfrm>
            <a:off x="1346826" y="5453666"/>
            <a:ext cx="1115873" cy="6632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2"/>
                </a:solidFill>
              </a:rPr>
              <a:t>12% integrais</a:t>
            </a:r>
          </a:p>
          <a:p>
            <a:pPr algn="ctr"/>
            <a:r>
              <a:rPr lang="pt-BR" sz="1400" dirty="0">
                <a:solidFill>
                  <a:schemeClr val="tx2"/>
                </a:solidFill>
              </a:rPr>
              <a:t>2% semi</a:t>
            </a:r>
          </a:p>
          <a:p>
            <a:pPr algn="ctr"/>
            <a:r>
              <a:rPr lang="pt-BR" sz="1400" dirty="0">
                <a:solidFill>
                  <a:schemeClr val="tx2"/>
                </a:solidFill>
              </a:rPr>
              <a:t>86% parciais</a:t>
            </a:r>
          </a:p>
        </p:txBody>
      </p:sp>
      <p:sp>
        <p:nvSpPr>
          <p:cNvPr id="185" name="Retângulo 184"/>
          <p:cNvSpPr/>
          <p:nvPr/>
        </p:nvSpPr>
        <p:spPr>
          <a:xfrm>
            <a:off x="136724" y="5453666"/>
            <a:ext cx="1115873" cy="6632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2"/>
                </a:solidFill>
              </a:rPr>
              <a:t>1% integrais</a:t>
            </a:r>
          </a:p>
          <a:p>
            <a:pPr algn="ctr"/>
            <a:r>
              <a:rPr lang="pt-BR" sz="1400" dirty="0">
                <a:solidFill>
                  <a:schemeClr val="tx2"/>
                </a:solidFill>
              </a:rPr>
              <a:t>99% parciais</a:t>
            </a:r>
          </a:p>
        </p:txBody>
      </p:sp>
      <p:sp>
        <p:nvSpPr>
          <p:cNvPr id="186" name="Retângulo 185"/>
          <p:cNvSpPr/>
          <p:nvPr/>
        </p:nvSpPr>
        <p:spPr>
          <a:xfrm>
            <a:off x="2556928" y="5453666"/>
            <a:ext cx="1115873" cy="6632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2"/>
                </a:solidFill>
              </a:rPr>
              <a:t>14% integrais</a:t>
            </a:r>
          </a:p>
          <a:p>
            <a:pPr algn="ctr"/>
            <a:r>
              <a:rPr lang="pt-BR" sz="1400" dirty="0">
                <a:solidFill>
                  <a:schemeClr val="tx2"/>
                </a:solidFill>
              </a:rPr>
              <a:t>10% semi</a:t>
            </a:r>
          </a:p>
          <a:p>
            <a:pPr algn="ctr"/>
            <a:r>
              <a:rPr lang="pt-BR" sz="1400" dirty="0">
                <a:solidFill>
                  <a:schemeClr val="tx2"/>
                </a:solidFill>
              </a:rPr>
              <a:t>76% parciais</a:t>
            </a:r>
          </a:p>
        </p:txBody>
      </p:sp>
      <p:sp>
        <p:nvSpPr>
          <p:cNvPr id="187" name="Retângulo 186"/>
          <p:cNvSpPr/>
          <p:nvPr/>
        </p:nvSpPr>
        <p:spPr>
          <a:xfrm>
            <a:off x="3767029" y="5453666"/>
            <a:ext cx="1115873" cy="6632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2"/>
                </a:solidFill>
              </a:rPr>
              <a:t>17% integrais</a:t>
            </a:r>
          </a:p>
          <a:p>
            <a:pPr algn="ctr"/>
            <a:r>
              <a:rPr lang="pt-BR" sz="1400" dirty="0">
                <a:solidFill>
                  <a:schemeClr val="tx2"/>
                </a:solidFill>
              </a:rPr>
              <a:t>19% semi</a:t>
            </a:r>
          </a:p>
          <a:p>
            <a:pPr algn="ctr"/>
            <a:r>
              <a:rPr lang="pt-BR" sz="1400" dirty="0">
                <a:solidFill>
                  <a:schemeClr val="tx2"/>
                </a:solidFill>
              </a:rPr>
              <a:t>64% parciais</a:t>
            </a:r>
          </a:p>
        </p:txBody>
      </p:sp>
      <p:sp>
        <p:nvSpPr>
          <p:cNvPr id="38" name="Oval 90"/>
          <p:cNvSpPr/>
          <p:nvPr/>
        </p:nvSpPr>
        <p:spPr>
          <a:xfrm>
            <a:off x="615375" y="1354418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39" name="Oval 91"/>
          <p:cNvSpPr/>
          <p:nvPr/>
        </p:nvSpPr>
        <p:spPr>
          <a:xfrm>
            <a:off x="615375" y="149258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40" name="Oval 92"/>
          <p:cNvSpPr/>
          <p:nvPr/>
        </p:nvSpPr>
        <p:spPr>
          <a:xfrm>
            <a:off x="615375" y="1630756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43" name="Oval 93"/>
          <p:cNvSpPr/>
          <p:nvPr/>
        </p:nvSpPr>
        <p:spPr>
          <a:xfrm>
            <a:off x="615375" y="1768926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46" name="Oval 94"/>
          <p:cNvSpPr/>
          <p:nvPr/>
        </p:nvSpPr>
        <p:spPr>
          <a:xfrm>
            <a:off x="615375" y="1907095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47" name="Oval 95"/>
          <p:cNvSpPr/>
          <p:nvPr/>
        </p:nvSpPr>
        <p:spPr>
          <a:xfrm>
            <a:off x="615375" y="2045264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49" name="Oval 96"/>
          <p:cNvSpPr/>
          <p:nvPr/>
        </p:nvSpPr>
        <p:spPr>
          <a:xfrm>
            <a:off x="615375" y="2183433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50" name="Oval 97"/>
          <p:cNvSpPr/>
          <p:nvPr/>
        </p:nvSpPr>
        <p:spPr>
          <a:xfrm>
            <a:off x="615375" y="2321602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51" name="Oval 98"/>
          <p:cNvSpPr/>
          <p:nvPr/>
        </p:nvSpPr>
        <p:spPr>
          <a:xfrm>
            <a:off x="615375" y="2459772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52" name="Oval 99"/>
          <p:cNvSpPr/>
          <p:nvPr/>
        </p:nvSpPr>
        <p:spPr>
          <a:xfrm>
            <a:off x="615375" y="2597941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53" name="Oval 100"/>
          <p:cNvSpPr/>
          <p:nvPr/>
        </p:nvSpPr>
        <p:spPr>
          <a:xfrm>
            <a:off x="615375" y="2736110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54" name="Oval 101"/>
          <p:cNvSpPr/>
          <p:nvPr/>
        </p:nvSpPr>
        <p:spPr>
          <a:xfrm>
            <a:off x="615375" y="2874279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55" name="Oval 102"/>
          <p:cNvSpPr/>
          <p:nvPr/>
        </p:nvSpPr>
        <p:spPr>
          <a:xfrm>
            <a:off x="615375" y="3012448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56" name="Oval 103"/>
          <p:cNvSpPr/>
          <p:nvPr/>
        </p:nvSpPr>
        <p:spPr>
          <a:xfrm>
            <a:off x="615375" y="315061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58" name="Oval 104"/>
          <p:cNvSpPr/>
          <p:nvPr/>
        </p:nvSpPr>
        <p:spPr>
          <a:xfrm>
            <a:off x="615375" y="328878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59" name="Oval 105"/>
          <p:cNvSpPr/>
          <p:nvPr/>
        </p:nvSpPr>
        <p:spPr>
          <a:xfrm>
            <a:off x="615375" y="3426956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60" name="Oval 106"/>
          <p:cNvSpPr/>
          <p:nvPr/>
        </p:nvSpPr>
        <p:spPr>
          <a:xfrm>
            <a:off x="615375" y="3565125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61" name="Oval 107"/>
          <p:cNvSpPr/>
          <p:nvPr/>
        </p:nvSpPr>
        <p:spPr>
          <a:xfrm>
            <a:off x="615375" y="3703294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62" name="Oval 108"/>
          <p:cNvSpPr/>
          <p:nvPr/>
        </p:nvSpPr>
        <p:spPr>
          <a:xfrm>
            <a:off x="615375" y="3841463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63" name="Oval 109"/>
          <p:cNvSpPr/>
          <p:nvPr/>
        </p:nvSpPr>
        <p:spPr>
          <a:xfrm>
            <a:off x="615375" y="3979633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64" name="Oval 110"/>
          <p:cNvSpPr/>
          <p:nvPr/>
        </p:nvSpPr>
        <p:spPr>
          <a:xfrm>
            <a:off x="615375" y="4117802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65" name="Oval 111"/>
          <p:cNvSpPr/>
          <p:nvPr/>
        </p:nvSpPr>
        <p:spPr>
          <a:xfrm>
            <a:off x="615375" y="4255971"/>
            <a:ext cx="178844" cy="118431"/>
          </a:xfrm>
          <a:prstGeom prst="ellipse">
            <a:avLst/>
          </a:pr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66" name="Oval 112"/>
          <p:cNvSpPr/>
          <p:nvPr/>
        </p:nvSpPr>
        <p:spPr>
          <a:xfrm>
            <a:off x="615375" y="4394140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67" name="Oval 113"/>
          <p:cNvSpPr/>
          <p:nvPr/>
        </p:nvSpPr>
        <p:spPr>
          <a:xfrm>
            <a:off x="615375" y="4532309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68" name="Oval 114"/>
          <p:cNvSpPr/>
          <p:nvPr/>
        </p:nvSpPr>
        <p:spPr>
          <a:xfrm>
            <a:off x="615375" y="4670479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69" name="Oval 115"/>
          <p:cNvSpPr/>
          <p:nvPr/>
        </p:nvSpPr>
        <p:spPr>
          <a:xfrm>
            <a:off x="615375" y="4808648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70" name="Oval 116"/>
          <p:cNvSpPr/>
          <p:nvPr/>
        </p:nvSpPr>
        <p:spPr>
          <a:xfrm>
            <a:off x="615375" y="494681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72" name="Oval 117"/>
          <p:cNvSpPr/>
          <p:nvPr/>
        </p:nvSpPr>
        <p:spPr>
          <a:xfrm>
            <a:off x="1818595" y="1354418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73" name="Oval 118"/>
          <p:cNvSpPr/>
          <p:nvPr/>
        </p:nvSpPr>
        <p:spPr>
          <a:xfrm>
            <a:off x="1818595" y="149258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74" name="Oval 119"/>
          <p:cNvSpPr/>
          <p:nvPr/>
        </p:nvSpPr>
        <p:spPr>
          <a:xfrm>
            <a:off x="1818595" y="1630756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75" name="Oval 120"/>
          <p:cNvSpPr/>
          <p:nvPr/>
        </p:nvSpPr>
        <p:spPr>
          <a:xfrm>
            <a:off x="1818595" y="1768926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76" name="Oval 121"/>
          <p:cNvSpPr/>
          <p:nvPr/>
        </p:nvSpPr>
        <p:spPr>
          <a:xfrm>
            <a:off x="1818595" y="1907095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77" name="Oval 122"/>
          <p:cNvSpPr/>
          <p:nvPr/>
        </p:nvSpPr>
        <p:spPr>
          <a:xfrm>
            <a:off x="1818595" y="2045264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78" name="Oval 123"/>
          <p:cNvSpPr/>
          <p:nvPr/>
        </p:nvSpPr>
        <p:spPr>
          <a:xfrm>
            <a:off x="1818595" y="2183433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79" name="Oval 124"/>
          <p:cNvSpPr/>
          <p:nvPr/>
        </p:nvSpPr>
        <p:spPr>
          <a:xfrm>
            <a:off x="1818595" y="2321602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80" name="Oval 125"/>
          <p:cNvSpPr/>
          <p:nvPr/>
        </p:nvSpPr>
        <p:spPr>
          <a:xfrm>
            <a:off x="1818595" y="2459772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81" name="Oval 126"/>
          <p:cNvSpPr/>
          <p:nvPr/>
        </p:nvSpPr>
        <p:spPr>
          <a:xfrm>
            <a:off x="1818595" y="2597941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82" name="Oval 127"/>
          <p:cNvSpPr/>
          <p:nvPr/>
        </p:nvSpPr>
        <p:spPr>
          <a:xfrm>
            <a:off x="1818595" y="2736110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83" name="Oval 128"/>
          <p:cNvSpPr/>
          <p:nvPr/>
        </p:nvSpPr>
        <p:spPr>
          <a:xfrm>
            <a:off x="1818595" y="2874279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84" name="Oval 129"/>
          <p:cNvSpPr/>
          <p:nvPr/>
        </p:nvSpPr>
        <p:spPr>
          <a:xfrm>
            <a:off x="1818595" y="3012448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85" name="Oval 130"/>
          <p:cNvSpPr/>
          <p:nvPr/>
        </p:nvSpPr>
        <p:spPr>
          <a:xfrm>
            <a:off x="1818595" y="315061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86" name="Oval 131"/>
          <p:cNvSpPr/>
          <p:nvPr/>
        </p:nvSpPr>
        <p:spPr>
          <a:xfrm>
            <a:off x="1818595" y="328878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87" name="Oval 132"/>
          <p:cNvSpPr/>
          <p:nvPr/>
        </p:nvSpPr>
        <p:spPr>
          <a:xfrm>
            <a:off x="1818595" y="3426956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88" name="Oval 133"/>
          <p:cNvSpPr/>
          <p:nvPr/>
        </p:nvSpPr>
        <p:spPr>
          <a:xfrm>
            <a:off x="1818595" y="3565125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89" name="Oval 134"/>
          <p:cNvSpPr/>
          <p:nvPr/>
        </p:nvSpPr>
        <p:spPr>
          <a:xfrm>
            <a:off x="1818595" y="3703294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90" name="Oval 135"/>
          <p:cNvSpPr/>
          <p:nvPr/>
        </p:nvSpPr>
        <p:spPr>
          <a:xfrm>
            <a:off x="1818595" y="3841463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91" name="Oval 136"/>
          <p:cNvSpPr/>
          <p:nvPr/>
        </p:nvSpPr>
        <p:spPr>
          <a:xfrm>
            <a:off x="1818595" y="3979633"/>
            <a:ext cx="178844" cy="118431"/>
          </a:xfrm>
          <a:prstGeom prst="ellipse">
            <a:avLst/>
          </a:pr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92" name="Oval 137"/>
          <p:cNvSpPr/>
          <p:nvPr/>
        </p:nvSpPr>
        <p:spPr>
          <a:xfrm>
            <a:off x="1818595" y="4117802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93" name="Oval 138"/>
          <p:cNvSpPr/>
          <p:nvPr/>
        </p:nvSpPr>
        <p:spPr>
          <a:xfrm>
            <a:off x="1818595" y="4255971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94" name="Oval 139"/>
          <p:cNvSpPr/>
          <p:nvPr/>
        </p:nvSpPr>
        <p:spPr>
          <a:xfrm>
            <a:off x="1818595" y="4394140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95" name="Oval 140"/>
          <p:cNvSpPr/>
          <p:nvPr/>
        </p:nvSpPr>
        <p:spPr>
          <a:xfrm>
            <a:off x="1818595" y="4532309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96" name="Oval 141"/>
          <p:cNvSpPr/>
          <p:nvPr/>
        </p:nvSpPr>
        <p:spPr>
          <a:xfrm>
            <a:off x="1818595" y="4670479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97" name="Oval 142"/>
          <p:cNvSpPr/>
          <p:nvPr/>
        </p:nvSpPr>
        <p:spPr>
          <a:xfrm>
            <a:off x="1818595" y="4808648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98" name="Oval 143"/>
          <p:cNvSpPr/>
          <p:nvPr/>
        </p:nvSpPr>
        <p:spPr>
          <a:xfrm>
            <a:off x="1818595" y="494681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00" name="Oval 144"/>
          <p:cNvSpPr/>
          <p:nvPr/>
        </p:nvSpPr>
        <p:spPr>
          <a:xfrm>
            <a:off x="3021817" y="1354418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01" name="Oval 145"/>
          <p:cNvSpPr/>
          <p:nvPr/>
        </p:nvSpPr>
        <p:spPr>
          <a:xfrm>
            <a:off x="3021817" y="149258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02" name="Oval 146"/>
          <p:cNvSpPr/>
          <p:nvPr/>
        </p:nvSpPr>
        <p:spPr>
          <a:xfrm>
            <a:off x="3021817" y="1630756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03" name="Oval 147"/>
          <p:cNvSpPr/>
          <p:nvPr/>
        </p:nvSpPr>
        <p:spPr>
          <a:xfrm>
            <a:off x="3021817" y="1768926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04" name="Oval 148"/>
          <p:cNvSpPr/>
          <p:nvPr/>
        </p:nvSpPr>
        <p:spPr>
          <a:xfrm>
            <a:off x="3021817" y="1907095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05" name="Oval 149"/>
          <p:cNvSpPr/>
          <p:nvPr/>
        </p:nvSpPr>
        <p:spPr>
          <a:xfrm>
            <a:off x="3021817" y="2045264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06" name="Oval 150"/>
          <p:cNvSpPr/>
          <p:nvPr/>
        </p:nvSpPr>
        <p:spPr>
          <a:xfrm>
            <a:off x="3021817" y="2183433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07" name="Oval 151"/>
          <p:cNvSpPr/>
          <p:nvPr/>
        </p:nvSpPr>
        <p:spPr>
          <a:xfrm>
            <a:off x="3021817" y="2321602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08" name="Oval 152"/>
          <p:cNvSpPr/>
          <p:nvPr/>
        </p:nvSpPr>
        <p:spPr>
          <a:xfrm>
            <a:off x="3021817" y="2459772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09" name="Oval 153"/>
          <p:cNvSpPr/>
          <p:nvPr/>
        </p:nvSpPr>
        <p:spPr>
          <a:xfrm>
            <a:off x="3021817" y="2597941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10" name="Oval 154"/>
          <p:cNvSpPr/>
          <p:nvPr/>
        </p:nvSpPr>
        <p:spPr>
          <a:xfrm>
            <a:off x="3021817" y="2736110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11" name="Oval 155"/>
          <p:cNvSpPr/>
          <p:nvPr/>
        </p:nvSpPr>
        <p:spPr>
          <a:xfrm>
            <a:off x="3021817" y="2874279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12" name="Oval 156"/>
          <p:cNvSpPr/>
          <p:nvPr/>
        </p:nvSpPr>
        <p:spPr>
          <a:xfrm>
            <a:off x="3021817" y="3012448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13" name="Oval 157"/>
          <p:cNvSpPr/>
          <p:nvPr/>
        </p:nvSpPr>
        <p:spPr>
          <a:xfrm>
            <a:off x="3021817" y="315061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14" name="Oval 158"/>
          <p:cNvSpPr/>
          <p:nvPr/>
        </p:nvSpPr>
        <p:spPr>
          <a:xfrm>
            <a:off x="3021817" y="328878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15" name="Oval 159"/>
          <p:cNvSpPr/>
          <p:nvPr/>
        </p:nvSpPr>
        <p:spPr>
          <a:xfrm>
            <a:off x="3021817" y="3426956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16" name="Oval 160"/>
          <p:cNvSpPr/>
          <p:nvPr/>
        </p:nvSpPr>
        <p:spPr>
          <a:xfrm>
            <a:off x="3021817" y="3565125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17" name="Oval 161"/>
          <p:cNvSpPr/>
          <p:nvPr/>
        </p:nvSpPr>
        <p:spPr>
          <a:xfrm>
            <a:off x="3021817" y="3703294"/>
            <a:ext cx="178844" cy="118431"/>
          </a:xfrm>
          <a:prstGeom prst="ellipse">
            <a:avLst/>
          </a:pr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18" name="Oval 162"/>
          <p:cNvSpPr/>
          <p:nvPr/>
        </p:nvSpPr>
        <p:spPr>
          <a:xfrm>
            <a:off x="3021817" y="3841463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19" name="Oval 163"/>
          <p:cNvSpPr/>
          <p:nvPr/>
        </p:nvSpPr>
        <p:spPr>
          <a:xfrm>
            <a:off x="3021817" y="3979633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20" name="Oval 164"/>
          <p:cNvSpPr/>
          <p:nvPr/>
        </p:nvSpPr>
        <p:spPr>
          <a:xfrm>
            <a:off x="3021817" y="4117802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21" name="Oval 165"/>
          <p:cNvSpPr/>
          <p:nvPr/>
        </p:nvSpPr>
        <p:spPr>
          <a:xfrm>
            <a:off x="3021817" y="4255971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22" name="Oval 166"/>
          <p:cNvSpPr/>
          <p:nvPr/>
        </p:nvSpPr>
        <p:spPr>
          <a:xfrm>
            <a:off x="3021817" y="4394140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23" name="Oval 167"/>
          <p:cNvSpPr/>
          <p:nvPr/>
        </p:nvSpPr>
        <p:spPr>
          <a:xfrm>
            <a:off x="3021817" y="4532309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24" name="Oval 168"/>
          <p:cNvSpPr/>
          <p:nvPr/>
        </p:nvSpPr>
        <p:spPr>
          <a:xfrm>
            <a:off x="3021817" y="4670479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25" name="Oval 169"/>
          <p:cNvSpPr/>
          <p:nvPr/>
        </p:nvSpPr>
        <p:spPr>
          <a:xfrm>
            <a:off x="3021817" y="4808648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26" name="Oval 170"/>
          <p:cNvSpPr/>
          <p:nvPr/>
        </p:nvSpPr>
        <p:spPr>
          <a:xfrm>
            <a:off x="3021817" y="4946817"/>
            <a:ext cx="178844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28" name="Oval 171"/>
          <p:cNvSpPr/>
          <p:nvPr/>
        </p:nvSpPr>
        <p:spPr>
          <a:xfrm>
            <a:off x="4225090" y="1354418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29" name="Oval 172"/>
          <p:cNvSpPr/>
          <p:nvPr/>
        </p:nvSpPr>
        <p:spPr>
          <a:xfrm>
            <a:off x="4225101" y="1492590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30" name="Oval 173"/>
          <p:cNvSpPr/>
          <p:nvPr/>
        </p:nvSpPr>
        <p:spPr>
          <a:xfrm>
            <a:off x="4225090" y="1630757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31" name="Oval 174"/>
          <p:cNvSpPr/>
          <p:nvPr/>
        </p:nvSpPr>
        <p:spPr>
          <a:xfrm>
            <a:off x="4224192" y="1917292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32" name="Oval 175"/>
          <p:cNvSpPr/>
          <p:nvPr/>
        </p:nvSpPr>
        <p:spPr>
          <a:xfrm>
            <a:off x="4225090" y="1779153"/>
            <a:ext cx="178845" cy="118431"/>
          </a:xfrm>
          <a:prstGeom prst="ellipse">
            <a:avLst/>
          </a:pr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33" name="Oval 176"/>
          <p:cNvSpPr/>
          <p:nvPr/>
        </p:nvSpPr>
        <p:spPr>
          <a:xfrm>
            <a:off x="4225101" y="2045265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34" name="Oval 177"/>
          <p:cNvSpPr/>
          <p:nvPr/>
        </p:nvSpPr>
        <p:spPr>
          <a:xfrm>
            <a:off x="4225090" y="2183434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35" name="Oval 178"/>
          <p:cNvSpPr/>
          <p:nvPr/>
        </p:nvSpPr>
        <p:spPr>
          <a:xfrm>
            <a:off x="4225090" y="2321603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36" name="Oval 179"/>
          <p:cNvSpPr/>
          <p:nvPr/>
        </p:nvSpPr>
        <p:spPr>
          <a:xfrm>
            <a:off x="4225090" y="2459772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37" name="Oval 180"/>
          <p:cNvSpPr/>
          <p:nvPr/>
        </p:nvSpPr>
        <p:spPr>
          <a:xfrm>
            <a:off x="4225090" y="2597942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38" name="Oval 181"/>
          <p:cNvSpPr/>
          <p:nvPr/>
        </p:nvSpPr>
        <p:spPr>
          <a:xfrm>
            <a:off x="4225090" y="2736111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39" name="Oval 182"/>
          <p:cNvSpPr/>
          <p:nvPr/>
        </p:nvSpPr>
        <p:spPr>
          <a:xfrm>
            <a:off x="4225090" y="2874280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40" name="Oval 183"/>
          <p:cNvSpPr/>
          <p:nvPr/>
        </p:nvSpPr>
        <p:spPr>
          <a:xfrm>
            <a:off x="4225090" y="3012449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41" name="Oval 184"/>
          <p:cNvSpPr/>
          <p:nvPr/>
        </p:nvSpPr>
        <p:spPr>
          <a:xfrm>
            <a:off x="4225090" y="3150618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42" name="Oval 185"/>
          <p:cNvSpPr/>
          <p:nvPr/>
        </p:nvSpPr>
        <p:spPr>
          <a:xfrm>
            <a:off x="4225090" y="3288788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43" name="Oval 186"/>
          <p:cNvSpPr/>
          <p:nvPr/>
        </p:nvSpPr>
        <p:spPr>
          <a:xfrm>
            <a:off x="4225090" y="3426957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44" name="Oval 187"/>
          <p:cNvSpPr/>
          <p:nvPr/>
        </p:nvSpPr>
        <p:spPr>
          <a:xfrm>
            <a:off x="4225090" y="3565126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45" name="Oval 188"/>
          <p:cNvSpPr/>
          <p:nvPr/>
        </p:nvSpPr>
        <p:spPr>
          <a:xfrm>
            <a:off x="4225090" y="3703295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46" name="Oval 189"/>
          <p:cNvSpPr/>
          <p:nvPr/>
        </p:nvSpPr>
        <p:spPr>
          <a:xfrm>
            <a:off x="4225090" y="3841464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47" name="Oval 190"/>
          <p:cNvSpPr/>
          <p:nvPr/>
        </p:nvSpPr>
        <p:spPr>
          <a:xfrm>
            <a:off x="4225102" y="3979634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48" name="Oval 191"/>
          <p:cNvSpPr/>
          <p:nvPr/>
        </p:nvSpPr>
        <p:spPr>
          <a:xfrm>
            <a:off x="4225090" y="4117803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49" name="Oval 192"/>
          <p:cNvSpPr/>
          <p:nvPr/>
        </p:nvSpPr>
        <p:spPr>
          <a:xfrm>
            <a:off x="4225090" y="4255972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50" name="Oval 193"/>
          <p:cNvSpPr/>
          <p:nvPr/>
        </p:nvSpPr>
        <p:spPr>
          <a:xfrm>
            <a:off x="4225090" y="4394141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51" name="Oval 194"/>
          <p:cNvSpPr/>
          <p:nvPr/>
        </p:nvSpPr>
        <p:spPr>
          <a:xfrm>
            <a:off x="4225090" y="4532310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52" name="Oval 195"/>
          <p:cNvSpPr/>
          <p:nvPr/>
        </p:nvSpPr>
        <p:spPr>
          <a:xfrm>
            <a:off x="4225090" y="4670479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53" name="Oval 196"/>
          <p:cNvSpPr/>
          <p:nvPr/>
        </p:nvSpPr>
        <p:spPr>
          <a:xfrm>
            <a:off x="4225090" y="4808649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54" name="Oval 197"/>
          <p:cNvSpPr/>
          <p:nvPr/>
        </p:nvSpPr>
        <p:spPr>
          <a:xfrm>
            <a:off x="4225090" y="4946818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89" name="Oval 173"/>
          <p:cNvSpPr/>
          <p:nvPr/>
        </p:nvSpPr>
        <p:spPr>
          <a:xfrm>
            <a:off x="5405319" y="1630757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90" name="Oval 185"/>
          <p:cNvSpPr/>
          <p:nvPr/>
        </p:nvSpPr>
        <p:spPr>
          <a:xfrm>
            <a:off x="5405319" y="3288788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92" name="Oval 194"/>
          <p:cNvSpPr/>
          <p:nvPr/>
        </p:nvSpPr>
        <p:spPr>
          <a:xfrm>
            <a:off x="5405319" y="4532310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93" name="Oval 196"/>
          <p:cNvSpPr/>
          <p:nvPr/>
        </p:nvSpPr>
        <p:spPr>
          <a:xfrm>
            <a:off x="5405319" y="4808649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94" name="Oval 171"/>
          <p:cNvSpPr/>
          <p:nvPr/>
        </p:nvSpPr>
        <p:spPr>
          <a:xfrm>
            <a:off x="5405319" y="1354418"/>
            <a:ext cx="178845" cy="118431"/>
          </a:xfrm>
          <a:prstGeom prst="ellipse">
            <a:avLst/>
          </a:pr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95" name="Oval 172"/>
          <p:cNvSpPr/>
          <p:nvPr/>
        </p:nvSpPr>
        <p:spPr>
          <a:xfrm>
            <a:off x="5405319" y="1492590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96" name="Oval 175"/>
          <p:cNvSpPr/>
          <p:nvPr/>
        </p:nvSpPr>
        <p:spPr>
          <a:xfrm>
            <a:off x="5405319" y="1779153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97" name="Oval 180"/>
          <p:cNvSpPr/>
          <p:nvPr/>
        </p:nvSpPr>
        <p:spPr>
          <a:xfrm>
            <a:off x="5405319" y="2597942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98" name="Oval 182"/>
          <p:cNvSpPr/>
          <p:nvPr/>
        </p:nvSpPr>
        <p:spPr>
          <a:xfrm>
            <a:off x="5405319" y="2874280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99" name="Oval 188"/>
          <p:cNvSpPr/>
          <p:nvPr/>
        </p:nvSpPr>
        <p:spPr>
          <a:xfrm>
            <a:off x="5405319" y="3703295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00" name="Oval 191"/>
          <p:cNvSpPr/>
          <p:nvPr/>
        </p:nvSpPr>
        <p:spPr>
          <a:xfrm>
            <a:off x="5405319" y="4117803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01" name="Oval 174"/>
          <p:cNvSpPr/>
          <p:nvPr/>
        </p:nvSpPr>
        <p:spPr>
          <a:xfrm>
            <a:off x="5405319" y="1917292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02" name="Oval 176"/>
          <p:cNvSpPr/>
          <p:nvPr/>
        </p:nvSpPr>
        <p:spPr>
          <a:xfrm>
            <a:off x="5405319" y="2045265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03" name="Oval 177"/>
          <p:cNvSpPr/>
          <p:nvPr/>
        </p:nvSpPr>
        <p:spPr>
          <a:xfrm>
            <a:off x="5405319" y="2183434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04" name="Oval 178"/>
          <p:cNvSpPr/>
          <p:nvPr/>
        </p:nvSpPr>
        <p:spPr>
          <a:xfrm>
            <a:off x="5405319" y="2321603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05" name="Oval 179"/>
          <p:cNvSpPr/>
          <p:nvPr/>
        </p:nvSpPr>
        <p:spPr>
          <a:xfrm>
            <a:off x="5405319" y="2459772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06" name="Oval 181"/>
          <p:cNvSpPr/>
          <p:nvPr/>
        </p:nvSpPr>
        <p:spPr>
          <a:xfrm>
            <a:off x="5405319" y="2736111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07" name="Oval 183"/>
          <p:cNvSpPr/>
          <p:nvPr/>
        </p:nvSpPr>
        <p:spPr>
          <a:xfrm>
            <a:off x="5405319" y="3012449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08" name="Oval 184"/>
          <p:cNvSpPr/>
          <p:nvPr/>
        </p:nvSpPr>
        <p:spPr>
          <a:xfrm>
            <a:off x="5405319" y="3150618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09" name="Oval 186"/>
          <p:cNvSpPr/>
          <p:nvPr/>
        </p:nvSpPr>
        <p:spPr>
          <a:xfrm>
            <a:off x="5405319" y="3426957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10" name="Oval 187"/>
          <p:cNvSpPr/>
          <p:nvPr/>
        </p:nvSpPr>
        <p:spPr>
          <a:xfrm>
            <a:off x="5405319" y="3565126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11" name="Oval 189"/>
          <p:cNvSpPr/>
          <p:nvPr/>
        </p:nvSpPr>
        <p:spPr>
          <a:xfrm>
            <a:off x="5405319" y="3841464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12" name="Oval 190"/>
          <p:cNvSpPr/>
          <p:nvPr/>
        </p:nvSpPr>
        <p:spPr>
          <a:xfrm>
            <a:off x="5405319" y="3979634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13" name="Oval 192"/>
          <p:cNvSpPr/>
          <p:nvPr/>
        </p:nvSpPr>
        <p:spPr>
          <a:xfrm>
            <a:off x="5405319" y="4255972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14" name="Oval 193"/>
          <p:cNvSpPr/>
          <p:nvPr/>
        </p:nvSpPr>
        <p:spPr>
          <a:xfrm>
            <a:off x="5405319" y="4394141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15" name="Oval 195"/>
          <p:cNvSpPr/>
          <p:nvPr/>
        </p:nvSpPr>
        <p:spPr>
          <a:xfrm>
            <a:off x="5405319" y="4670479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16" name="Oval 197"/>
          <p:cNvSpPr/>
          <p:nvPr/>
        </p:nvSpPr>
        <p:spPr>
          <a:xfrm>
            <a:off x="5405319" y="4946818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55" name="TextBox 199"/>
          <p:cNvSpPr txBox="1"/>
          <p:nvPr/>
        </p:nvSpPr>
        <p:spPr>
          <a:xfrm>
            <a:off x="506029" y="5152686"/>
            <a:ext cx="474408" cy="308657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b="1" dirty="0">
                <a:solidFill>
                  <a:prstClr val="black"/>
                </a:solidFill>
                <a:latin typeface="+mj-lt"/>
              </a:rPr>
              <a:t>2007</a:t>
            </a:r>
            <a:endParaRPr lang="en-US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56" name="TextBox 200"/>
          <p:cNvSpPr txBox="1"/>
          <p:nvPr/>
        </p:nvSpPr>
        <p:spPr>
          <a:xfrm>
            <a:off x="1709468" y="5152687"/>
            <a:ext cx="487232" cy="308657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b="1" dirty="0">
                <a:solidFill>
                  <a:prstClr val="black"/>
                </a:solidFill>
                <a:latin typeface="+mj-lt"/>
              </a:rPr>
              <a:t>2009</a:t>
            </a:r>
            <a:endParaRPr lang="en-US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57" name="TextBox 201"/>
          <p:cNvSpPr txBox="1"/>
          <p:nvPr/>
        </p:nvSpPr>
        <p:spPr>
          <a:xfrm>
            <a:off x="2912913" y="5152687"/>
            <a:ext cx="407081" cy="308657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b="1" dirty="0">
                <a:solidFill>
                  <a:prstClr val="black"/>
                </a:solidFill>
                <a:latin typeface="+mj-lt"/>
              </a:rPr>
              <a:t>2011</a:t>
            </a:r>
            <a:endParaRPr lang="en-US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58" name="TextBox 202"/>
          <p:cNvSpPr txBox="1"/>
          <p:nvPr/>
        </p:nvSpPr>
        <p:spPr>
          <a:xfrm>
            <a:off x="4116350" y="5152687"/>
            <a:ext cx="434333" cy="308657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b="1" dirty="0">
                <a:solidFill>
                  <a:prstClr val="black"/>
                </a:solidFill>
                <a:latin typeface="+mj-lt"/>
              </a:rPr>
              <a:t>2013</a:t>
            </a:r>
            <a:endParaRPr lang="en-US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61" name="TextBox 210"/>
          <p:cNvSpPr txBox="1"/>
          <p:nvPr/>
        </p:nvSpPr>
        <p:spPr>
          <a:xfrm>
            <a:off x="370667" y="1295198"/>
            <a:ext cx="208287" cy="308657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dirty="0">
                <a:solidFill>
                  <a:prstClr val="black"/>
                </a:solidFill>
                <a:latin typeface="+mj-lt"/>
              </a:rPr>
              <a:t>1º</a:t>
            </a:r>
            <a:endParaRPr lang="en-US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62" name="TextBox 211"/>
          <p:cNvSpPr txBox="1"/>
          <p:nvPr/>
        </p:nvSpPr>
        <p:spPr>
          <a:xfrm>
            <a:off x="277492" y="4877191"/>
            <a:ext cx="301462" cy="277879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sz="1400" dirty="0">
                <a:solidFill>
                  <a:prstClr val="black"/>
                </a:solidFill>
                <a:latin typeface="+mj-lt"/>
              </a:rPr>
              <a:t>27º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63" name="TextBox 212"/>
          <p:cNvSpPr txBox="1"/>
          <p:nvPr/>
        </p:nvSpPr>
        <p:spPr>
          <a:xfrm>
            <a:off x="372433" y="2349762"/>
            <a:ext cx="226924" cy="277879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sz="1400" dirty="0">
                <a:solidFill>
                  <a:prstClr val="black"/>
                </a:solidFill>
                <a:latin typeface="+mj-lt"/>
              </a:rPr>
              <a:t>9º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64" name="TextBox 213"/>
          <p:cNvSpPr txBox="1"/>
          <p:nvPr/>
        </p:nvSpPr>
        <p:spPr>
          <a:xfrm>
            <a:off x="284268" y="3633408"/>
            <a:ext cx="294686" cy="277879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sz="1400" dirty="0">
                <a:solidFill>
                  <a:prstClr val="black"/>
                </a:solidFill>
                <a:latin typeface="+mj-lt"/>
              </a:rPr>
              <a:t>18º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70" name="TextBox 217"/>
          <p:cNvSpPr txBox="1"/>
          <p:nvPr/>
        </p:nvSpPr>
        <p:spPr>
          <a:xfrm>
            <a:off x="299590" y="4170249"/>
            <a:ext cx="283650" cy="277879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sz="140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22º</a:t>
            </a:r>
            <a:endParaRPr lang="en-US" sz="14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71" name="TextBox 218"/>
          <p:cNvSpPr txBox="1"/>
          <p:nvPr/>
        </p:nvSpPr>
        <p:spPr>
          <a:xfrm>
            <a:off x="2661087" y="3644474"/>
            <a:ext cx="278842" cy="277879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sz="140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18º</a:t>
            </a:r>
            <a:endParaRPr lang="en-US" sz="14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73" name="TextBox 220"/>
          <p:cNvSpPr txBox="1"/>
          <p:nvPr/>
        </p:nvSpPr>
        <p:spPr>
          <a:xfrm>
            <a:off x="3965148" y="1666632"/>
            <a:ext cx="213118" cy="277879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sz="140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4º</a:t>
            </a:r>
            <a:endParaRPr lang="en-US" sz="14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75" name="RedArrow4"/>
          <p:cNvSpPr>
            <a:spLocks noEditPoints="1"/>
          </p:cNvSpPr>
          <p:nvPr/>
        </p:nvSpPr>
        <p:spPr bwMode="auto">
          <a:xfrm rot="15368206">
            <a:off x="1414606" y="2995960"/>
            <a:ext cx="632338" cy="1860825"/>
          </a:xfrm>
          <a:custGeom>
            <a:avLst/>
            <a:gdLst>
              <a:gd name="T0" fmla="*/ 495 w 848"/>
              <a:gd name="T1" fmla="*/ 2427 h 2528"/>
              <a:gd name="T2" fmla="*/ 244 w 848"/>
              <a:gd name="T3" fmla="*/ 2129 h 2528"/>
              <a:gd name="T4" fmla="*/ 118 w 848"/>
              <a:gd name="T5" fmla="*/ 1981 h 2528"/>
              <a:gd name="T6" fmla="*/ 275 w 848"/>
              <a:gd name="T7" fmla="*/ 2176 h 2528"/>
              <a:gd name="T8" fmla="*/ 550 w 848"/>
              <a:gd name="T9" fmla="*/ 2372 h 2528"/>
              <a:gd name="T10" fmla="*/ 55 w 848"/>
              <a:gd name="T11" fmla="*/ 1949 h 2528"/>
              <a:gd name="T12" fmla="*/ 142 w 848"/>
              <a:gd name="T13" fmla="*/ 2012 h 2528"/>
              <a:gd name="T14" fmla="*/ 212 w 848"/>
              <a:gd name="T15" fmla="*/ 2106 h 2528"/>
              <a:gd name="T16" fmla="*/ 32 w 848"/>
              <a:gd name="T17" fmla="*/ 1941 h 2528"/>
              <a:gd name="T18" fmla="*/ 841 w 848"/>
              <a:gd name="T19" fmla="*/ 1926 h 2528"/>
              <a:gd name="T20" fmla="*/ 118 w 848"/>
              <a:gd name="T21" fmla="*/ 2020 h 2528"/>
              <a:gd name="T22" fmla="*/ 723 w 848"/>
              <a:gd name="T23" fmla="*/ 2145 h 2528"/>
              <a:gd name="T24" fmla="*/ 660 w 848"/>
              <a:gd name="T25" fmla="*/ 2223 h 2528"/>
              <a:gd name="T26" fmla="*/ 519 w 848"/>
              <a:gd name="T27" fmla="*/ 2450 h 2528"/>
              <a:gd name="T28" fmla="*/ 495 w 848"/>
              <a:gd name="T29" fmla="*/ 2435 h 2528"/>
              <a:gd name="T30" fmla="*/ 322 w 848"/>
              <a:gd name="T31" fmla="*/ 2239 h 2528"/>
              <a:gd name="T32" fmla="*/ 440 w 848"/>
              <a:gd name="T33" fmla="*/ 2403 h 2528"/>
              <a:gd name="T34" fmla="*/ 55 w 848"/>
              <a:gd name="T35" fmla="*/ 1957 h 2528"/>
              <a:gd name="T36" fmla="*/ 63 w 848"/>
              <a:gd name="T37" fmla="*/ 1996 h 2528"/>
              <a:gd name="T38" fmla="*/ 150 w 848"/>
              <a:gd name="T39" fmla="*/ 2121 h 2528"/>
              <a:gd name="T40" fmla="*/ 197 w 848"/>
              <a:gd name="T41" fmla="*/ 2215 h 2528"/>
              <a:gd name="T42" fmla="*/ 409 w 848"/>
              <a:gd name="T43" fmla="*/ 2482 h 2528"/>
              <a:gd name="T44" fmla="*/ 668 w 848"/>
              <a:gd name="T45" fmla="*/ 2356 h 2528"/>
              <a:gd name="T46" fmla="*/ 778 w 848"/>
              <a:gd name="T47" fmla="*/ 2161 h 2528"/>
              <a:gd name="T48" fmla="*/ 134 w 848"/>
              <a:gd name="T49" fmla="*/ 2028 h 2528"/>
              <a:gd name="T50" fmla="*/ 511 w 848"/>
              <a:gd name="T51" fmla="*/ 2466 h 2528"/>
              <a:gd name="T52" fmla="*/ 495 w 848"/>
              <a:gd name="T53" fmla="*/ 2466 h 2528"/>
              <a:gd name="T54" fmla="*/ 527 w 848"/>
              <a:gd name="T55" fmla="*/ 2489 h 2528"/>
              <a:gd name="T56" fmla="*/ 691 w 848"/>
              <a:gd name="T57" fmla="*/ 2153 h 2528"/>
              <a:gd name="T58" fmla="*/ 95 w 848"/>
              <a:gd name="T59" fmla="*/ 2082 h 2528"/>
              <a:gd name="T60" fmla="*/ 746 w 848"/>
              <a:gd name="T61" fmla="*/ 2239 h 2528"/>
              <a:gd name="T62" fmla="*/ 597 w 848"/>
              <a:gd name="T63" fmla="*/ 2325 h 2528"/>
              <a:gd name="T64" fmla="*/ 48 w 848"/>
              <a:gd name="T65" fmla="*/ 1973 h 2528"/>
              <a:gd name="T66" fmla="*/ 95 w 848"/>
              <a:gd name="T67" fmla="*/ 2028 h 2528"/>
              <a:gd name="T68" fmla="*/ 87 w 848"/>
              <a:gd name="T69" fmla="*/ 2067 h 2528"/>
              <a:gd name="T70" fmla="*/ 283 w 848"/>
              <a:gd name="T71" fmla="*/ 2341 h 2528"/>
              <a:gd name="T72" fmla="*/ 346 w 848"/>
              <a:gd name="T73" fmla="*/ 2411 h 2528"/>
              <a:gd name="T74" fmla="*/ 260 w 848"/>
              <a:gd name="T75" fmla="*/ 2317 h 2528"/>
              <a:gd name="T76" fmla="*/ 464 w 848"/>
              <a:gd name="T77" fmla="*/ 1668 h 2528"/>
              <a:gd name="T78" fmla="*/ 472 w 848"/>
              <a:gd name="T79" fmla="*/ 1644 h 2528"/>
              <a:gd name="T80" fmla="*/ 456 w 848"/>
              <a:gd name="T81" fmla="*/ 642 h 2528"/>
              <a:gd name="T82" fmla="*/ 487 w 848"/>
              <a:gd name="T83" fmla="*/ 2121 h 2528"/>
              <a:gd name="T84" fmla="*/ 550 w 848"/>
              <a:gd name="T85" fmla="*/ 2090 h 2528"/>
              <a:gd name="T86" fmla="*/ 464 w 848"/>
              <a:gd name="T87" fmla="*/ 611 h 2528"/>
              <a:gd name="T88" fmla="*/ 456 w 848"/>
              <a:gd name="T89" fmla="*/ 454 h 2528"/>
              <a:gd name="T90" fmla="*/ 464 w 848"/>
              <a:gd name="T91" fmla="*/ 658 h 2528"/>
              <a:gd name="T92" fmla="*/ 472 w 848"/>
              <a:gd name="T93" fmla="*/ 1182 h 2528"/>
              <a:gd name="T94" fmla="*/ 479 w 848"/>
              <a:gd name="T95" fmla="*/ 1026 h 2528"/>
              <a:gd name="T96" fmla="*/ 479 w 848"/>
              <a:gd name="T97" fmla="*/ 1691 h 2528"/>
              <a:gd name="T98" fmla="*/ 503 w 848"/>
              <a:gd name="T99" fmla="*/ 2067 h 2528"/>
              <a:gd name="T100" fmla="*/ 519 w 848"/>
              <a:gd name="T101" fmla="*/ 2012 h 2528"/>
              <a:gd name="T102" fmla="*/ 542 w 848"/>
              <a:gd name="T103" fmla="*/ 2043 h 2528"/>
              <a:gd name="T104" fmla="*/ 582 w 848"/>
              <a:gd name="T105" fmla="*/ 1409 h 2528"/>
              <a:gd name="T106" fmla="*/ 534 w 848"/>
              <a:gd name="T107" fmla="*/ 564 h 2528"/>
              <a:gd name="T108" fmla="*/ 440 w 848"/>
              <a:gd name="T109" fmla="*/ 110 h 2528"/>
              <a:gd name="T110" fmla="*/ 424 w 848"/>
              <a:gd name="T111" fmla="*/ 165 h 2528"/>
              <a:gd name="T112" fmla="*/ 487 w 848"/>
              <a:gd name="T113" fmla="*/ 1934 h 2528"/>
              <a:gd name="T114" fmla="*/ 495 w 848"/>
              <a:gd name="T115" fmla="*/ 282 h 2528"/>
              <a:gd name="T116" fmla="*/ 440 w 848"/>
              <a:gd name="T117" fmla="*/ 400 h 2528"/>
              <a:gd name="T118" fmla="*/ 527 w 848"/>
              <a:gd name="T119" fmla="*/ 2153 h 2528"/>
              <a:gd name="T120" fmla="*/ 534 w 848"/>
              <a:gd name="T121" fmla="*/ 2121 h 2528"/>
              <a:gd name="T122" fmla="*/ 542 w 848"/>
              <a:gd name="T123" fmla="*/ 1957 h 2528"/>
              <a:gd name="T124" fmla="*/ 574 w 848"/>
              <a:gd name="T125" fmla="*/ 1652 h 2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48" h="2528">
                <a:moveTo>
                  <a:pt x="684" y="2161"/>
                </a:moveTo>
                <a:cubicBezTo>
                  <a:pt x="684" y="2153"/>
                  <a:pt x="684" y="2153"/>
                  <a:pt x="691" y="2153"/>
                </a:cubicBezTo>
                <a:cubicBezTo>
                  <a:pt x="691" y="2153"/>
                  <a:pt x="691" y="2153"/>
                  <a:pt x="676" y="2145"/>
                </a:cubicBezTo>
                <a:cubicBezTo>
                  <a:pt x="684" y="2145"/>
                  <a:pt x="684" y="2153"/>
                  <a:pt x="684" y="2161"/>
                </a:cubicBezTo>
                <a:close/>
                <a:moveTo>
                  <a:pt x="205" y="2075"/>
                </a:moveTo>
                <a:cubicBezTo>
                  <a:pt x="205" y="2067"/>
                  <a:pt x="205" y="2067"/>
                  <a:pt x="205" y="2067"/>
                </a:cubicBezTo>
                <a:cubicBezTo>
                  <a:pt x="212" y="2075"/>
                  <a:pt x="212" y="2082"/>
                  <a:pt x="212" y="2082"/>
                </a:cubicBezTo>
                <a:cubicBezTo>
                  <a:pt x="212" y="2075"/>
                  <a:pt x="212" y="2075"/>
                  <a:pt x="205" y="2075"/>
                </a:cubicBezTo>
                <a:close/>
                <a:moveTo>
                  <a:pt x="228" y="2098"/>
                </a:moveTo>
                <a:cubicBezTo>
                  <a:pt x="228" y="2098"/>
                  <a:pt x="228" y="2098"/>
                  <a:pt x="212" y="2082"/>
                </a:cubicBezTo>
                <a:cubicBezTo>
                  <a:pt x="212" y="2082"/>
                  <a:pt x="212" y="2082"/>
                  <a:pt x="212" y="2082"/>
                </a:cubicBezTo>
                <a:cubicBezTo>
                  <a:pt x="212" y="2082"/>
                  <a:pt x="220" y="2090"/>
                  <a:pt x="220" y="2090"/>
                </a:cubicBezTo>
                <a:cubicBezTo>
                  <a:pt x="220" y="2090"/>
                  <a:pt x="220" y="2090"/>
                  <a:pt x="228" y="2098"/>
                </a:cubicBezTo>
                <a:close/>
                <a:moveTo>
                  <a:pt x="644" y="2247"/>
                </a:moveTo>
                <a:cubicBezTo>
                  <a:pt x="636" y="2255"/>
                  <a:pt x="636" y="2255"/>
                  <a:pt x="636" y="2255"/>
                </a:cubicBezTo>
                <a:cubicBezTo>
                  <a:pt x="629" y="2255"/>
                  <a:pt x="629" y="2255"/>
                  <a:pt x="629" y="2255"/>
                </a:cubicBezTo>
                <a:cubicBezTo>
                  <a:pt x="629" y="2262"/>
                  <a:pt x="629" y="2270"/>
                  <a:pt x="621" y="2270"/>
                </a:cubicBezTo>
                <a:cubicBezTo>
                  <a:pt x="621" y="2278"/>
                  <a:pt x="621" y="2278"/>
                  <a:pt x="613" y="2286"/>
                </a:cubicBezTo>
                <a:cubicBezTo>
                  <a:pt x="613" y="2286"/>
                  <a:pt x="621" y="2286"/>
                  <a:pt x="621" y="2286"/>
                </a:cubicBezTo>
                <a:cubicBezTo>
                  <a:pt x="613" y="2286"/>
                  <a:pt x="613" y="2294"/>
                  <a:pt x="605" y="2301"/>
                </a:cubicBezTo>
                <a:cubicBezTo>
                  <a:pt x="613" y="2301"/>
                  <a:pt x="613" y="2301"/>
                  <a:pt x="613" y="2301"/>
                </a:cubicBezTo>
                <a:cubicBezTo>
                  <a:pt x="613" y="2301"/>
                  <a:pt x="613" y="2301"/>
                  <a:pt x="613" y="2301"/>
                </a:cubicBezTo>
                <a:cubicBezTo>
                  <a:pt x="613" y="2301"/>
                  <a:pt x="613" y="2301"/>
                  <a:pt x="613" y="2294"/>
                </a:cubicBezTo>
                <a:cubicBezTo>
                  <a:pt x="613" y="2286"/>
                  <a:pt x="613" y="2286"/>
                  <a:pt x="621" y="2286"/>
                </a:cubicBezTo>
                <a:cubicBezTo>
                  <a:pt x="621" y="2286"/>
                  <a:pt x="621" y="2286"/>
                  <a:pt x="621" y="2286"/>
                </a:cubicBezTo>
                <a:cubicBezTo>
                  <a:pt x="621" y="2286"/>
                  <a:pt x="621" y="2286"/>
                  <a:pt x="621" y="2278"/>
                </a:cubicBezTo>
                <a:cubicBezTo>
                  <a:pt x="621" y="2278"/>
                  <a:pt x="621" y="2278"/>
                  <a:pt x="629" y="2278"/>
                </a:cubicBezTo>
                <a:cubicBezTo>
                  <a:pt x="629" y="2278"/>
                  <a:pt x="629" y="2278"/>
                  <a:pt x="629" y="2278"/>
                </a:cubicBezTo>
                <a:cubicBezTo>
                  <a:pt x="629" y="2270"/>
                  <a:pt x="629" y="2270"/>
                  <a:pt x="629" y="2270"/>
                </a:cubicBezTo>
                <a:cubicBezTo>
                  <a:pt x="636" y="2255"/>
                  <a:pt x="636" y="2262"/>
                  <a:pt x="644" y="2255"/>
                </a:cubicBezTo>
                <a:cubicBezTo>
                  <a:pt x="644" y="2255"/>
                  <a:pt x="644" y="2255"/>
                  <a:pt x="636" y="2255"/>
                </a:cubicBezTo>
                <a:cubicBezTo>
                  <a:pt x="636" y="2255"/>
                  <a:pt x="636" y="2247"/>
                  <a:pt x="644" y="2247"/>
                </a:cubicBezTo>
                <a:cubicBezTo>
                  <a:pt x="644" y="2255"/>
                  <a:pt x="644" y="2255"/>
                  <a:pt x="644" y="2255"/>
                </a:cubicBezTo>
                <a:cubicBezTo>
                  <a:pt x="644" y="2247"/>
                  <a:pt x="644" y="2247"/>
                  <a:pt x="644" y="2247"/>
                </a:cubicBezTo>
                <a:cubicBezTo>
                  <a:pt x="644" y="2247"/>
                  <a:pt x="644" y="2247"/>
                  <a:pt x="644" y="2247"/>
                </a:cubicBezTo>
                <a:cubicBezTo>
                  <a:pt x="644" y="2239"/>
                  <a:pt x="652" y="2239"/>
                  <a:pt x="652" y="2223"/>
                </a:cubicBezTo>
                <a:cubicBezTo>
                  <a:pt x="652" y="2223"/>
                  <a:pt x="652" y="2223"/>
                  <a:pt x="644" y="2239"/>
                </a:cubicBezTo>
                <a:cubicBezTo>
                  <a:pt x="644" y="2239"/>
                  <a:pt x="644" y="2239"/>
                  <a:pt x="644" y="2247"/>
                </a:cubicBezTo>
                <a:close/>
                <a:moveTo>
                  <a:pt x="597" y="2317"/>
                </a:moveTo>
                <a:cubicBezTo>
                  <a:pt x="597" y="2317"/>
                  <a:pt x="597" y="2317"/>
                  <a:pt x="597" y="2317"/>
                </a:cubicBezTo>
                <a:cubicBezTo>
                  <a:pt x="597" y="2317"/>
                  <a:pt x="597" y="2309"/>
                  <a:pt x="605" y="2309"/>
                </a:cubicBezTo>
                <a:cubicBezTo>
                  <a:pt x="597" y="2317"/>
                  <a:pt x="597" y="2317"/>
                  <a:pt x="597" y="2317"/>
                </a:cubicBezTo>
                <a:close/>
                <a:moveTo>
                  <a:pt x="589" y="2333"/>
                </a:moveTo>
                <a:cubicBezTo>
                  <a:pt x="589" y="2325"/>
                  <a:pt x="589" y="2325"/>
                  <a:pt x="589" y="2325"/>
                </a:cubicBezTo>
                <a:cubicBezTo>
                  <a:pt x="589" y="2325"/>
                  <a:pt x="589" y="2325"/>
                  <a:pt x="597" y="2317"/>
                </a:cubicBezTo>
                <a:cubicBezTo>
                  <a:pt x="589" y="2325"/>
                  <a:pt x="589" y="2325"/>
                  <a:pt x="582" y="2333"/>
                </a:cubicBezTo>
                <a:cubicBezTo>
                  <a:pt x="582" y="2341"/>
                  <a:pt x="582" y="2333"/>
                  <a:pt x="589" y="2333"/>
                </a:cubicBezTo>
                <a:close/>
                <a:moveTo>
                  <a:pt x="652" y="2215"/>
                </a:moveTo>
                <a:cubicBezTo>
                  <a:pt x="644" y="2223"/>
                  <a:pt x="652" y="2223"/>
                  <a:pt x="652" y="2223"/>
                </a:cubicBezTo>
                <a:cubicBezTo>
                  <a:pt x="644" y="2231"/>
                  <a:pt x="644" y="2231"/>
                  <a:pt x="652" y="2223"/>
                </a:cubicBezTo>
                <a:cubicBezTo>
                  <a:pt x="652" y="2223"/>
                  <a:pt x="652" y="2223"/>
                  <a:pt x="660" y="2223"/>
                </a:cubicBezTo>
                <a:cubicBezTo>
                  <a:pt x="660" y="2223"/>
                  <a:pt x="660" y="2223"/>
                  <a:pt x="660" y="2223"/>
                </a:cubicBezTo>
                <a:cubicBezTo>
                  <a:pt x="660" y="2223"/>
                  <a:pt x="660" y="2223"/>
                  <a:pt x="652" y="2215"/>
                </a:cubicBezTo>
                <a:close/>
                <a:moveTo>
                  <a:pt x="495" y="2427"/>
                </a:moveTo>
                <a:cubicBezTo>
                  <a:pt x="495" y="2427"/>
                  <a:pt x="495" y="2435"/>
                  <a:pt x="495" y="2435"/>
                </a:cubicBezTo>
                <a:cubicBezTo>
                  <a:pt x="495" y="2435"/>
                  <a:pt x="495" y="2435"/>
                  <a:pt x="495" y="2435"/>
                </a:cubicBezTo>
                <a:cubicBezTo>
                  <a:pt x="495" y="2435"/>
                  <a:pt x="495" y="2435"/>
                  <a:pt x="495" y="2435"/>
                </a:cubicBezTo>
                <a:cubicBezTo>
                  <a:pt x="495" y="2435"/>
                  <a:pt x="495" y="2435"/>
                  <a:pt x="495" y="2427"/>
                </a:cubicBezTo>
                <a:cubicBezTo>
                  <a:pt x="495" y="2427"/>
                  <a:pt x="495" y="2427"/>
                  <a:pt x="495" y="2427"/>
                </a:cubicBezTo>
                <a:close/>
                <a:moveTo>
                  <a:pt x="495" y="2427"/>
                </a:moveTo>
                <a:cubicBezTo>
                  <a:pt x="495" y="2427"/>
                  <a:pt x="495" y="2427"/>
                  <a:pt x="495" y="2427"/>
                </a:cubicBezTo>
                <a:cubicBezTo>
                  <a:pt x="495" y="2427"/>
                  <a:pt x="495" y="2435"/>
                  <a:pt x="495" y="2435"/>
                </a:cubicBezTo>
                <a:cubicBezTo>
                  <a:pt x="495" y="2427"/>
                  <a:pt x="495" y="2427"/>
                  <a:pt x="495" y="2427"/>
                </a:cubicBezTo>
                <a:close/>
                <a:moveTo>
                  <a:pt x="644" y="2223"/>
                </a:moveTo>
                <a:cubicBezTo>
                  <a:pt x="644" y="2223"/>
                  <a:pt x="644" y="2223"/>
                  <a:pt x="652" y="2223"/>
                </a:cubicBezTo>
                <a:cubicBezTo>
                  <a:pt x="644" y="2223"/>
                  <a:pt x="652" y="2223"/>
                  <a:pt x="644" y="2223"/>
                </a:cubicBezTo>
                <a:cubicBezTo>
                  <a:pt x="644" y="2223"/>
                  <a:pt x="644" y="2223"/>
                  <a:pt x="644" y="2223"/>
                </a:cubicBezTo>
                <a:close/>
                <a:moveTo>
                  <a:pt x="660" y="2231"/>
                </a:moveTo>
                <a:cubicBezTo>
                  <a:pt x="660" y="2231"/>
                  <a:pt x="660" y="2231"/>
                  <a:pt x="660" y="2223"/>
                </a:cubicBezTo>
                <a:cubicBezTo>
                  <a:pt x="652" y="2231"/>
                  <a:pt x="652" y="2231"/>
                  <a:pt x="660" y="2231"/>
                </a:cubicBezTo>
                <a:close/>
                <a:moveTo>
                  <a:pt x="636" y="2262"/>
                </a:moveTo>
                <a:cubicBezTo>
                  <a:pt x="636" y="2262"/>
                  <a:pt x="636" y="2262"/>
                  <a:pt x="629" y="2270"/>
                </a:cubicBezTo>
                <a:cubicBezTo>
                  <a:pt x="629" y="2270"/>
                  <a:pt x="629" y="2270"/>
                  <a:pt x="629" y="2278"/>
                </a:cubicBezTo>
                <a:cubicBezTo>
                  <a:pt x="629" y="2270"/>
                  <a:pt x="629" y="2270"/>
                  <a:pt x="636" y="2262"/>
                </a:cubicBezTo>
                <a:close/>
                <a:moveTo>
                  <a:pt x="479" y="2411"/>
                </a:moveTo>
                <a:cubicBezTo>
                  <a:pt x="479" y="2419"/>
                  <a:pt x="479" y="2419"/>
                  <a:pt x="479" y="2419"/>
                </a:cubicBezTo>
                <a:cubicBezTo>
                  <a:pt x="487" y="2419"/>
                  <a:pt x="487" y="2419"/>
                  <a:pt x="487" y="2419"/>
                </a:cubicBezTo>
                <a:cubicBezTo>
                  <a:pt x="487" y="2419"/>
                  <a:pt x="487" y="2419"/>
                  <a:pt x="479" y="2411"/>
                </a:cubicBezTo>
                <a:close/>
                <a:moveTo>
                  <a:pt x="621" y="2286"/>
                </a:moveTo>
                <a:cubicBezTo>
                  <a:pt x="621" y="2286"/>
                  <a:pt x="613" y="2294"/>
                  <a:pt x="613" y="2301"/>
                </a:cubicBezTo>
                <a:cubicBezTo>
                  <a:pt x="621" y="2286"/>
                  <a:pt x="621" y="2286"/>
                  <a:pt x="621" y="2286"/>
                </a:cubicBezTo>
                <a:close/>
                <a:moveTo>
                  <a:pt x="511" y="2427"/>
                </a:moveTo>
                <a:cubicBezTo>
                  <a:pt x="503" y="2427"/>
                  <a:pt x="503" y="2427"/>
                  <a:pt x="503" y="2435"/>
                </a:cubicBezTo>
                <a:cubicBezTo>
                  <a:pt x="511" y="2427"/>
                  <a:pt x="511" y="2427"/>
                  <a:pt x="511" y="2427"/>
                </a:cubicBezTo>
                <a:close/>
                <a:moveTo>
                  <a:pt x="503" y="2435"/>
                </a:moveTo>
                <a:cubicBezTo>
                  <a:pt x="503" y="2435"/>
                  <a:pt x="503" y="2435"/>
                  <a:pt x="503" y="2435"/>
                </a:cubicBezTo>
                <a:cubicBezTo>
                  <a:pt x="503" y="2435"/>
                  <a:pt x="503" y="2435"/>
                  <a:pt x="503" y="2435"/>
                </a:cubicBezTo>
                <a:close/>
                <a:moveTo>
                  <a:pt x="252" y="2137"/>
                </a:moveTo>
                <a:cubicBezTo>
                  <a:pt x="252" y="2129"/>
                  <a:pt x="252" y="2129"/>
                  <a:pt x="252" y="2129"/>
                </a:cubicBezTo>
                <a:cubicBezTo>
                  <a:pt x="252" y="2129"/>
                  <a:pt x="252" y="2137"/>
                  <a:pt x="252" y="2137"/>
                </a:cubicBezTo>
                <a:cubicBezTo>
                  <a:pt x="252" y="2137"/>
                  <a:pt x="252" y="2137"/>
                  <a:pt x="252" y="2137"/>
                </a:cubicBezTo>
                <a:close/>
                <a:moveTo>
                  <a:pt x="244" y="2129"/>
                </a:moveTo>
                <a:cubicBezTo>
                  <a:pt x="244" y="2121"/>
                  <a:pt x="244" y="2121"/>
                  <a:pt x="244" y="2121"/>
                </a:cubicBezTo>
                <a:cubicBezTo>
                  <a:pt x="244" y="2121"/>
                  <a:pt x="244" y="2121"/>
                  <a:pt x="244" y="2121"/>
                </a:cubicBezTo>
                <a:cubicBezTo>
                  <a:pt x="244" y="2121"/>
                  <a:pt x="244" y="2121"/>
                  <a:pt x="244" y="2129"/>
                </a:cubicBezTo>
                <a:close/>
                <a:moveTo>
                  <a:pt x="283" y="2176"/>
                </a:moveTo>
                <a:cubicBezTo>
                  <a:pt x="283" y="2176"/>
                  <a:pt x="283" y="2176"/>
                  <a:pt x="275" y="2161"/>
                </a:cubicBezTo>
                <a:cubicBezTo>
                  <a:pt x="260" y="2145"/>
                  <a:pt x="260" y="2145"/>
                  <a:pt x="260" y="2145"/>
                </a:cubicBezTo>
                <a:cubicBezTo>
                  <a:pt x="260" y="2145"/>
                  <a:pt x="260" y="2145"/>
                  <a:pt x="267" y="2153"/>
                </a:cubicBezTo>
                <a:cubicBezTo>
                  <a:pt x="260" y="2145"/>
                  <a:pt x="260" y="2145"/>
                  <a:pt x="252" y="2137"/>
                </a:cubicBezTo>
                <a:cubicBezTo>
                  <a:pt x="252" y="2137"/>
                  <a:pt x="267" y="2161"/>
                  <a:pt x="275" y="2168"/>
                </a:cubicBezTo>
                <a:cubicBezTo>
                  <a:pt x="275" y="2168"/>
                  <a:pt x="275" y="2168"/>
                  <a:pt x="283" y="2176"/>
                </a:cubicBezTo>
                <a:close/>
                <a:moveTo>
                  <a:pt x="252" y="2129"/>
                </a:moveTo>
                <a:cubicBezTo>
                  <a:pt x="252" y="2129"/>
                  <a:pt x="252" y="2129"/>
                  <a:pt x="244" y="2129"/>
                </a:cubicBezTo>
                <a:cubicBezTo>
                  <a:pt x="244" y="2129"/>
                  <a:pt x="244" y="2129"/>
                  <a:pt x="244" y="2129"/>
                </a:cubicBezTo>
                <a:cubicBezTo>
                  <a:pt x="244" y="2129"/>
                  <a:pt x="244" y="2129"/>
                  <a:pt x="252" y="2129"/>
                </a:cubicBezTo>
                <a:close/>
                <a:moveTo>
                  <a:pt x="244" y="2129"/>
                </a:moveTo>
                <a:cubicBezTo>
                  <a:pt x="244" y="2129"/>
                  <a:pt x="244" y="2129"/>
                  <a:pt x="244" y="2129"/>
                </a:cubicBezTo>
                <a:cubicBezTo>
                  <a:pt x="244" y="2129"/>
                  <a:pt x="244" y="2129"/>
                  <a:pt x="244" y="2129"/>
                </a:cubicBezTo>
                <a:close/>
                <a:moveTo>
                  <a:pt x="236" y="2114"/>
                </a:moveTo>
                <a:cubicBezTo>
                  <a:pt x="236" y="2114"/>
                  <a:pt x="236" y="2114"/>
                  <a:pt x="236" y="2114"/>
                </a:cubicBezTo>
                <a:cubicBezTo>
                  <a:pt x="244" y="2121"/>
                  <a:pt x="236" y="2121"/>
                  <a:pt x="244" y="2121"/>
                </a:cubicBezTo>
                <a:cubicBezTo>
                  <a:pt x="244" y="2121"/>
                  <a:pt x="244" y="2121"/>
                  <a:pt x="236" y="2121"/>
                </a:cubicBezTo>
                <a:cubicBezTo>
                  <a:pt x="236" y="2121"/>
                  <a:pt x="236" y="2121"/>
                  <a:pt x="244" y="2121"/>
                </a:cubicBezTo>
                <a:cubicBezTo>
                  <a:pt x="236" y="2114"/>
                  <a:pt x="228" y="2106"/>
                  <a:pt x="228" y="2106"/>
                </a:cubicBezTo>
                <a:cubicBezTo>
                  <a:pt x="228" y="2106"/>
                  <a:pt x="236" y="2114"/>
                  <a:pt x="236" y="2114"/>
                </a:cubicBezTo>
                <a:close/>
                <a:moveTo>
                  <a:pt x="346" y="2255"/>
                </a:moveTo>
                <a:cubicBezTo>
                  <a:pt x="346" y="2255"/>
                  <a:pt x="346" y="2255"/>
                  <a:pt x="346" y="2255"/>
                </a:cubicBezTo>
                <a:cubicBezTo>
                  <a:pt x="346" y="2255"/>
                  <a:pt x="346" y="2255"/>
                  <a:pt x="346" y="2262"/>
                </a:cubicBezTo>
                <a:cubicBezTo>
                  <a:pt x="346" y="2255"/>
                  <a:pt x="346" y="2255"/>
                  <a:pt x="346" y="2255"/>
                </a:cubicBezTo>
                <a:close/>
                <a:moveTo>
                  <a:pt x="354" y="2262"/>
                </a:moveTo>
                <a:cubicBezTo>
                  <a:pt x="354" y="2262"/>
                  <a:pt x="354" y="2262"/>
                  <a:pt x="346" y="2262"/>
                </a:cubicBezTo>
                <a:cubicBezTo>
                  <a:pt x="346" y="2262"/>
                  <a:pt x="354" y="2262"/>
                  <a:pt x="354" y="2262"/>
                </a:cubicBezTo>
                <a:cubicBezTo>
                  <a:pt x="354" y="2262"/>
                  <a:pt x="354" y="2262"/>
                  <a:pt x="354" y="2262"/>
                </a:cubicBezTo>
                <a:close/>
                <a:moveTo>
                  <a:pt x="354" y="2262"/>
                </a:moveTo>
                <a:cubicBezTo>
                  <a:pt x="354" y="2262"/>
                  <a:pt x="354" y="2262"/>
                  <a:pt x="354" y="2262"/>
                </a:cubicBezTo>
                <a:cubicBezTo>
                  <a:pt x="346" y="2262"/>
                  <a:pt x="346" y="2262"/>
                  <a:pt x="346" y="2262"/>
                </a:cubicBezTo>
                <a:cubicBezTo>
                  <a:pt x="354" y="2262"/>
                  <a:pt x="354" y="2262"/>
                  <a:pt x="354" y="2262"/>
                </a:cubicBezTo>
                <a:close/>
                <a:moveTo>
                  <a:pt x="354" y="2262"/>
                </a:moveTo>
                <a:cubicBezTo>
                  <a:pt x="354" y="2262"/>
                  <a:pt x="354" y="2262"/>
                  <a:pt x="354" y="2270"/>
                </a:cubicBezTo>
                <a:cubicBezTo>
                  <a:pt x="354" y="2262"/>
                  <a:pt x="354" y="2262"/>
                  <a:pt x="354" y="2262"/>
                </a:cubicBezTo>
                <a:close/>
                <a:moveTo>
                  <a:pt x="424" y="2348"/>
                </a:moveTo>
                <a:cubicBezTo>
                  <a:pt x="424" y="2341"/>
                  <a:pt x="424" y="2348"/>
                  <a:pt x="424" y="2341"/>
                </a:cubicBezTo>
                <a:cubicBezTo>
                  <a:pt x="424" y="2341"/>
                  <a:pt x="424" y="2341"/>
                  <a:pt x="417" y="2341"/>
                </a:cubicBezTo>
                <a:cubicBezTo>
                  <a:pt x="424" y="2341"/>
                  <a:pt x="424" y="2356"/>
                  <a:pt x="424" y="2348"/>
                </a:cubicBezTo>
                <a:cubicBezTo>
                  <a:pt x="424" y="2348"/>
                  <a:pt x="424" y="2348"/>
                  <a:pt x="424" y="2356"/>
                </a:cubicBezTo>
                <a:cubicBezTo>
                  <a:pt x="424" y="2356"/>
                  <a:pt x="424" y="2356"/>
                  <a:pt x="440" y="2364"/>
                </a:cubicBezTo>
                <a:cubicBezTo>
                  <a:pt x="440" y="2356"/>
                  <a:pt x="440" y="2356"/>
                  <a:pt x="432" y="2356"/>
                </a:cubicBezTo>
                <a:cubicBezTo>
                  <a:pt x="432" y="2356"/>
                  <a:pt x="432" y="2356"/>
                  <a:pt x="424" y="2348"/>
                </a:cubicBezTo>
                <a:close/>
                <a:moveTo>
                  <a:pt x="676" y="2161"/>
                </a:moveTo>
                <a:cubicBezTo>
                  <a:pt x="676" y="2161"/>
                  <a:pt x="676" y="2161"/>
                  <a:pt x="668" y="2168"/>
                </a:cubicBezTo>
                <a:cubicBezTo>
                  <a:pt x="676" y="2168"/>
                  <a:pt x="668" y="2168"/>
                  <a:pt x="676" y="2161"/>
                </a:cubicBezTo>
                <a:close/>
                <a:moveTo>
                  <a:pt x="236" y="2114"/>
                </a:moveTo>
                <a:cubicBezTo>
                  <a:pt x="244" y="2114"/>
                  <a:pt x="236" y="2114"/>
                  <a:pt x="244" y="2114"/>
                </a:cubicBezTo>
                <a:cubicBezTo>
                  <a:pt x="236" y="2114"/>
                  <a:pt x="236" y="2114"/>
                  <a:pt x="236" y="2114"/>
                </a:cubicBezTo>
                <a:close/>
                <a:moveTo>
                  <a:pt x="244" y="2114"/>
                </a:moveTo>
                <a:cubicBezTo>
                  <a:pt x="244" y="2114"/>
                  <a:pt x="244" y="2114"/>
                  <a:pt x="244" y="2114"/>
                </a:cubicBezTo>
                <a:cubicBezTo>
                  <a:pt x="244" y="2114"/>
                  <a:pt x="244" y="2114"/>
                  <a:pt x="244" y="2114"/>
                </a:cubicBezTo>
                <a:close/>
                <a:moveTo>
                  <a:pt x="228" y="2129"/>
                </a:moveTo>
                <a:cubicBezTo>
                  <a:pt x="228" y="2121"/>
                  <a:pt x="228" y="2121"/>
                  <a:pt x="228" y="2121"/>
                </a:cubicBezTo>
                <a:cubicBezTo>
                  <a:pt x="228" y="2121"/>
                  <a:pt x="228" y="2121"/>
                  <a:pt x="228" y="2121"/>
                </a:cubicBezTo>
                <a:cubicBezTo>
                  <a:pt x="228" y="2121"/>
                  <a:pt x="228" y="2121"/>
                  <a:pt x="228" y="2121"/>
                </a:cubicBezTo>
                <a:cubicBezTo>
                  <a:pt x="228" y="2121"/>
                  <a:pt x="228" y="2121"/>
                  <a:pt x="228" y="2129"/>
                </a:cubicBezTo>
                <a:close/>
                <a:moveTo>
                  <a:pt x="401" y="2333"/>
                </a:moveTo>
                <a:cubicBezTo>
                  <a:pt x="401" y="2341"/>
                  <a:pt x="401" y="2341"/>
                  <a:pt x="409" y="2341"/>
                </a:cubicBezTo>
                <a:cubicBezTo>
                  <a:pt x="401" y="2333"/>
                  <a:pt x="401" y="2333"/>
                  <a:pt x="401" y="2333"/>
                </a:cubicBezTo>
                <a:close/>
                <a:moveTo>
                  <a:pt x="79" y="1949"/>
                </a:moveTo>
                <a:cubicBezTo>
                  <a:pt x="79" y="1949"/>
                  <a:pt x="79" y="1949"/>
                  <a:pt x="71" y="1941"/>
                </a:cubicBezTo>
                <a:cubicBezTo>
                  <a:pt x="71" y="1941"/>
                  <a:pt x="71" y="1941"/>
                  <a:pt x="71" y="1941"/>
                </a:cubicBezTo>
                <a:cubicBezTo>
                  <a:pt x="71" y="1941"/>
                  <a:pt x="71" y="1941"/>
                  <a:pt x="71" y="1941"/>
                </a:cubicBezTo>
                <a:cubicBezTo>
                  <a:pt x="71" y="1941"/>
                  <a:pt x="71" y="1941"/>
                  <a:pt x="79" y="1949"/>
                </a:cubicBezTo>
                <a:close/>
                <a:moveTo>
                  <a:pt x="118" y="1981"/>
                </a:moveTo>
                <a:cubicBezTo>
                  <a:pt x="118" y="1981"/>
                  <a:pt x="126" y="1981"/>
                  <a:pt x="126" y="1981"/>
                </a:cubicBezTo>
                <a:cubicBezTo>
                  <a:pt x="126" y="1981"/>
                  <a:pt x="126" y="1988"/>
                  <a:pt x="126" y="1988"/>
                </a:cubicBezTo>
                <a:cubicBezTo>
                  <a:pt x="118" y="1981"/>
                  <a:pt x="118" y="1981"/>
                  <a:pt x="118" y="1981"/>
                </a:cubicBezTo>
                <a:close/>
                <a:moveTo>
                  <a:pt x="134" y="1988"/>
                </a:moveTo>
                <a:cubicBezTo>
                  <a:pt x="126" y="1988"/>
                  <a:pt x="126" y="1988"/>
                  <a:pt x="126" y="1981"/>
                </a:cubicBezTo>
                <a:cubicBezTo>
                  <a:pt x="126" y="1981"/>
                  <a:pt x="118" y="1981"/>
                  <a:pt x="110" y="1973"/>
                </a:cubicBezTo>
                <a:cubicBezTo>
                  <a:pt x="118" y="1981"/>
                  <a:pt x="126" y="1988"/>
                  <a:pt x="134" y="1988"/>
                </a:cubicBezTo>
                <a:close/>
                <a:moveTo>
                  <a:pt x="134" y="1996"/>
                </a:moveTo>
                <a:cubicBezTo>
                  <a:pt x="134" y="1996"/>
                  <a:pt x="134" y="1996"/>
                  <a:pt x="134" y="1996"/>
                </a:cubicBezTo>
                <a:cubicBezTo>
                  <a:pt x="142" y="1996"/>
                  <a:pt x="142" y="2004"/>
                  <a:pt x="142" y="2004"/>
                </a:cubicBezTo>
                <a:cubicBezTo>
                  <a:pt x="142" y="2004"/>
                  <a:pt x="142" y="2004"/>
                  <a:pt x="134" y="1996"/>
                </a:cubicBezTo>
                <a:close/>
                <a:moveTo>
                  <a:pt x="134" y="1996"/>
                </a:moveTo>
                <a:cubicBezTo>
                  <a:pt x="134" y="1996"/>
                  <a:pt x="134" y="1996"/>
                  <a:pt x="134" y="1988"/>
                </a:cubicBezTo>
                <a:cubicBezTo>
                  <a:pt x="134" y="1996"/>
                  <a:pt x="134" y="1996"/>
                  <a:pt x="134" y="1996"/>
                </a:cubicBezTo>
                <a:cubicBezTo>
                  <a:pt x="134" y="1996"/>
                  <a:pt x="134" y="1996"/>
                  <a:pt x="134" y="1996"/>
                </a:cubicBezTo>
                <a:close/>
                <a:moveTo>
                  <a:pt x="236" y="2114"/>
                </a:moveTo>
                <a:cubicBezTo>
                  <a:pt x="236" y="2114"/>
                  <a:pt x="236" y="2114"/>
                  <a:pt x="228" y="2114"/>
                </a:cubicBezTo>
                <a:cubicBezTo>
                  <a:pt x="236" y="2114"/>
                  <a:pt x="236" y="2114"/>
                  <a:pt x="236" y="2114"/>
                </a:cubicBezTo>
                <a:close/>
                <a:moveTo>
                  <a:pt x="409" y="2333"/>
                </a:moveTo>
                <a:cubicBezTo>
                  <a:pt x="401" y="2317"/>
                  <a:pt x="401" y="2317"/>
                  <a:pt x="401" y="2317"/>
                </a:cubicBezTo>
                <a:cubicBezTo>
                  <a:pt x="401" y="2325"/>
                  <a:pt x="409" y="2325"/>
                  <a:pt x="409" y="2341"/>
                </a:cubicBezTo>
                <a:cubicBezTo>
                  <a:pt x="409" y="2341"/>
                  <a:pt x="409" y="2341"/>
                  <a:pt x="409" y="2333"/>
                </a:cubicBezTo>
                <a:close/>
                <a:moveTo>
                  <a:pt x="550" y="2372"/>
                </a:moveTo>
                <a:cubicBezTo>
                  <a:pt x="550" y="2372"/>
                  <a:pt x="550" y="2372"/>
                  <a:pt x="550" y="2372"/>
                </a:cubicBezTo>
                <a:cubicBezTo>
                  <a:pt x="550" y="2372"/>
                  <a:pt x="550" y="2372"/>
                  <a:pt x="550" y="2372"/>
                </a:cubicBezTo>
                <a:cubicBezTo>
                  <a:pt x="550" y="2372"/>
                  <a:pt x="550" y="2372"/>
                  <a:pt x="550" y="2372"/>
                </a:cubicBezTo>
                <a:close/>
                <a:moveTo>
                  <a:pt x="582" y="2325"/>
                </a:moveTo>
                <a:cubicBezTo>
                  <a:pt x="574" y="2341"/>
                  <a:pt x="566" y="2341"/>
                  <a:pt x="566" y="2348"/>
                </a:cubicBezTo>
                <a:cubicBezTo>
                  <a:pt x="566" y="2356"/>
                  <a:pt x="566" y="2356"/>
                  <a:pt x="566" y="2356"/>
                </a:cubicBezTo>
                <a:cubicBezTo>
                  <a:pt x="574" y="2341"/>
                  <a:pt x="582" y="2333"/>
                  <a:pt x="582" y="2333"/>
                </a:cubicBezTo>
                <a:cubicBezTo>
                  <a:pt x="582" y="2325"/>
                  <a:pt x="582" y="2325"/>
                  <a:pt x="582" y="2325"/>
                </a:cubicBezTo>
                <a:close/>
                <a:moveTo>
                  <a:pt x="582" y="2333"/>
                </a:moveTo>
                <a:cubicBezTo>
                  <a:pt x="582" y="2333"/>
                  <a:pt x="582" y="2341"/>
                  <a:pt x="574" y="2341"/>
                </a:cubicBezTo>
                <a:cubicBezTo>
                  <a:pt x="582" y="2341"/>
                  <a:pt x="582" y="2341"/>
                  <a:pt x="582" y="2341"/>
                </a:cubicBezTo>
                <a:cubicBezTo>
                  <a:pt x="582" y="2333"/>
                  <a:pt x="582" y="2333"/>
                  <a:pt x="582" y="2333"/>
                </a:cubicBezTo>
                <a:close/>
                <a:moveTo>
                  <a:pt x="566" y="2348"/>
                </a:moveTo>
                <a:cubicBezTo>
                  <a:pt x="558" y="2356"/>
                  <a:pt x="566" y="2356"/>
                  <a:pt x="566" y="2364"/>
                </a:cubicBezTo>
                <a:cubicBezTo>
                  <a:pt x="566" y="2364"/>
                  <a:pt x="566" y="2364"/>
                  <a:pt x="566" y="2356"/>
                </a:cubicBezTo>
                <a:cubicBezTo>
                  <a:pt x="566" y="2356"/>
                  <a:pt x="566" y="2356"/>
                  <a:pt x="566" y="2348"/>
                </a:cubicBezTo>
                <a:close/>
                <a:moveTo>
                  <a:pt x="574" y="2341"/>
                </a:moveTo>
                <a:cubicBezTo>
                  <a:pt x="574" y="2341"/>
                  <a:pt x="574" y="2348"/>
                  <a:pt x="566" y="2348"/>
                </a:cubicBezTo>
                <a:cubicBezTo>
                  <a:pt x="574" y="2348"/>
                  <a:pt x="574" y="2341"/>
                  <a:pt x="574" y="2341"/>
                </a:cubicBezTo>
                <a:close/>
                <a:moveTo>
                  <a:pt x="644" y="2215"/>
                </a:moveTo>
                <a:cubicBezTo>
                  <a:pt x="644" y="2223"/>
                  <a:pt x="644" y="2223"/>
                  <a:pt x="644" y="2223"/>
                </a:cubicBezTo>
                <a:cubicBezTo>
                  <a:pt x="644" y="2215"/>
                  <a:pt x="652" y="2208"/>
                  <a:pt x="644" y="2215"/>
                </a:cubicBezTo>
                <a:close/>
                <a:moveTo>
                  <a:pt x="291" y="2184"/>
                </a:moveTo>
                <a:cubicBezTo>
                  <a:pt x="291" y="2192"/>
                  <a:pt x="291" y="2192"/>
                  <a:pt x="291" y="2192"/>
                </a:cubicBezTo>
                <a:cubicBezTo>
                  <a:pt x="291" y="2192"/>
                  <a:pt x="291" y="2192"/>
                  <a:pt x="283" y="2176"/>
                </a:cubicBezTo>
                <a:cubicBezTo>
                  <a:pt x="291" y="2192"/>
                  <a:pt x="291" y="2192"/>
                  <a:pt x="291" y="2200"/>
                </a:cubicBezTo>
                <a:cubicBezTo>
                  <a:pt x="299" y="2200"/>
                  <a:pt x="299" y="2200"/>
                  <a:pt x="299" y="2200"/>
                </a:cubicBezTo>
                <a:cubicBezTo>
                  <a:pt x="291" y="2192"/>
                  <a:pt x="291" y="2192"/>
                  <a:pt x="291" y="2184"/>
                </a:cubicBezTo>
                <a:close/>
                <a:moveTo>
                  <a:pt x="275" y="2176"/>
                </a:moveTo>
                <a:cubicBezTo>
                  <a:pt x="275" y="2176"/>
                  <a:pt x="283" y="2176"/>
                  <a:pt x="283" y="2176"/>
                </a:cubicBezTo>
                <a:cubicBezTo>
                  <a:pt x="283" y="2176"/>
                  <a:pt x="283" y="2176"/>
                  <a:pt x="275" y="2176"/>
                </a:cubicBezTo>
                <a:close/>
                <a:moveTo>
                  <a:pt x="558" y="2356"/>
                </a:moveTo>
                <a:cubicBezTo>
                  <a:pt x="558" y="2356"/>
                  <a:pt x="558" y="2356"/>
                  <a:pt x="550" y="2364"/>
                </a:cubicBezTo>
                <a:cubicBezTo>
                  <a:pt x="550" y="2372"/>
                  <a:pt x="550" y="2364"/>
                  <a:pt x="558" y="2356"/>
                </a:cubicBezTo>
                <a:close/>
                <a:moveTo>
                  <a:pt x="676" y="2161"/>
                </a:moveTo>
                <a:cubicBezTo>
                  <a:pt x="676" y="2161"/>
                  <a:pt x="676" y="2161"/>
                  <a:pt x="676" y="2161"/>
                </a:cubicBezTo>
                <a:cubicBezTo>
                  <a:pt x="676" y="2161"/>
                  <a:pt x="676" y="2161"/>
                  <a:pt x="676" y="2161"/>
                </a:cubicBezTo>
                <a:cubicBezTo>
                  <a:pt x="676" y="2161"/>
                  <a:pt x="676" y="2161"/>
                  <a:pt x="676" y="2161"/>
                </a:cubicBezTo>
                <a:close/>
                <a:moveTo>
                  <a:pt x="244" y="2129"/>
                </a:moveTo>
                <a:cubicBezTo>
                  <a:pt x="244" y="2129"/>
                  <a:pt x="244" y="2129"/>
                  <a:pt x="260" y="2145"/>
                </a:cubicBezTo>
                <a:cubicBezTo>
                  <a:pt x="260" y="2145"/>
                  <a:pt x="260" y="2145"/>
                  <a:pt x="260" y="2153"/>
                </a:cubicBezTo>
                <a:cubicBezTo>
                  <a:pt x="260" y="2153"/>
                  <a:pt x="260" y="2153"/>
                  <a:pt x="260" y="2145"/>
                </a:cubicBezTo>
                <a:cubicBezTo>
                  <a:pt x="252" y="2137"/>
                  <a:pt x="252" y="2137"/>
                  <a:pt x="244" y="2129"/>
                </a:cubicBezTo>
                <a:cubicBezTo>
                  <a:pt x="244" y="2129"/>
                  <a:pt x="244" y="2129"/>
                  <a:pt x="236" y="2121"/>
                </a:cubicBezTo>
                <a:cubicBezTo>
                  <a:pt x="236" y="2121"/>
                  <a:pt x="244" y="2121"/>
                  <a:pt x="244" y="2129"/>
                </a:cubicBezTo>
                <a:close/>
                <a:moveTo>
                  <a:pt x="597" y="2309"/>
                </a:moveTo>
                <a:cubicBezTo>
                  <a:pt x="597" y="2309"/>
                  <a:pt x="597" y="2301"/>
                  <a:pt x="597" y="2301"/>
                </a:cubicBezTo>
                <a:cubicBezTo>
                  <a:pt x="597" y="2301"/>
                  <a:pt x="597" y="2301"/>
                  <a:pt x="597" y="2301"/>
                </a:cubicBezTo>
                <a:cubicBezTo>
                  <a:pt x="597" y="2309"/>
                  <a:pt x="597" y="2309"/>
                  <a:pt x="597" y="2309"/>
                </a:cubicBezTo>
                <a:close/>
                <a:moveTo>
                  <a:pt x="613" y="2286"/>
                </a:moveTo>
                <a:cubicBezTo>
                  <a:pt x="613" y="2286"/>
                  <a:pt x="613" y="2286"/>
                  <a:pt x="613" y="2270"/>
                </a:cubicBezTo>
                <a:cubicBezTo>
                  <a:pt x="613" y="2270"/>
                  <a:pt x="613" y="2270"/>
                  <a:pt x="613" y="2278"/>
                </a:cubicBezTo>
                <a:cubicBezTo>
                  <a:pt x="613" y="2286"/>
                  <a:pt x="605" y="2294"/>
                  <a:pt x="597" y="2301"/>
                </a:cubicBezTo>
                <a:cubicBezTo>
                  <a:pt x="597" y="2301"/>
                  <a:pt x="597" y="2301"/>
                  <a:pt x="597" y="2301"/>
                </a:cubicBezTo>
                <a:cubicBezTo>
                  <a:pt x="597" y="2301"/>
                  <a:pt x="597" y="2301"/>
                  <a:pt x="597" y="2301"/>
                </a:cubicBezTo>
                <a:cubicBezTo>
                  <a:pt x="597" y="2301"/>
                  <a:pt x="597" y="2301"/>
                  <a:pt x="597" y="2301"/>
                </a:cubicBezTo>
                <a:cubicBezTo>
                  <a:pt x="597" y="2301"/>
                  <a:pt x="597" y="2301"/>
                  <a:pt x="597" y="2301"/>
                </a:cubicBezTo>
                <a:cubicBezTo>
                  <a:pt x="605" y="2294"/>
                  <a:pt x="605" y="2294"/>
                  <a:pt x="613" y="2294"/>
                </a:cubicBezTo>
                <a:cubicBezTo>
                  <a:pt x="613" y="2294"/>
                  <a:pt x="613" y="2294"/>
                  <a:pt x="613" y="2286"/>
                </a:cubicBezTo>
                <a:cubicBezTo>
                  <a:pt x="613" y="2286"/>
                  <a:pt x="613" y="2286"/>
                  <a:pt x="613" y="2286"/>
                </a:cubicBezTo>
                <a:cubicBezTo>
                  <a:pt x="613" y="2286"/>
                  <a:pt x="613" y="2286"/>
                  <a:pt x="613" y="2286"/>
                </a:cubicBezTo>
                <a:cubicBezTo>
                  <a:pt x="613" y="2286"/>
                  <a:pt x="613" y="2286"/>
                  <a:pt x="613" y="2286"/>
                </a:cubicBezTo>
                <a:close/>
                <a:moveTo>
                  <a:pt x="613" y="2286"/>
                </a:moveTo>
                <a:cubicBezTo>
                  <a:pt x="613" y="2286"/>
                  <a:pt x="613" y="2286"/>
                  <a:pt x="613" y="2286"/>
                </a:cubicBezTo>
                <a:cubicBezTo>
                  <a:pt x="613" y="2278"/>
                  <a:pt x="613" y="2278"/>
                  <a:pt x="613" y="2270"/>
                </a:cubicBezTo>
                <a:cubicBezTo>
                  <a:pt x="613" y="2278"/>
                  <a:pt x="613" y="2278"/>
                  <a:pt x="613" y="2286"/>
                </a:cubicBezTo>
                <a:close/>
                <a:moveTo>
                  <a:pt x="629" y="2247"/>
                </a:moveTo>
                <a:cubicBezTo>
                  <a:pt x="636" y="2247"/>
                  <a:pt x="636" y="2239"/>
                  <a:pt x="636" y="2239"/>
                </a:cubicBezTo>
                <a:cubicBezTo>
                  <a:pt x="636" y="2239"/>
                  <a:pt x="636" y="2239"/>
                  <a:pt x="636" y="2239"/>
                </a:cubicBezTo>
                <a:cubicBezTo>
                  <a:pt x="636" y="2239"/>
                  <a:pt x="636" y="2239"/>
                  <a:pt x="636" y="2231"/>
                </a:cubicBezTo>
                <a:cubicBezTo>
                  <a:pt x="636" y="2231"/>
                  <a:pt x="636" y="2231"/>
                  <a:pt x="636" y="2231"/>
                </a:cubicBezTo>
                <a:cubicBezTo>
                  <a:pt x="636" y="2231"/>
                  <a:pt x="636" y="2231"/>
                  <a:pt x="644" y="2231"/>
                </a:cubicBezTo>
                <a:cubicBezTo>
                  <a:pt x="644" y="2231"/>
                  <a:pt x="644" y="2231"/>
                  <a:pt x="644" y="2223"/>
                </a:cubicBezTo>
                <a:cubicBezTo>
                  <a:pt x="644" y="2223"/>
                  <a:pt x="644" y="2223"/>
                  <a:pt x="629" y="2239"/>
                </a:cubicBezTo>
                <a:cubicBezTo>
                  <a:pt x="629" y="2247"/>
                  <a:pt x="629" y="2247"/>
                  <a:pt x="629" y="2247"/>
                </a:cubicBezTo>
                <a:cubicBezTo>
                  <a:pt x="629" y="2247"/>
                  <a:pt x="629" y="2247"/>
                  <a:pt x="629" y="2255"/>
                </a:cubicBezTo>
                <a:cubicBezTo>
                  <a:pt x="629" y="2255"/>
                  <a:pt x="629" y="2255"/>
                  <a:pt x="629" y="2239"/>
                </a:cubicBezTo>
                <a:cubicBezTo>
                  <a:pt x="629" y="2239"/>
                  <a:pt x="629" y="2239"/>
                  <a:pt x="629" y="2247"/>
                </a:cubicBezTo>
                <a:close/>
                <a:moveTo>
                  <a:pt x="550" y="2372"/>
                </a:moveTo>
                <a:cubicBezTo>
                  <a:pt x="550" y="2372"/>
                  <a:pt x="550" y="2372"/>
                  <a:pt x="550" y="2372"/>
                </a:cubicBezTo>
                <a:cubicBezTo>
                  <a:pt x="550" y="2372"/>
                  <a:pt x="550" y="2372"/>
                  <a:pt x="550" y="2372"/>
                </a:cubicBezTo>
                <a:cubicBezTo>
                  <a:pt x="550" y="2372"/>
                  <a:pt x="550" y="2372"/>
                  <a:pt x="550" y="2372"/>
                </a:cubicBezTo>
                <a:cubicBezTo>
                  <a:pt x="550" y="2372"/>
                  <a:pt x="550" y="2372"/>
                  <a:pt x="542" y="2372"/>
                </a:cubicBezTo>
                <a:cubicBezTo>
                  <a:pt x="542" y="2388"/>
                  <a:pt x="542" y="2388"/>
                  <a:pt x="542" y="2388"/>
                </a:cubicBezTo>
                <a:cubicBezTo>
                  <a:pt x="550" y="2372"/>
                  <a:pt x="550" y="2380"/>
                  <a:pt x="550" y="2372"/>
                </a:cubicBezTo>
                <a:close/>
                <a:moveTo>
                  <a:pt x="597" y="2309"/>
                </a:moveTo>
                <a:cubicBezTo>
                  <a:pt x="597" y="2309"/>
                  <a:pt x="597" y="2309"/>
                  <a:pt x="597" y="2309"/>
                </a:cubicBezTo>
                <a:cubicBezTo>
                  <a:pt x="597" y="2309"/>
                  <a:pt x="597" y="2309"/>
                  <a:pt x="597" y="2309"/>
                </a:cubicBezTo>
                <a:cubicBezTo>
                  <a:pt x="597" y="2309"/>
                  <a:pt x="597" y="2309"/>
                  <a:pt x="597" y="2309"/>
                </a:cubicBezTo>
                <a:close/>
                <a:moveTo>
                  <a:pt x="589" y="2317"/>
                </a:moveTo>
                <a:cubicBezTo>
                  <a:pt x="589" y="2317"/>
                  <a:pt x="589" y="2317"/>
                  <a:pt x="597" y="2309"/>
                </a:cubicBezTo>
                <a:cubicBezTo>
                  <a:pt x="589" y="2309"/>
                  <a:pt x="589" y="2309"/>
                  <a:pt x="589" y="2309"/>
                </a:cubicBezTo>
                <a:cubicBezTo>
                  <a:pt x="589" y="2309"/>
                  <a:pt x="589" y="2309"/>
                  <a:pt x="589" y="2317"/>
                </a:cubicBezTo>
                <a:close/>
                <a:moveTo>
                  <a:pt x="40" y="1926"/>
                </a:moveTo>
                <a:cubicBezTo>
                  <a:pt x="32" y="1926"/>
                  <a:pt x="32" y="1926"/>
                  <a:pt x="32" y="1926"/>
                </a:cubicBezTo>
                <a:cubicBezTo>
                  <a:pt x="40" y="1934"/>
                  <a:pt x="40" y="1934"/>
                  <a:pt x="48" y="1941"/>
                </a:cubicBezTo>
                <a:cubicBezTo>
                  <a:pt x="48" y="1941"/>
                  <a:pt x="48" y="1941"/>
                  <a:pt x="40" y="1926"/>
                </a:cubicBezTo>
                <a:close/>
                <a:moveTo>
                  <a:pt x="87" y="1957"/>
                </a:moveTo>
                <a:cubicBezTo>
                  <a:pt x="87" y="1965"/>
                  <a:pt x="87" y="1965"/>
                  <a:pt x="87" y="1965"/>
                </a:cubicBezTo>
                <a:cubicBezTo>
                  <a:pt x="95" y="1965"/>
                  <a:pt x="95" y="1965"/>
                  <a:pt x="95" y="1965"/>
                </a:cubicBezTo>
                <a:lnTo>
                  <a:pt x="87" y="1957"/>
                </a:lnTo>
                <a:close/>
                <a:moveTo>
                  <a:pt x="644" y="2223"/>
                </a:moveTo>
                <a:cubicBezTo>
                  <a:pt x="652" y="2215"/>
                  <a:pt x="652" y="2215"/>
                  <a:pt x="652" y="2215"/>
                </a:cubicBezTo>
                <a:cubicBezTo>
                  <a:pt x="644" y="2215"/>
                  <a:pt x="652" y="2215"/>
                  <a:pt x="644" y="2223"/>
                </a:cubicBezTo>
                <a:close/>
                <a:moveTo>
                  <a:pt x="220" y="2098"/>
                </a:moveTo>
                <a:cubicBezTo>
                  <a:pt x="220" y="2098"/>
                  <a:pt x="220" y="2098"/>
                  <a:pt x="220" y="2106"/>
                </a:cubicBezTo>
                <a:cubicBezTo>
                  <a:pt x="220" y="2098"/>
                  <a:pt x="220" y="2098"/>
                  <a:pt x="220" y="2098"/>
                </a:cubicBezTo>
                <a:close/>
                <a:moveTo>
                  <a:pt x="644" y="2231"/>
                </a:moveTo>
                <a:cubicBezTo>
                  <a:pt x="644" y="2231"/>
                  <a:pt x="636" y="2231"/>
                  <a:pt x="636" y="2231"/>
                </a:cubicBezTo>
                <a:cubicBezTo>
                  <a:pt x="644" y="2231"/>
                  <a:pt x="644" y="2231"/>
                  <a:pt x="644" y="2231"/>
                </a:cubicBezTo>
                <a:close/>
                <a:moveTo>
                  <a:pt x="71" y="1957"/>
                </a:moveTo>
                <a:cubicBezTo>
                  <a:pt x="71" y="1957"/>
                  <a:pt x="79" y="1957"/>
                  <a:pt x="79" y="1957"/>
                </a:cubicBezTo>
                <a:cubicBezTo>
                  <a:pt x="71" y="1957"/>
                  <a:pt x="71" y="1957"/>
                  <a:pt x="71" y="1957"/>
                </a:cubicBezTo>
                <a:close/>
                <a:moveTo>
                  <a:pt x="79" y="1957"/>
                </a:moveTo>
                <a:cubicBezTo>
                  <a:pt x="79" y="1957"/>
                  <a:pt x="79" y="1957"/>
                  <a:pt x="87" y="1957"/>
                </a:cubicBezTo>
                <a:cubicBezTo>
                  <a:pt x="87" y="1957"/>
                  <a:pt x="79" y="1957"/>
                  <a:pt x="79" y="1957"/>
                </a:cubicBezTo>
                <a:close/>
                <a:moveTo>
                  <a:pt x="212" y="2106"/>
                </a:moveTo>
                <a:cubicBezTo>
                  <a:pt x="212" y="2090"/>
                  <a:pt x="212" y="2090"/>
                  <a:pt x="212" y="2090"/>
                </a:cubicBezTo>
                <a:cubicBezTo>
                  <a:pt x="212" y="2098"/>
                  <a:pt x="212" y="2098"/>
                  <a:pt x="212" y="2098"/>
                </a:cubicBezTo>
                <a:cubicBezTo>
                  <a:pt x="212" y="2098"/>
                  <a:pt x="212" y="2098"/>
                  <a:pt x="212" y="2098"/>
                </a:cubicBezTo>
                <a:cubicBezTo>
                  <a:pt x="212" y="2098"/>
                  <a:pt x="212" y="2098"/>
                  <a:pt x="212" y="2098"/>
                </a:cubicBezTo>
                <a:cubicBezTo>
                  <a:pt x="212" y="2098"/>
                  <a:pt x="212" y="2098"/>
                  <a:pt x="212" y="2098"/>
                </a:cubicBezTo>
                <a:cubicBezTo>
                  <a:pt x="212" y="2098"/>
                  <a:pt x="212" y="2098"/>
                  <a:pt x="212" y="2106"/>
                </a:cubicBezTo>
                <a:close/>
                <a:moveTo>
                  <a:pt x="63" y="1949"/>
                </a:moveTo>
                <a:cubicBezTo>
                  <a:pt x="71" y="1957"/>
                  <a:pt x="71" y="1957"/>
                  <a:pt x="71" y="1957"/>
                </a:cubicBezTo>
                <a:cubicBezTo>
                  <a:pt x="71" y="1949"/>
                  <a:pt x="71" y="1949"/>
                  <a:pt x="63" y="1949"/>
                </a:cubicBezTo>
                <a:close/>
                <a:moveTo>
                  <a:pt x="48" y="1941"/>
                </a:moveTo>
                <a:cubicBezTo>
                  <a:pt x="48" y="1941"/>
                  <a:pt x="48" y="1941"/>
                  <a:pt x="55" y="1941"/>
                </a:cubicBezTo>
                <a:cubicBezTo>
                  <a:pt x="55" y="1941"/>
                  <a:pt x="55" y="1941"/>
                  <a:pt x="48" y="1941"/>
                </a:cubicBezTo>
                <a:close/>
                <a:moveTo>
                  <a:pt x="260" y="2161"/>
                </a:moveTo>
                <a:cubicBezTo>
                  <a:pt x="260" y="2153"/>
                  <a:pt x="260" y="2153"/>
                  <a:pt x="252" y="2145"/>
                </a:cubicBezTo>
                <a:lnTo>
                  <a:pt x="260" y="2161"/>
                </a:lnTo>
                <a:close/>
                <a:moveTo>
                  <a:pt x="40" y="1934"/>
                </a:moveTo>
                <a:cubicBezTo>
                  <a:pt x="40" y="1934"/>
                  <a:pt x="40" y="1934"/>
                  <a:pt x="32" y="1934"/>
                </a:cubicBezTo>
                <a:cubicBezTo>
                  <a:pt x="40" y="1934"/>
                  <a:pt x="40" y="1934"/>
                  <a:pt x="40" y="1941"/>
                </a:cubicBezTo>
                <a:cubicBezTo>
                  <a:pt x="40" y="1941"/>
                  <a:pt x="40" y="1941"/>
                  <a:pt x="40" y="1941"/>
                </a:cubicBezTo>
                <a:cubicBezTo>
                  <a:pt x="40" y="1941"/>
                  <a:pt x="48" y="1941"/>
                  <a:pt x="55" y="1949"/>
                </a:cubicBezTo>
                <a:cubicBezTo>
                  <a:pt x="55" y="1949"/>
                  <a:pt x="55" y="1949"/>
                  <a:pt x="55" y="1949"/>
                </a:cubicBezTo>
                <a:cubicBezTo>
                  <a:pt x="55" y="1949"/>
                  <a:pt x="55" y="1949"/>
                  <a:pt x="55" y="1949"/>
                </a:cubicBezTo>
                <a:cubicBezTo>
                  <a:pt x="71" y="1957"/>
                  <a:pt x="55" y="1949"/>
                  <a:pt x="71" y="1957"/>
                </a:cubicBezTo>
                <a:cubicBezTo>
                  <a:pt x="71" y="1957"/>
                  <a:pt x="71" y="1957"/>
                  <a:pt x="87" y="1965"/>
                </a:cubicBezTo>
                <a:cubicBezTo>
                  <a:pt x="87" y="1973"/>
                  <a:pt x="87" y="1973"/>
                  <a:pt x="87" y="1965"/>
                </a:cubicBezTo>
                <a:cubicBezTo>
                  <a:pt x="87" y="1965"/>
                  <a:pt x="87" y="1965"/>
                  <a:pt x="71" y="1957"/>
                </a:cubicBezTo>
                <a:cubicBezTo>
                  <a:pt x="63" y="1949"/>
                  <a:pt x="63" y="1949"/>
                  <a:pt x="55" y="1941"/>
                </a:cubicBezTo>
                <a:cubicBezTo>
                  <a:pt x="55" y="1941"/>
                  <a:pt x="55" y="1941"/>
                  <a:pt x="63" y="1949"/>
                </a:cubicBezTo>
                <a:cubicBezTo>
                  <a:pt x="63" y="1949"/>
                  <a:pt x="63" y="1949"/>
                  <a:pt x="63" y="1949"/>
                </a:cubicBezTo>
                <a:cubicBezTo>
                  <a:pt x="63" y="1949"/>
                  <a:pt x="55" y="1941"/>
                  <a:pt x="55" y="1941"/>
                </a:cubicBezTo>
                <a:cubicBezTo>
                  <a:pt x="55" y="1941"/>
                  <a:pt x="55" y="1941"/>
                  <a:pt x="55" y="1941"/>
                </a:cubicBezTo>
                <a:cubicBezTo>
                  <a:pt x="48" y="1941"/>
                  <a:pt x="40" y="1941"/>
                  <a:pt x="40" y="1934"/>
                </a:cubicBezTo>
                <a:close/>
                <a:moveTo>
                  <a:pt x="644" y="2239"/>
                </a:moveTo>
                <a:cubicBezTo>
                  <a:pt x="644" y="2239"/>
                  <a:pt x="644" y="2239"/>
                  <a:pt x="644" y="2239"/>
                </a:cubicBezTo>
                <a:cubicBezTo>
                  <a:pt x="644" y="2239"/>
                  <a:pt x="644" y="2239"/>
                  <a:pt x="644" y="2239"/>
                </a:cubicBezTo>
                <a:cubicBezTo>
                  <a:pt x="644" y="2231"/>
                  <a:pt x="644" y="2231"/>
                  <a:pt x="644" y="2231"/>
                </a:cubicBezTo>
                <a:cubicBezTo>
                  <a:pt x="644" y="2231"/>
                  <a:pt x="644" y="2231"/>
                  <a:pt x="644" y="2239"/>
                </a:cubicBezTo>
                <a:close/>
                <a:moveTo>
                  <a:pt x="197" y="2075"/>
                </a:moveTo>
                <a:cubicBezTo>
                  <a:pt x="197" y="2082"/>
                  <a:pt x="197" y="2075"/>
                  <a:pt x="197" y="2082"/>
                </a:cubicBezTo>
                <a:cubicBezTo>
                  <a:pt x="197" y="2082"/>
                  <a:pt x="197" y="2082"/>
                  <a:pt x="197" y="2075"/>
                </a:cubicBezTo>
                <a:close/>
                <a:moveTo>
                  <a:pt x="32" y="1926"/>
                </a:moveTo>
                <a:cubicBezTo>
                  <a:pt x="24" y="1926"/>
                  <a:pt x="24" y="1926"/>
                  <a:pt x="24" y="1926"/>
                </a:cubicBezTo>
                <a:cubicBezTo>
                  <a:pt x="32" y="1934"/>
                  <a:pt x="32" y="1934"/>
                  <a:pt x="32" y="1934"/>
                </a:cubicBezTo>
                <a:cubicBezTo>
                  <a:pt x="32" y="1934"/>
                  <a:pt x="32" y="1934"/>
                  <a:pt x="32" y="1926"/>
                </a:cubicBezTo>
                <a:close/>
                <a:moveTo>
                  <a:pt x="32" y="1934"/>
                </a:moveTo>
                <a:cubicBezTo>
                  <a:pt x="32" y="1934"/>
                  <a:pt x="32" y="1934"/>
                  <a:pt x="32" y="1934"/>
                </a:cubicBezTo>
                <a:cubicBezTo>
                  <a:pt x="32" y="1934"/>
                  <a:pt x="32" y="1934"/>
                  <a:pt x="32" y="1934"/>
                </a:cubicBezTo>
                <a:cubicBezTo>
                  <a:pt x="32" y="1934"/>
                  <a:pt x="32" y="1934"/>
                  <a:pt x="32" y="1934"/>
                </a:cubicBezTo>
                <a:close/>
                <a:moveTo>
                  <a:pt x="189" y="2075"/>
                </a:moveTo>
                <a:cubicBezTo>
                  <a:pt x="189" y="2067"/>
                  <a:pt x="189" y="2067"/>
                  <a:pt x="189" y="2067"/>
                </a:cubicBezTo>
                <a:cubicBezTo>
                  <a:pt x="189" y="2059"/>
                  <a:pt x="189" y="2059"/>
                  <a:pt x="189" y="2059"/>
                </a:cubicBezTo>
                <a:cubicBezTo>
                  <a:pt x="181" y="2059"/>
                  <a:pt x="181" y="2059"/>
                  <a:pt x="181" y="2059"/>
                </a:cubicBezTo>
                <a:cubicBezTo>
                  <a:pt x="189" y="2067"/>
                  <a:pt x="189" y="2067"/>
                  <a:pt x="189" y="2067"/>
                </a:cubicBezTo>
                <a:cubicBezTo>
                  <a:pt x="189" y="2067"/>
                  <a:pt x="189" y="2075"/>
                  <a:pt x="197" y="2082"/>
                </a:cubicBezTo>
                <a:cubicBezTo>
                  <a:pt x="197" y="2082"/>
                  <a:pt x="197" y="2082"/>
                  <a:pt x="197" y="2082"/>
                </a:cubicBezTo>
                <a:cubicBezTo>
                  <a:pt x="197" y="2082"/>
                  <a:pt x="197" y="2075"/>
                  <a:pt x="189" y="2075"/>
                </a:cubicBezTo>
                <a:close/>
                <a:moveTo>
                  <a:pt x="205" y="2082"/>
                </a:moveTo>
                <a:cubicBezTo>
                  <a:pt x="197" y="2082"/>
                  <a:pt x="197" y="2082"/>
                  <a:pt x="197" y="2082"/>
                </a:cubicBezTo>
                <a:cubicBezTo>
                  <a:pt x="197" y="2082"/>
                  <a:pt x="205" y="2082"/>
                  <a:pt x="205" y="2082"/>
                </a:cubicBezTo>
                <a:cubicBezTo>
                  <a:pt x="205" y="2082"/>
                  <a:pt x="205" y="2082"/>
                  <a:pt x="205" y="2082"/>
                </a:cubicBezTo>
                <a:close/>
                <a:moveTo>
                  <a:pt x="205" y="2090"/>
                </a:moveTo>
                <a:cubicBezTo>
                  <a:pt x="205" y="2090"/>
                  <a:pt x="205" y="2090"/>
                  <a:pt x="205" y="2090"/>
                </a:cubicBezTo>
                <a:cubicBezTo>
                  <a:pt x="205" y="2090"/>
                  <a:pt x="212" y="2098"/>
                  <a:pt x="212" y="2098"/>
                </a:cubicBezTo>
                <a:cubicBezTo>
                  <a:pt x="212" y="2098"/>
                  <a:pt x="212" y="2098"/>
                  <a:pt x="205" y="2090"/>
                </a:cubicBezTo>
                <a:cubicBezTo>
                  <a:pt x="205" y="2090"/>
                  <a:pt x="205" y="2090"/>
                  <a:pt x="205" y="2090"/>
                </a:cubicBezTo>
                <a:cubicBezTo>
                  <a:pt x="205" y="2090"/>
                  <a:pt x="205" y="2090"/>
                  <a:pt x="205" y="2090"/>
                </a:cubicBezTo>
                <a:cubicBezTo>
                  <a:pt x="205" y="2090"/>
                  <a:pt x="205" y="2090"/>
                  <a:pt x="205" y="2090"/>
                </a:cubicBezTo>
                <a:cubicBezTo>
                  <a:pt x="205" y="2090"/>
                  <a:pt x="205" y="2082"/>
                  <a:pt x="205" y="2082"/>
                </a:cubicBezTo>
                <a:cubicBezTo>
                  <a:pt x="205" y="2082"/>
                  <a:pt x="205" y="2090"/>
                  <a:pt x="205" y="2090"/>
                </a:cubicBezTo>
                <a:cubicBezTo>
                  <a:pt x="205" y="2090"/>
                  <a:pt x="205" y="2090"/>
                  <a:pt x="205" y="2090"/>
                </a:cubicBezTo>
                <a:close/>
                <a:moveTo>
                  <a:pt x="142" y="2012"/>
                </a:moveTo>
                <a:cubicBezTo>
                  <a:pt x="142" y="2012"/>
                  <a:pt x="142" y="2012"/>
                  <a:pt x="142" y="2012"/>
                </a:cubicBezTo>
                <a:cubicBezTo>
                  <a:pt x="150" y="2020"/>
                  <a:pt x="158" y="2035"/>
                  <a:pt x="158" y="2035"/>
                </a:cubicBezTo>
                <a:cubicBezTo>
                  <a:pt x="158" y="2035"/>
                  <a:pt x="165" y="2035"/>
                  <a:pt x="165" y="2035"/>
                </a:cubicBezTo>
                <a:cubicBezTo>
                  <a:pt x="158" y="2028"/>
                  <a:pt x="150" y="2028"/>
                  <a:pt x="142" y="2020"/>
                </a:cubicBezTo>
                <a:cubicBezTo>
                  <a:pt x="142" y="2012"/>
                  <a:pt x="142" y="2012"/>
                  <a:pt x="142" y="2012"/>
                </a:cubicBezTo>
                <a:close/>
                <a:moveTo>
                  <a:pt x="71" y="1957"/>
                </a:moveTo>
                <a:cubicBezTo>
                  <a:pt x="71" y="1957"/>
                  <a:pt x="71" y="1957"/>
                  <a:pt x="71" y="1957"/>
                </a:cubicBezTo>
                <a:cubicBezTo>
                  <a:pt x="71" y="1957"/>
                  <a:pt x="71" y="1957"/>
                  <a:pt x="71" y="1957"/>
                </a:cubicBezTo>
                <a:close/>
                <a:moveTo>
                  <a:pt x="126" y="1996"/>
                </a:moveTo>
                <a:cubicBezTo>
                  <a:pt x="118" y="1996"/>
                  <a:pt x="110" y="1988"/>
                  <a:pt x="103" y="1981"/>
                </a:cubicBezTo>
                <a:cubicBezTo>
                  <a:pt x="110" y="1981"/>
                  <a:pt x="110" y="1988"/>
                  <a:pt x="118" y="1988"/>
                </a:cubicBezTo>
                <a:cubicBezTo>
                  <a:pt x="118" y="1988"/>
                  <a:pt x="118" y="1988"/>
                  <a:pt x="118" y="1988"/>
                </a:cubicBezTo>
                <a:cubicBezTo>
                  <a:pt x="110" y="1988"/>
                  <a:pt x="110" y="1981"/>
                  <a:pt x="103" y="1973"/>
                </a:cubicBezTo>
                <a:cubicBezTo>
                  <a:pt x="95" y="1973"/>
                  <a:pt x="95" y="1973"/>
                  <a:pt x="95" y="1973"/>
                </a:cubicBezTo>
                <a:cubicBezTo>
                  <a:pt x="95" y="1973"/>
                  <a:pt x="95" y="1973"/>
                  <a:pt x="95" y="1973"/>
                </a:cubicBezTo>
                <a:cubicBezTo>
                  <a:pt x="95" y="1973"/>
                  <a:pt x="95" y="1973"/>
                  <a:pt x="95" y="1973"/>
                </a:cubicBezTo>
                <a:cubicBezTo>
                  <a:pt x="87" y="1973"/>
                  <a:pt x="87" y="1973"/>
                  <a:pt x="87" y="1973"/>
                </a:cubicBezTo>
                <a:cubicBezTo>
                  <a:pt x="79" y="1957"/>
                  <a:pt x="87" y="1965"/>
                  <a:pt x="71" y="1957"/>
                </a:cubicBezTo>
                <a:cubicBezTo>
                  <a:pt x="95" y="1973"/>
                  <a:pt x="126" y="1996"/>
                  <a:pt x="142" y="2012"/>
                </a:cubicBezTo>
                <a:cubicBezTo>
                  <a:pt x="134" y="2012"/>
                  <a:pt x="134" y="2012"/>
                  <a:pt x="134" y="2012"/>
                </a:cubicBezTo>
                <a:cubicBezTo>
                  <a:pt x="126" y="1996"/>
                  <a:pt x="126" y="2004"/>
                  <a:pt x="126" y="1996"/>
                </a:cubicBezTo>
                <a:close/>
                <a:moveTo>
                  <a:pt x="676" y="2176"/>
                </a:moveTo>
                <a:cubicBezTo>
                  <a:pt x="676" y="2176"/>
                  <a:pt x="676" y="2176"/>
                  <a:pt x="676" y="2176"/>
                </a:cubicBezTo>
                <a:cubicBezTo>
                  <a:pt x="676" y="2176"/>
                  <a:pt x="684" y="2168"/>
                  <a:pt x="684" y="2168"/>
                </a:cubicBezTo>
                <a:cubicBezTo>
                  <a:pt x="684" y="2168"/>
                  <a:pt x="684" y="2168"/>
                  <a:pt x="684" y="2161"/>
                </a:cubicBezTo>
                <a:cubicBezTo>
                  <a:pt x="684" y="2161"/>
                  <a:pt x="684" y="2161"/>
                  <a:pt x="676" y="2176"/>
                </a:cubicBezTo>
                <a:close/>
                <a:moveTo>
                  <a:pt x="165" y="2043"/>
                </a:moveTo>
                <a:cubicBezTo>
                  <a:pt x="165" y="2051"/>
                  <a:pt x="165" y="2051"/>
                  <a:pt x="165" y="2051"/>
                </a:cubicBezTo>
                <a:cubicBezTo>
                  <a:pt x="165" y="2043"/>
                  <a:pt x="165" y="2043"/>
                  <a:pt x="165" y="2043"/>
                </a:cubicBezTo>
                <a:close/>
                <a:moveTo>
                  <a:pt x="165" y="2043"/>
                </a:moveTo>
                <a:cubicBezTo>
                  <a:pt x="165" y="2043"/>
                  <a:pt x="165" y="2035"/>
                  <a:pt x="165" y="2035"/>
                </a:cubicBezTo>
                <a:cubicBezTo>
                  <a:pt x="165" y="2043"/>
                  <a:pt x="165" y="2043"/>
                  <a:pt x="165" y="2043"/>
                </a:cubicBezTo>
                <a:close/>
                <a:moveTo>
                  <a:pt x="173" y="2051"/>
                </a:moveTo>
                <a:cubicBezTo>
                  <a:pt x="173" y="2051"/>
                  <a:pt x="173" y="2051"/>
                  <a:pt x="173" y="2051"/>
                </a:cubicBezTo>
                <a:cubicBezTo>
                  <a:pt x="173" y="2043"/>
                  <a:pt x="165" y="2043"/>
                  <a:pt x="165" y="2035"/>
                </a:cubicBezTo>
                <a:cubicBezTo>
                  <a:pt x="158" y="2035"/>
                  <a:pt x="165" y="2035"/>
                  <a:pt x="158" y="2028"/>
                </a:cubicBezTo>
                <a:cubicBezTo>
                  <a:pt x="158" y="2028"/>
                  <a:pt x="158" y="2028"/>
                  <a:pt x="165" y="2043"/>
                </a:cubicBezTo>
                <a:cubicBezTo>
                  <a:pt x="165" y="2043"/>
                  <a:pt x="165" y="2043"/>
                  <a:pt x="165" y="2043"/>
                </a:cubicBezTo>
                <a:cubicBezTo>
                  <a:pt x="165" y="2043"/>
                  <a:pt x="165" y="2043"/>
                  <a:pt x="173" y="2043"/>
                </a:cubicBezTo>
                <a:cubicBezTo>
                  <a:pt x="173" y="2051"/>
                  <a:pt x="173" y="2051"/>
                  <a:pt x="173" y="2051"/>
                </a:cubicBezTo>
                <a:cubicBezTo>
                  <a:pt x="165" y="2051"/>
                  <a:pt x="165" y="2051"/>
                  <a:pt x="165" y="2051"/>
                </a:cubicBezTo>
                <a:cubicBezTo>
                  <a:pt x="165" y="2051"/>
                  <a:pt x="165" y="2051"/>
                  <a:pt x="173" y="2051"/>
                </a:cubicBezTo>
                <a:cubicBezTo>
                  <a:pt x="173" y="2051"/>
                  <a:pt x="173" y="2051"/>
                  <a:pt x="173" y="2059"/>
                </a:cubicBezTo>
                <a:cubicBezTo>
                  <a:pt x="173" y="2059"/>
                  <a:pt x="173" y="2059"/>
                  <a:pt x="181" y="2059"/>
                </a:cubicBezTo>
                <a:cubicBezTo>
                  <a:pt x="181" y="2059"/>
                  <a:pt x="181" y="2059"/>
                  <a:pt x="181" y="2059"/>
                </a:cubicBezTo>
                <a:cubicBezTo>
                  <a:pt x="181" y="2059"/>
                  <a:pt x="181" y="2059"/>
                  <a:pt x="173" y="2051"/>
                </a:cubicBezTo>
                <a:cubicBezTo>
                  <a:pt x="173" y="2051"/>
                  <a:pt x="173" y="2051"/>
                  <a:pt x="173" y="2051"/>
                </a:cubicBezTo>
                <a:close/>
                <a:moveTo>
                  <a:pt x="668" y="2208"/>
                </a:moveTo>
                <a:cubicBezTo>
                  <a:pt x="668" y="2208"/>
                  <a:pt x="668" y="2208"/>
                  <a:pt x="668" y="2200"/>
                </a:cubicBezTo>
                <a:cubicBezTo>
                  <a:pt x="668" y="2200"/>
                  <a:pt x="668" y="2200"/>
                  <a:pt x="660" y="2208"/>
                </a:cubicBezTo>
                <a:cubicBezTo>
                  <a:pt x="660" y="2208"/>
                  <a:pt x="660" y="2208"/>
                  <a:pt x="668" y="2208"/>
                </a:cubicBezTo>
                <a:close/>
                <a:moveTo>
                  <a:pt x="212" y="2106"/>
                </a:moveTo>
                <a:cubicBezTo>
                  <a:pt x="212" y="2106"/>
                  <a:pt x="212" y="2106"/>
                  <a:pt x="220" y="2114"/>
                </a:cubicBezTo>
                <a:cubicBezTo>
                  <a:pt x="220" y="2114"/>
                  <a:pt x="220" y="2114"/>
                  <a:pt x="220" y="2114"/>
                </a:cubicBezTo>
                <a:cubicBezTo>
                  <a:pt x="220" y="2114"/>
                  <a:pt x="220" y="2114"/>
                  <a:pt x="220" y="2114"/>
                </a:cubicBezTo>
                <a:cubicBezTo>
                  <a:pt x="220" y="2114"/>
                  <a:pt x="220" y="2114"/>
                  <a:pt x="220" y="2114"/>
                </a:cubicBezTo>
                <a:cubicBezTo>
                  <a:pt x="220" y="2106"/>
                  <a:pt x="220" y="2106"/>
                  <a:pt x="220" y="2106"/>
                </a:cubicBezTo>
                <a:cubicBezTo>
                  <a:pt x="220" y="2106"/>
                  <a:pt x="220" y="2106"/>
                  <a:pt x="220" y="2106"/>
                </a:cubicBezTo>
                <a:cubicBezTo>
                  <a:pt x="220" y="2106"/>
                  <a:pt x="220" y="2106"/>
                  <a:pt x="212" y="2106"/>
                </a:cubicBezTo>
                <a:cubicBezTo>
                  <a:pt x="220" y="2106"/>
                  <a:pt x="220" y="2106"/>
                  <a:pt x="220" y="2106"/>
                </a:cubicBezTo>
                <a:cubicBezTo>
                  <a:pt x="212" y="2106"/>
                  <a:pt x="212" y="2106"/>
                  <a:pt x="212" y="2106"/>
                </a:cubicBezTo>
                <a:close/>
                <a:moveTo>
                  <a:pt x="676" y="2176"/>
                </a:moveTo>
                <a:cubicBezTo>
                  <a:pt x="676" y="2176"/>
                  <a:pt x="676" y="2176"/>
                  <a:pt x="676" y="2184"/>
                </a:cubicBezTo>
                <a:cubicBezTo>
                  <a:pt x="676" y="2184"/>
                  <a:pt x="676" y="2184"/>
                  <a:pt x="676" y="2176"/>
                </a:cubicBezTo>
                <a:close/>
                <a:moveTo>
                  <a:pt x="55" y="2020"/>
                </a:moveTo>
                <a:cubicBezTo>
                  <a:pt x="55" y="2020"/>
                  <a:pt x="55" y="2020"/>
                  <a:pt x="55" y="2020"/>
                </a:cubicBezTo>
                <a:cubicBezTo>
                  <a:pt x="55" y="2020"/>
                  <a:pt x="55" y="2020"/>
                  <a:pt x="55" y="2020"/>
                </a:cubicBezTo>
                <a:cubicBezTo>
                  <a:pt x="55" y="2020"/>
                  <a:pt x="55" y="2020"/>
                  <a:pt x="48" y="2012"/>
                </a:cubicBezTo>
                <a:cubicBezTo>
                  <a:pt x="40" y="2012"/>
                  <a:pt x="48" y="2012"/>
                  <a:pt x="40" y="2012"/>
                </a:cubicBezTo>
                <a:cubicBezTo>
                  <a:pt x="40" y="2012"/>
                  <a:pt x="40" y="2012"/>
                  <a:pt x="40" y="2012"/>
                </a:cubicBezTo>
                <a:cubicBezTo>
                  <a:pt x="40" y="2012"/>
                  <a:pt x="40" y="2012"/>
                  <a:pt x="40" y="2012"/>
                </a:cubicBezTo>
                <a:cubicBezTo>
                  <a:pt x="40" y="2012"/>
                  <a:pt x="40" y="2012"/>
                  <a:pt x="40" y="2012"/>
                </a:cubicBezTo>
                <a:cubicBezTo>
                  <a:pt x="48" y="2020"/>
                  <a:pt x="48" y="2020"/>
                  <a:pt x="48" y="2020"/>
                </a:cubicBezTo>
                <a:cubicBezTo>
                  <a:pt x="48" y="2020"/>
                  <a:pt x="48" y="2020"/>
                  <a:pt x="48" y="2020"/>
                </a:cubicBezTo>
                <a:cubicBezTo>
                  <a:pt x="48" y="2020"/>
                  <a:pt x="55" y="2028"/>
                  <a:pt x="55" y="2028"/>
                </a:cubicBezTo>
                <a:cubicBezTo>
                  <a:pt x="55" y="2028"/>
                  <a:pt x="55" y="2028"/>
                  <a:pt x="55" y="2028"/>
                </a:cubicBezTo>
                <a:cubicBezTo>
                  <a:pt x="55" y="2020"/>
                  <a:pt x="55" y="2020"/>
                  <a:pt x="55" y="2020"/>
                </a:cubicBezTo>
                <a:close/>
                <a:moveTo>
                  <a:pt x="668" y="2223"/>
                </a:moveTo>
                <a:cubicBezTo>
                  <a:pt x="668" y="2215"/>
                  <a:pt x="676" y="2208"/>
                  <a:pt x="676" y="2208"/>
                </a:cubicBezTo>
                <a:cubicBezTo>
                  <a:pt x="668" y="2215"/>
                  <a:pt x="668" y="2223"/>
                  <a:pt x="668" y="2223"/>
                </a:cubicBezTo>
                <a:close/>
                <a:moveTo>
                  <a:pt x="582" y="2341"/>
                </a:moveTo>
                <a:cubicBezTo>
                  <a:pt x="582" y="2348"/>
                  <a:pt x="582" y="2356"/>
                  <a:pt x="574" y="2364"/>
                </a:cubicBezTo>
                <a:cubicBezTo>
                  <a:pt x="582" y="2356"/>
                  <a:pt x="582" y="2348"/>
                  <a:pt x="589" y="2341"/>
                </a:cubicBezTo>
                <a:cubicBezTo>
                  <a:pt x="589" y="2348"/>
                  <a:pt x="589" y="2348"/>
                  <a:pt x="582" y="2341"/>
                </a:cubicBezTo>
                <a:close/>
                <a:moveTo>
                  <a:pt x="848" y="1895"/>
                </a:moveTo>
                <a:cubicBezTo>
                  <a:pt x="848" y="1910"/>
                  <a:pt x="848" y="1910"/>
                  <a:pt x="841" y="1918"/>
                </a:cubicBezTo>
                <a:cubicBezTo>
                  <a:pt x="841" y="1918"/>
                  <a:pt x="841" y="1918"/>
                  <a:pt x="848" y="1926"/>
                </a:cubicBezTo>
                <a:cubicBezTo>
                  <a:pt x="848" y="1918"/>
                  <a:pt x="848" y="1910"/>
                  <a:pt x="848" y="1902"/>
                </a:cubicBezTo>
                <a:cubicBezTo>
                  <a:pt x="848" y="1902"/>
                  <a:pt x="848" y="1902"/>
                  <a:pt x="848" y="1895"/>
                </a:cubicBezTo>
                <a:close/>
                <a:moveTo>
                  <a:pt x="63" y="1957"/>
                </a:moveTo>
                <a:cubicBezTo>
                  <a:pt x="63" y="1957"/>
                  <a:pt x="63" y="1957"/>
                  <a:pt x="48" y="1949"/>
                </a:cubicBezTo>
                <a:cubicBezTo>
                  <a:pt x="48" y="1941"/>
                  <a:pt x="48" y="1949"/>
                  <a:pt x="40" y="1941"/>
                </a:cubicBezTo>
                <a:cubicBezTo>
                  <a:pt x="40" y="1941"/>
                  <a:pt x="40" y="1941"/>
                  <a:pt x="40" y="1941"/>
                </a:cubicBezTo>
                <a:cubicBezTo>
                  <a:pt x="40" y="1941"/>
                  <a:pt x="32" y="1941"/>
                  <a:pt x="32" y="1941"/>
                </a:cubicBezTo>
                <a:cubicBezTo>
                  <a:pt x="40" y="1949"/>
                  <a:pt x="40" y="1949"/>
                  <a:pt x="48" y="1949"/>
                </a:cubicBezTo>
                <a:cubicBezTo>
                  <a:pt x="48" y="1957"/>
                  <a:pt x="48" y="1957"/>
                  <a:pt x="48" y="1957"/>
                </a:cubicBezTo>
                <a:cubicBezTo>
                  <a:pt x="48" y="1957"/>
                  <a:pt x="48" y="1949"/>
                  <a:pt x="48" y="1949"/>
                </a:cubicBezTo>
                <a:cubicBezTo>
                  <a:pt x="55" y="1957"/>
                  <a:pt x="55" y="1957"/>
                  <a:pt x="63" y="1957"/>
                </a:cubicBezTo>
                <a:close/>
                <a:moveTo>
                  <a:pt x="566" y="2380"/>
                </a:moveTo>
                <a:cubicBezTo>
                  <a:pt x="574" y="2372"/>
                  <a:pt x="574" y="2372"/>
                  <a:pt x="582" y="2356"/>
                </a:cubicBezTo>
                <a:cubicBezTo>
                  <a:pt x="582" y="2356"/>
                  <a:pt x="582" y="2356"/>
                  <a:pt x="574" y="2364"/>
                </a:cubicBezTo>
                <a:cubicBezTo>
                  <a:pt x="574" y="2364"/>
                  <a:pt x="574" y="2372"/>
                  <a:pt x="566" y="2372"/>
                </a:cubicBezTo>
                <a:cubicBezTo>
                  <a:pt x="566" y="2380"/>
                  <a:pt x="566" y="2380"/>
                  <a:pt x="566" y="2380"/>
                </a:cubicBezTo>
                <a:cubicBezTo>
                  <a:pt x="566" y="2380"/>
                  <a:pt x="566" y="2380"/>
                  <a:pt x="566" y="2380"/>
                </a:cubicBezTo>
                <a:cubicBezTo>
                  <a:pt x="566" y="2380"/>
                  <a:pt x="566" y="2380"/>
                  <a:pt x="566" y="2388"/>
                </a:cubicBezTo>
                <a:cubicBezTo>
                  <a:pt x="566" y="2388"/>
                  <a:pt x="566" y="2388"/>
                  <a:pt x="566" y="2380"/>
                </a:cubicBezTo>
                <a:cubicBezTo>
                  <a:pt x="566" y="2380"/>
                  <a:pt x="566" y="2380"/>
                  <a:pt x="566" y="2380"/>
                </a:cubicBezTo>
                <a:close/>
                <a:moveTo>
                  <a:pt x="574" y="2364"/>
                </a:moveTo>
                <a:cubicBezTo>
                  <a:pt x="574" y="2364"/>
                  <a:pt x="574" y="2364"/>
                  <a:pt x="574" y="2364"/>
                </a:cubicBezTo>
                <a:cubicBezTo>
                  <a:pt x="574" y="2364"/>
                  <a:pt x="574" y="2364"/>
                  <a:pt x="574" y="2364"/>
                </a:cubicBezTo>
                <a:cubicBezTo>
                  <a:pt x="574" y="2364"/>
                  <a:pt x="574" y="2364"/>
                  <a:pt x="574" y="2364"/>
                </a:cubicBezTo>
                <a:close/>
                <a:moveTo>
                  <a:pt x="40" y="1941"/>
                </a:move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24" y="1941"/>
                  <a:pt x="24" y="1941"/>
                </a:cubicBez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32" y="1941"/>
                  <a:pt x="40" y="1941"/>
                </a:cubicBezTo>
                <a:close/>
                <a:moveTo>
                  <a:pt x="103" y="2043"/>
                </a:moveTo>
                <a:cubicBezTo>
                  <a:pt x="103" y="2043"/>
                  <a:pt x="103" y="2043"/>
                  <a:pt x="118" y="2059"/>
                </a:cubicBezTo>
                <a:cubicBezTo>
                  <a:pt x="118" y="2059"/>
                  <a:pt x="118" y="2059"/>
                  <a:pt x="118" y="2059"/>
                </a:cubicBezTo>
                <a:cubicBezTo>
                  <a:pt x="118" y="2059"/>
                  <a:pt x="110" y="2051"/>
                  <a:pt x="110" y="2043"/>
                </a:cubicBezTo>
                <a:cubicBezTo>
                  <a:pt x="103" y="2043"/>
                  <a:pt x="103" y="2043"/>
                  <a:pt x="103" y="2043"/>
                </a:cubicBezTo>
                <a:close/>
                <a:moveTo>
                  <a:pt x="197" y="2223"/>
                </a:moveTo>
                <a:cubicBezTo>
                  <a:pt x="205" y="2223"/>
                  <a:pt x="205" y="2231"/>
                  <a:pt x="205" y="2231"/>
                </a:cubicBezTo>
                <a:cubicBezTo>
                  <a:pt x="205" y="2223"/>
                  <a:pt x="205" y="2223"/>
                  <a:pt x="197" y="2223"/>
                </a:cubicBezTo>
                <a:close/>
                <a:moveTo>
                  <a:pt x="71" y="2028"/>
                </a:moveTo>
                <a:cubicBezTo>
                  <a:pt x="63" y="2020"/>
                  <a:pt x="63" y="2020"/>
                  <a:pt x="48" y="2004"/>
                </a:cubicBezTo>
                <a:cubicBezTo>
                  <a:pt x="40" y="2004"/>
                  <a:pt x="40" y="2004"/>
                  <a:pt x="40" y="2004"/>
                </a:cubicBezTo>
                <a:cubicBezTo>
                  <a:pt x="40" y="2004"/>
                  <a:pt x="48" y="2004"/>
                  <a:pt x="48" y="2012"/>
                </a:cubicBezTo>
                <a:cubicBezTo>
                  <a:pt x="48" y="2012"/>
                  <a:pt x="48" y="2012"/>
                  <a:pt x="48" y="2012"/>
                </a:cubicBezTo>
                <a:cubicBezTo>
                  <a:pt x="48" y="2012"/>
                  <a:pt x="48" y="2012"/>
                  <a:pt x="55" y="2012"/>
                </a:cubicBezTo>
                <a:cubicBezTo>
                  <a:pt x="55" y="2020"/>
                  <a:pt x="63" y="2020"/>
                  <a:pt x="71" y="2028"/>
                </a:cubicBezTo>
                <a:cubicBezTo>
                  <a:pt x="71" y="2028"/>
                  <a:pt x="71" y="2028"/>
                  <a:pt x="71" y="2028"/>
                </a:cubicBezTo>
                <a:cubicBezTo>
                  <a:pt x="71" y="2028"/>
                  <a:pt x="71" y="2028"/>
                  <a:pt x="71" y="2028"/>
                </a:cubicBezTo>
                <a:cubicBezTo>
                  <a:pt x="71" y="2028"/>
                  <a:pt x="79" y="2035"/>
                  <a:pt x="79" y="2035"/>
                </a:cubicBezTo>
                <a:cubicBezTo>
                  <a:pt x="79" y="2035"/>
                  <a:pt x="79" y="2035"/>
                  <a:pt x="79" y="2028"/>
                </a:cubicBezTo>
                <a:cubicBezTo>
                  <a:pt x="79" y="2028"/>
                  <a:pt x="71" y="2028"/>
                  <a:pt x="71" y="2028"/>
                </a:cubicBezTo>
                <a:close/>
                <a:moveTo>
                  <a:pt x="63" y="2028"/>
                </a:moveTo>
                <a:cubicBezTo>
                  <a:pt x="63" y="2028"/>
                  <a:pt x="63" y="2028"/>
                  <a:pt x="63" y="2028"/>
                </a:cubicBezTo>
                <a:cubicBezTo>
                  <a:pt x="63" y="2028"/>
                  <a:pt x="63" y="2028"/>
                  <a:pt x="55" y="2028"/>
                </a:cubicBezTo>
                <a:cubicBezTo>
                  <a:pt x="63" y="2028"/>
                  <a:pt x="63" y="2028"/>
                  <a:pt x="63" y="2028"/>
                </a:cubicBezTo>
                <a:close/>
                <a:moveTo>
                  <a:pt x="118" y="2059"/>
                </a:moveTo>
                <a:cubicBezTo>
                  <a:pt x="118" y="2059"/>
                  <a:pt x="118" y="2059"/>
                  <a:pt x="118" y="2059"/>
                </a:cubicBezTo>
                <a:cubicBezTo>
                  <a:pt x="118" y="2059"/>
                  <a:pt x="118" y="2059"/>
                  <a:pt x="118" y="2059"/>
                </a:cubicBezTo>
                <a:cubicBezTo>
                  <a:pt x="118" y="2059"/>
                  <a:pt x="118" y="2059"/>
                  <a:pt x="118" y="2059"/>
                </a:cubicBezTo>
                <a:close/>
                <a:moveTo>
                  <a:pt x="103" y="2090"/>
                </a:moveTo>
                <a:cubicBezTo>
                  <a:pt x="103" y="2082"/>
                  <a:pt x="103" y="2082"/>
                  <a:pt x="103" y="2082"/>
                </a:cubicBezTo>
                <a:cubicBezTo>
                  <a:pt x="95" y="2082"/>
                  <a:pt x="95" y="2082"/>
                  <a:pt x="95" y="2082"/>
                </a:cubicBezTo>
                <a:cubicBezTo>
                  <a:pt x="103" y="2090"/>
                  <a:pt x="103" y="2090"/>
                  <a:pt x="110" y="2098"/>
                </a:cubicBezTo>
                <a:cubicBezTo>
                  <a:pt x="110" y="2098"/>
                  <a:pt x="118" y="2106"/>
                  <a:pt x="118" y="2106"/>
                </a:cubicBezTo>
                <a:cubicBezTo>
                  <a:pt x="118" y="2106"/>
                  <a:pt x="118" y="2106"/>
                  <a:pt x="118" y="2106"/>
                </a:cubicBezTo>
                <a:cubicBezTo>
                  <a:pt x="118" y="2098"/>
                  <a:pt x="110" y="2098"/>
                  <a:pt x="103" y="2090"/>
                </a:cubicBezTo>
                <a:close/>
                <a:moveTo>
                  <a:pt x="32" y="1941"/>
                </a:move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24" y="1934"/>
                  <a:pt x="32" y="1941"/>
                </a:cubicBezTo>
                <a:close/>
                <a:moveTo>
                  <a:pt x="32" y="1941"/>
                </a:moveTo>
                <a:cubicBezTo>
                  <a:pt x="32" y="1941"/>
                  <a:pt x="24" y="1941"/>
                  <a:pt x="24" y="1941"/>
                </a:cubicBezTo>
                <a:cubicBezTo>
                  <a:pt x="24" y="1941"/>
                  <a:pt x="24" y="1941"/>
                  <a:pt x="32" y="1941"/>
                </a:cubicBezTo>
                <a:cubicBezTo>
                  <a:pt x="32" y="1941"/>
                  <a:pt x="32" y="1941"/>
                  <a:pt x="32" y="1941"/>
                </a:cubicBezTo>
                <a:close/>
                <a:moveTo>
                  <a:pt x="841" y="1926"/>
                </a:moveTo>
                <a:cubicBezTo>
                  <a:pt x="841" y="1926"/>
                  <a:pt x="841" y="1926"/>
                  <a:pt x="841" y="1926"/>
                </a:cubicBezTo>
                <a:cubicBezTo>
                  <a:pt x="841" y="1918"/>
                  <a:pt x="841" y="1918"/>
                  <a:pt x="841" y="1918"/>
                </a:cubicBezTo>
                <a:cubicBezTo>
                  <a:pt x="841" y="1918"/>
                  <a:pt x="841" y="1918"/>
                  <a:pt x="841" y="1918"/>
                </a:cubicBezTo>
                <a:cubicBezTo>
                  <a:pt x="841" y="1926"/>
                  <a:pt x="841" y="1926"/>
                  <a:pt x="841" y="1926"/>
                </a:cubicBezTo>
                <a:cubicBezTo>
                  <a:pt x="841" y="1926"/>
                  <a:pt x="841" y="1926"/>
                  <a:pt x="841" y="1926"/>
                </a:cubicBezTo>
                <a:close/>
                <a:moveTo>
                  <a:pt x="79" y="2012"/>
                </a:moveTo>
                <a:cubicBezTo>
                  <a:pt x="71" y="2004"/>
                  <a:pt x="71" y="2004"/>
                  <a:pt x="71" y="2004"/>
                </a:cubicBezTo>
                <a:cubicBezTo>
                  <a:pt x="71" y="2004"/>
                  <a:pt x="71" y="2004"/>
                  <a:pt x="71" y="2004"/>
                </a:cubicBezTo>
                <a:cubicBezTo>
                  <a:pt x="71" y="2004"/>
                  <a:pt x="79" y="2012"/>
                  <a:pt x="79" y="2012"/>
                </a:cubicBezTo>
                <a:close/>
                <a:moveTo>
                  <a:pt x="519" y="2458"/>
                </a:move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lose/>
                <a:moveTo>
                  <a:pt x="527" y="2442"/>
                </a:moveTo>
                <a:cubicBezTo>
                  <a:pt x="527" y="2442"/>
                  <a:pt x="527" y="2442"/>
                  <a:pt x="519" y="2450"/>
                </a:cubicBezTo>
                <a:cubicBezTo>
                  <a:pt x="519" y="2458"/>
                  <a:pt x="519" y="2450"/>
                  <a:pt x="527" y="2442"/>
                </a:cubicBezTo>
                <a:close/>
                <a:moveTo>
                  <a:pt x="71" y="2004"/>
                </a:moveTo>
                <a:cubicBezTo>
                  <a:pt x="71" y="2004"/>
                  <a:pt x="71" y="2012"/>
                  <a:pt x="71" y="2004"/>
                </a:cubicBezTo>
                <a:cubicBezTo>
                  <a:pt x="71" y="2004"/>
                  <a:pt x="63" y="2004"/>
                  <a:pt x="63" y="1996"/>
                </a:cubicBezTo>
                <a:cubicBezTo>
                  <a:pt x="63" y="1996"/>
                  <a:pt x="63" y="1996"/>
                  <a:pt x="55" y="1996"/>
                </a:cubicBezTo>
                <a:cubicBezTo>
                  <a:pt x="55" y="1996"/>
                  <a:pt x="55" y="1996"/>
                  <a:pt x="63" y="1996"/>
                </a:cubicBezTo>
                <a:cubicBezTo>
                  <a:pt x="63" y="1996"/>
                  <a:pt x="63" y="1996"/>
                  <a:pt x="71" y="2004"/>
                </a:cubicBezTo>
                <a:close/>
                <a:moveTo>
                  <a:pt x="79" y="2035"/>
                </a:moveTo>
                <a:cubicBezTo>
                  <a:pt x="79" y="2035"/>
                  <a:pt x="79" y="2035"/>
                  <a:pt x="71" y="2035"/>
                </a:cubicBezTo>
                <a:cubicBezTo>
                  <a:pt x="71" y="2035"/>
                  <a:pt x="71" y="2035"/>
                  <a:pt x="71" y="2035"/>
                </a:cubicBezTo>
                <a:cubicBezTo>
                  <a:pt x="79" y="2035"/>
                  <a:pt x="79" y="2035"/>
                  <a:pt x="79" y="2035"/>
                </a:cubicBezTo>
                <a:close/>
                <a:moveTo>
                  <a:pt x="79" y="2035"/>
                </a:moveTo>
                <a:cubicBezTo>
                  <a:pt x="79" y="2035"/>
                  <a:pt x="79" y="2035"/>
                  <a:pt x="79" y="2035"/>
                </a:cubicBezTo>
                <a:cubicBezTo>
                  <a:pt x="79" y="2035"/>
                  <a:pt x="79" y="2035"/>
                  <a:pt x="79" y="2035"/>
                </a:cubicBezTo>
                <a:cubicBezTo>
                  <a:pt x="79" y="2035"/>
                  <a:pt x="79" y="2035"/>
                  <a:pt x="79" y="2035"/>
                </a:cubicBezTo>
                <a:close/>
                <a:moveTo>
                  <a:pt x="63" y="1996"/>
                </a:moveTo>
                <a:cubicBezTo>
                  <a:pt x="55" y="1996"/>
                  <a:pt x="55" y="1988"/>
                  <a:pt x="55" y="1988"/>
                </a:cubicBezTo>
                <a:cubicBezTo>
                  <a:pt x="55" y="1996"/>
                  <a:pt x="55" y="1996"/>
                  <a:pt x="55" y="1996"/>
                </a:cubicBezTo>
                <a:cubicBezTo>
                  <a:pt x="55" y="1996"/>
                  <a:pt x="63" y="1996"/>
                  <a:pt x="63" y="1996"/>
                </a:cubicBezTo>
                <a:cubicBezTo>
                  <a:pt x="63" y="1996"/>
                  <a:pt x="63" y="1996"/>
                  <a:pt x="63" y="1996"/>
                </a:cubicBezTo>
                <a:close/>
                <a:moveTo>
                  <a:pt x="833" y="1941"/>
                </a:moveTo>
                <a:cubicBezTo>
                  <a:pt x="833" y="1949"/>
                  <a:pt x="833" y="1949"/>
                  <a:pt x="833" y="1949"/>
                </a:cubicBezTo>
                <a:cubicBezTo>
                  <a:pt x="833" y="1949"/>
                  <a:pt x="833" y="1949"/>
                  <a:pt x="833" y="1957"/>
                </a:cubicBezTo>
                <a:cubicBezTo>
                  <a:pt x="833" y="1957"/>
                  <a:pt x="841" y="1949"/>
                  <a:pt x="841" y="1957"/>
                </a:cubicBezTo>
                <a:cubicBezTo>
                  <a:pt x="841" y="1957"/>
                  <a:pt x="841" y="1957"/>
                  <a:pt x="833" y="1965"/>
                </a:cubicBezTo>
                <a:cubicBezTo>
                  <a:pt x="841" y="1965"/>
                  <a:pt x="841" y="1965"/>
                  <a:pt x="841" y="1957"/>
                </a:cubicBezTo>
                <a:cubicBezTo>
                  <a:pt x="848" y="1949"/>
                  <a:pt x="841" y="1941"/>
                  <a:pt x="848" y="1934"/>
                </a:cubicBezTo>
                <a:cubicBezTo>
                  <a:pt x="841" y="1941"/>
                  <a:pt x="841" y="1941"/>
                  <a:pt x="841" y="1941"/>
                </a:cubicBezTo>
                <a:cubicBezTo>
                  <a:pt x="841" y="1941"/>
                  <a:pt x="841" y="1941"/>
                  <a:pt x="841" y="1941"/>
                </a:cubicBezTo>
                <a:cubicBezTo>
                  <a:pt x="841" y="1941"/>
                  <a:pt x="841" y="1941"/>
                  <a:pt x="833" y="1941"/>
                </a:cubicBezTo>
                <a:close/>
                <a:moveTo>
                  <a:pt x="841" y="1941"/>
                </a:moveTo>
                <a:cubicBezTo>
                  <a:pt x="841" y="1934"/>
                  <a:pt x="841" y="1926"/>
                  <a:pt x="841" y="1926"/>
                </a:cubicBezTo>
                <a:cubicBezTo>
                  <a:pt x="841" y="1926"/>
                  <a:pt x="841" y="1926"/>
                  <a:pt x="841" y="1926"/>
                </a:cubicBezTo>
                <a:cubicBezTo>
                  <a:pt x="841" y="1926"/>
                  <a:pt x="841" y="1926"/>
                  <a:pt x="841" y="1941"/>
                </a:cubicBezTo>
                <a:close/>
                <a:moveTo>
                  <a:pt x="542" y="2411"/>
                </a:moveTo>
                <a:cubicBezTo>
                  <a:pt x="542" y="2411"/>
                  <a:pt x="542" y="2411"/>
                  <a:pt x="542" y="2411"/>
                </a:cubicBezTo>
                <a:cubicBezTo>
                  <a:pt x="542" y="2411"/>
                  <a:pt x="550" y="2411"/>
                  <a:pt x="550" y="2403"/>
                </a:cubicBezTo>
                <a:cubicBezTo>
                  <a:pt x="542" y="2411"/>
                  <a:pt x="542" y="2411"/>
                  <a:pt x="542" y="2411"/>
                </a:cubicBezTo>
                <a:close/>
                <a:moveTo>
                  <a:pt x="833" y="1957"/>
                </a:moveTo>
                <a:cubicBezTo>
                  <a:pt x="833" y="1957"/>
                  <a:pt x="833" y="1957"/>
                  <a:pt x="833" y="1957"/>
                </a:cubicBezTo>
                <a:cubicBezTo>
                  <a:pt x="833" y="1965"/>
                  <a:pt x="833" y="1965"/>
                  <a:pt x="833" y="1957"/>
                </a:cubicBezTo>
                <a:close/>
                <a:moveTo>
                  <a:pt x="110" y="2020"/>
                </a:moveTo>
                <a:cubicBezTo>
                  <a:pt x="110" y="2020"/>
                  <a:pt x="110" y="2020"/>
                  <a:pt x="118" y="2020"/>
                </a:cubicBezTo>
                <a:cubicBezTo>
                  <a:pt x="118" y="2020"/>
                  <a:pt x="118" y="2020"/>
                  <a:pt x="118" y="2020"/>
                </a:cubicBezTo>
                <a:lnTo>
                  <a:pt x="110" y="2020"/>
                </a:lnTo>
                <a:close/>
                <a:moveTo>
                  <a:pt x="212" y="2223"/>
                </a:moveTo>
                <a:cubicBezTo>
                  <a:pt x="212" y="2223"/>
                  <a:pt x="205" y="2223"/>
                  <a:pt x="205" y="2223"/>
                </a:cubicBezTo>
                <a:cubicBezTo>
                  <a:pt x="212" y="2223"/>
                  <a:pt x="205" y="2223"/>
                  <a:pt x="212" y="2223"/>
                </a:cubicBezTo>
                <a:close/>
                <a:moveTo>
                  <a:pt x="817" y="1996"/>
                </a:moveTo>
                <a:cubicBezTo>
                  <a:pt x="817" y="2004"/>
                  <a:pt x="817" y="2004"/>
                  <a:pt x="817" y="2004"/>
                </a:cubicBezTo>
                <a:cubicBezTo>
                  <a:pt x="809" y="2028"/>
                  <a:pt x="794" y="2059"/>
                  <a:pt x="786" y="2090"/>
                </a:cubicBezTo>
                <a:cubicBezTo>
                  <a:pt x="786" y="2090"/>
                  <a:pt x="778" y="2098"/>
                  <a:pt x="778" y="2106"/>
                </a:cubicBezTo>
                <a:cubicBezTo>
                  <a:pt x="801" y="2051"/>
                  <a:pt x="817" y="1996"/>
                  <a:pt x="833" y="1934"/>
                </a:cubicBezTo>
                <a:cubicBezTo>
                  <a:pt x="841" y="1934"/>
                  <a:pt x="841" y="1934"/>
                  <a:pt x="841" y="1926"/>
                </a:cubicBezTo>
                <a:cubicBezTo>
                  <a:pt x="841" y="1926"/>
                  <a:pt x="841" y="1934"/>
                  <a:pt x="833" y="1934"/>
                </a:cubicBezTo>
                <a:cubicBezTo>
                  <a:pt x="841" y="1926"/>
                  <a:pt x="841" y="1926"/>
                  <a:pt x="841" y="1918"/>
                </a:cubicBezTo>
                <a:cubicBezTo>
                  <a:pt x="841" y="1918"/>
                  <a:pt x="833" y="1926"/>
                  <a:pt x="833" y="1926"/>
                </a:cubicBezTo>
                <a:cubicBezTo>
                  <a:pt x="833" y="1918"/>
                  <a:pt x="841" y="1910"/>
                  <a:pt x="848" y="1895"/>
                </a:cubicBezTo>
                <a:cubicBezTo>
                  <a:pt x="848" y="1895"/>
                  <a:pt x="848" y="1895"/>
                  <a:pt x="848" y="1895"/>
                </a:cubicBezTo>
                <a:cubicBezTo>
                  <a:pt x="841" y="1895"/>
                  <a:pt x="841" y="1895"/>
                  <a:pt x="841" y="1895"/>
                </a:cubicBezTo>
                <a:cubicBezTo>
                  <a:pt x="833" y="1910"/>
                  <a:pt x="833" y="1934"/>
                  <a:pt x="825" y="1949"/>
                </a:cubicBezTo>
                <a:cubicBezTo>
                  <a:pt x="825" y="1941"/>
                  <a:pt x="833" y="1934"/>
                  <a:pt x="833" y="1926"/>
                </a:cubicBezTo>
                <a:cubicBezTo>
                  <a:pt x="833" y="1926"/>
                  <a:pt x="833" y="1926"/>
                  <a:pt x="833" y="1926"/>
                </a:cubicBezTo>
                <a:cubicBezTo>
                  <a:pt x="833" y="1926"/>
                  <a:pt x="833" y="1926"/>
                  <a:pt x="833" y="1926"/>
                </a:cubicBezTo>
                <a:cubicBezTo>
                  <a:pt x="833" y="1926"/>
                  <a:pt x="833" y="1926"/>
                  <a:pt x="833" y="1926"/>
                </a:cubicBezTo>
                <a:cubicBezTo>
                  <a:pt x="833" y="1934"/>
                  <a:pt x="825" y="1934"/>
                  <a:pt x="825" y="1941"/>
                </a:cubicBezTo>
                <a:cubicBezTo>
                  <a:pt x="817" y="1949"/>
                  <a:pt x="817" y="1957"/>
                  <a:pt x="817" y="1957"/>
                </a:cubicBezTo>
                <a:cubicBezTo>
                  <a:pt x="817" y="1965"/>
                  <a:pt x="817" y="1957"/>
                  <a:pt x="817" y="1973"/>
                </a:cubicBezTo>
                <a:cubicBezTo>
                  <a:pt x="817" y="1965"/>
                  <a:pt x="817" y="1973"/>
                  <a:pt x="809" y="1973"/>
                </a:cubicBezTo>
                <a:cubicBezTo>
                  <a:pt x="809" y="1973"/>
                  <a:pt x="809" y="1973"/>
                  <a:pt x="809" y="1973"/>
                </a:cubicBezTo>
                <a:cubicBezTo>
                  <a:pt x="809" y="1973"/>
                  <a:pt x="809" y="1973"/>
                  <a:pt x="809" y="1973"/>
                </a:cubicBezTo>
                <a:cubicBezTo>
                  <a:pt x="809" y="1988"/>
                  <a:pt x="809" y="1988"/>
                  <a:pt x="801" y="1996"/>
                </a:cubicBezTo>
                <a:cubicBezTo>
                  <a:pt x="801" y="1996"/>
                  <a:pt x="809" y="1996"/>
                  <a:pt x="809" y="1996"/>
                </a:cubicBezTo>
                <a:cubicBezTo>
                  <a:pt x="809" y="1996"/>
                  <a:pt x="809" y="1996"/>
                  <a:pt x="809" y="1996"/>
                </a:cubicBezTo>
                <a:cubicBezTo>
                  <a:pt x="809" y="1996"/>
                  <a:pt x="809" y="1996"/>
                  <a:pt x="809" y="1988"/>
                </a:cubicBezTo>
                <a:cubicBezTo>
                  <a:pt x="809" y="1996"/>
                  <a:pt x="809" y="1996"/>
                  <a:pt x="809" y="1996"/>
                </a:cubicBezTo>
                <a:cubicBezTo>
                  <a:pt x="809" y="1996"/>
                  <a:pt x="809" y="1996"/>
                  <a:pt x="809" y="1988"/>
                </a:cubicBezTo>
                <a:cubicBezTo>
                  <a:pt x="809" y="1988"/>
                  <a:pt x="809" y="1988"/>
                  <a:pt x="809" y="1988"/>
                </a:cubicBezTo>
                <a:cubicBezTo>
                  <a:pt x="809" y="1988"/>
                  <a:pt x="809" y="1996"/>
                  <a:pt x="809" y="1996"/>
                </a:cubicBezTo>
                <a:cubicBezTo>
                  <a:pt x="809" y="2004"/>
                  <a:pt x="801" y="2020"/>
                  <a:pt x="794" y="2035"/>
                </a:cubicBezTo>
                <a:cubicBezTo>
                  <a:pt x="794" y="2020"/>
                  <a:pt x="794" y="2028"/>
                  <a:pt x="794" y="2020"/>
                </a:cubicBezTo>
                <a:cubicBezTo>
                  <a:pt x="786" y="2028"/>
                  <a:pt x="786" y="2028"/>
                  <a:pt x="786" y="2035"/>
                </a:cubicBezTo>
                <a:cubicBezTo>
                  <a:pt x="786" y="2035"/>
                  <a:pt x="778" y="2035"/>
                  <a:pt x="778" y="2035"/>
                </a:cubicBezTo>
                <a:cubicBezTo>
                  <a:pt x="786" y="2020"/>
                  <a:pt x="786" y="2020"/>
                  <a:pt x="786" y="2028"/>
                </a:cubicBezTo>
                <a:cubicBezTo>
                  <a:pt x="794" y="2012"/>
                  <a:pt x="794" y="2004"/>
                  <a:pt x="801" y="1988"/>
                </a:cubicBezTo>
                <a:cubicBezTo>
                  <a:pt x="801" y="1988"/>
                  <a:pt x="801" y="1988"/>
                  <a:pt x="794" y="1996"/>
                </a:cubicBezTo>
                <a:cubicBezTo>
                  <a:pt x="794" y="1996"/>
                  <a:pt x="794" y="1996"/>
                  <a:pt x="794" y="1988"/>
                </a:cubicBezTo>
                <a:cubicBezTo>
                  <a:pt x="801" y="1988"/>
                  <a:pt x="801" y="1973"/>
                  <a:pt x="801" y="1973"/>
                </a:cubicBezTo>
                <a:cubicBezTo>
                  <a:pt x="801" y="1965"/>
                  <a:pt x="801" y="1965"/>
                  <a:pt x="801" y="1965"/>
                </a:cubicBezTo>
                <a:cubicBezTo>
                  <a:pt x="794" y="1988"/>
                  <a:pt x="770" y="2043"/>
                  <a:pt x="762" y="2075"/>
                </a:cubicBezTo>
                <a:cubicBezTo>
                  <a:pt x="746" y="2106"/>
                  <a:pt x="746" y="2106"/>
                  <a:pt x="731" y="2129"/>
                </a:cubicBezTo>
                <a:cubicBezTo>
                  <a:pt x="731" y="2137"/>
                  <a:pt x="731" y="2137"/>
                  <a:pt x="731" y="2137"/>
                </a:cubicBezTo>
                <a:cubicBezTo>
                  <a:pt x="731" y="2137"/>
                  <a:pt x="731" y="2137"/>
                  <a:pt x="723" y="2145"/>
                </a:cubicBezTo>
                <a:cubicBezTo>
                  <a:pt x="723" y="2145"/>
                  <a:pt x="723" y="2145"/>
                  <a:pt x="723" y="2145"/>
                </a:cubicBezTo>
                <a:cubicBezTo>
                  <a:pt x="723" y="2153"/>
                  <a:pt x="723" y="2161"/>
                  <a:pt x="715" y="2161"/>
                </a:cubicBezTo>
                <a:cubicBezTo>
                  <a:pt x="715" y="2161"/>
                  <a:pt x="715" y="2161"/>
                  <a:pt x="715" y="2168"/>
                </a:cubicBezTo>
                <a:cubicBezTo>
                  <a:pt x="715" y="2153"/>
                  <a:pt x="715" y="2153"/>
                  <a:pt x="723" y="2145"/>
                </a:cubicBezTo>
                <a:cubicBezTo>
                  <a:pt x="723" y="2145"/>
                  <a:pt x="723" y="2145"/>
                  <a:pt x="723" y="2145"/>
                </a:cubicBezTo>
                <a:cubicBezTo>
                  <a:pt x="731" y="2137"/>
                  <a:pt x="723" y="2145"/>
                  <a:pt x="731" y="2137"/>
                </a:cubicBezTo>
                <a:cubicBezTo>
                  <a:pt x="731" y="2137"/>
                  <a:pt x="731" y="2137"/>
                  <a:pt x="731" y="2137"/>
                </a:cubicBezTo>
                <a:cubicBezTo>
                  <a:pt x="731" y="2121"/>
                  <a:pt x="754" y="2082"/>
                  <a:pt x="754" y="2075"/>
                </a:cubicBezTo>
                <a:cubicBezTo>
                  <a:pt x="754" y="2075"/>
                  <a:pt x="754" y="2075"/>
                  <a:pt x="762" y="2067"/>
                </a:cubicBezTo>
                <a:cubicBezTo>
                  <a:pt x="778" y="2020"/>
                  <a:pt x="794" y="1996"/>
                  <a:pt x="801" y="1957"/>
                </a:cubicBezTo>
                <a:cubicBezTo>
                  <a:pt x="794" y="1965"/>
                  <a:pt x="794" y="1965"/>
                  <a:pt x="794" y="1965"/>
                </a:cubicBezTo>
                <a:cubicBezTo>
                  <a:pt x="794" y="1965"/>
                  <a:pt x="794" y="1965"/>
                  <a:pt x="794" y="1957"/>
                </a:cubicBezTo>
                <a:cubicBezTo>
                  <a:pt x="794" y="1957"/>
                  <a:pt x="794" y="1957"/>
                  <a:pt x="801" y="1957"/>
                </a:cubicBezTo>
                <a:cubicBezTo>
                  <a:pt x="801" y="1941"/>
                  <a:pt x="801" y="1949"/>
                  <a:pt x="801" y="1941"/>
                </a:cubicBezTo>
                <a:cubicBezTo>
                  <a:pt x="801" y="1941"/>
                  <a:pt x="801" y="1941"/>
                  <a:pt x="794" y="1957"/>
                </a:cubicBezTo>
                <a:cubicBezTo>
                  <a:pt x="794" y="1965"/>
                  <a:pt x="794" y="1965"/>
                  <a:pt x="786" y="1973"/>
                </a:cubicBezTo>
                <a:cubicBezTo>
                  <a:pt x="786" y="1981"/>
                  <a:pt x="786" y="1973"/>
                  <a:pt x="786" y="1988"/>
                </a:cubicBezTo>
                <a:cubicBezTo>
                  <a:pt x="786" y="1981"/>
                  <a:pt x="786" y="1973"/>
                  <a:pt x="794" y="1965"/>
                </a:cubicBezTo>
                <a:cubicBezTo>
                  <a:pt x="794" y="1965"/>
                  <a:pt x="794" y="1965"/>
                  <a:pt x="786" y="1988"/>
                </a:cubicBezTo>
                <a:cubicBezTo>
                  <a:pt x="786" y="1988"/>
                  <a:pt x="786" y="1988"/>
                  <a:pt x="786" y="1988"/>
                </a:cubicBezTo>
                <a:cubicBezTo>
                  <a:pt x="778" y="1996"/>
                  <a:pt x="778" y="2004"/>
                  <a:pt x="770" y="2020"/>
                </a:cubicBezTo>
                <a:cubicBezTo>
                  <a:pt x="762" y="2028"/>
                  <a:pt x="762" y="2043"/>
                  <a:pt x="754" y="2051"/>
                </a:cubicBezTo>
                <a:cubicBezTo>
                  <a:pt x="754" y="2051"/>
                  <a:pt x="754" y="2051"/>
                  <a:pt x="762" y="2043"/>
                </a:cubicBezTo>
                <a:cubicBezTo>
                  <a:pt x="754" y="2059"/>
                  <a:pt x="754" y="2059"/>
                  <a:pt x="746" y="2059"/>
                </a:cubicBezTo>
                <a:cubicBezTo>
                  <a:pt x="746" y="2059"/>
                  <a:pt x="746" y="2059"/>
                  <a:pt x="746" y="2082"/>
                </a:cubicBezTo>
                <a:cubicBezTo>
                  <a:pt x="739" y="2090"/>
                  <a:pt x="739" y="2090"/>
                  <a:pt x="739" y="2090"/>
                </a:cubicBezTo>
                <a:cubicBezTo>
                  <a:pt x="739" y="2090"/>
                  <a:pt x="739" y="2090"/>
                  <a:pt x="739" y="2098"/>
                </a:cubicBezTo>
                <a:cubicBezTo>
                  <a:pt x="723" y="2121"/>
                  <a:pt x="715" y="2137"/>
                  <a:pt x="715" y="2145"/>
                </a:cubicBezTo>
                <a:cubicBezTo>
                  <a:pt x="715" y="2145"/>
                  <a:pt x="715" y="2145"/>
                  <a:pt x="699" y="2161"/>
                </a:cubicBezTo>
                <a:cubicBezTo>
                  <a:pt x="699" y="2153"/>
                  <a:pt x="699" y="2161"/>
                  <a:pt x="699" y="2161"/>
                </a:cubicBezTo>
                <a:cubicBezTo>
                  <a:pt x="699" y="2161"/>
                  <a:pt x="699" y="2161"/>
                  <a:pt x="691" y="2161"/>
                </a:cubicBezTo>
                <a:cubicBezTo>
                  <a:pt x="691" y="2161"/>
                  <a:pt x="691" y="2161"/>
                  <a:pt x="699" y="2161"/>
                </a:cubicBezTo>
                <a:cubicBezTo>
                  <a:pt x="691" y="2161"/>
                  <a:pt x="699" y="2161"/>
                  <a:pt x="691" y="2161"/>
                </a:cubicBezTo>
                <a:cubicBezTo>
                  <a:pt x="691" y="2161"/>
                  <a:pt x="691" y="2161"/>
                  <a:pt x="691" y="2161"/>
                </a:cubicBezTo>
                <a:cubicBezTo>
                  <a:pt x="691" y="2168"/>
                  <a:pt x="691" y="2168"/>
                  <a:pt x="684" y="2176"/>
                </a:cubicBezTo>
                <a:cubicBezTo>
                  <a:pt x="684" y="2176"/>
                  <a:pt x="684" y="2184"/>
                  <a:pt x="684" y="2192"/>
                </a:cubicBezTo>
                <a:cubicBezTo>
                  <a:pt x="684" y="2184"/>
                  <a:pt x="684" y="2176"/>
                  <a:pt x="684" y="2176"/>
                </a:cubicBezTo>
                <a:cubicBezTo>
                  <a:pt x="684" y="2176"/>
                  <a:pt x="684" y="2176"/>
                  <a:pt x="691" y="2168"/>
                </a:cubicBezTo>
                <a:cubicBezTo>
                  <a:pt x="691" y="2168"/>
                  <a:pt x="691" y="2168"/>
                  <a:pt x="699" y="2161"/>
                </a:cubicBezTo>
                <a:cubicBezTo>
                  <a:pt x="699" y="2168"/>
                  <a:pt x="699" y="2168"/>
                  <a:pt x="699" y="2168"/>
                </a:cubicBezTo>
                <a:cubicBezTo>
                  <a:pt x="691" y="2168"/>
                  <a:pt x="691" y="2168"/>
                  <a:pt x="691" y="2176"/>
                </a:cubicBezTo>
                <a:cubicBezTo>
                  <a:pt x="691" y="2176"/>
                  <a:pt x="691" y="2176"/>
                  <a:pt x="691" y="2176"/>
                </a:cubicBezTo>
                <a:cubicBezTo>
                  <a:pt x="684" y="2176"/>
                  <a:pt x="684" y="2176"/>
                  <a:pt x="684" y="2176"/>
                </a:cubicBezTo>
                <a:cubicBezTo>
                  <a:pt x="684" y="2184"/>
                  <a:pt x="684" y="2184"/>
                  <a:pt x="684" y="2184"/>
                </a:cubicBezTo>
                <a:cubicBezTo>
                  <a:pt x="691" y="2184"/>
                  <a:pt x="691" y="2184"/>
                  <a:pt x="691" y="2184"/>
                </a:cubicBezTo>
                <a:cubicBezTo>
                  <a:pt x="684" y="2184"/>
                  <a:pt x="684" y="2192"/>
                  <a:pt x="684" y="2192"/>
                </a:cubicBezTo>
                <a:cubicBezTo>
                  <a:pt x="684" y="2192"/>
                  <a:pt x="684" y="2192"/>
                  <a:pt x="684" y="2192"/>
                </a:cubicBezTo>
                <a:cubicBezTo>
                  <a:pt x="684" y="2192"/>
                  <a:pt x="684" y="2192"/>
                  <a:pt x="684" y="2192"/>
                </a:cubicBezTo>
                <a:cubicBezTo>
                  <a:pt x="684" y="2192"/>
                  <a:pt x="676" y="2192"/>
                  <a:pt x="676" y="2192"/>
                </a:cubicBezTo>
                <a:cubicBezTo>
                  <a:pt x="676" y="2200"/>
                  <a:pt x="676" y="2192"/>
                  <a:pt x="676" y="2200"/>
                </a:cubicBezTo>
                <a:cubicBezTo>
                  <a:pt x="676" y="2200"/>
                  <a:pt x="676" y="2200"/>
                  <a:pt x="684" y="2200"/>
                </a:cubicBezTo>
                <a:cubicBezTo>
                  <a:pt x="676" y="2200"/>
                  <a:pt x="676" y="2200"/>
                  <a:pt x="676" y="2200"/>
                </a:cubicBezTo>
                <a:cubicBezTo>
                  <a:pt x="676" y="2208"/>
                  <a:pt x="668" y="2215"/>
                  <a:pt x="668" y="2223"/>
                </a:cubicBezTo>
                <a:cubicBezTo>
                  <a:pt x="668" y="2223"/>
                  <a:pt x="668" y="2223"/>
                  <a:pt x="668" y="2223"/>
                </a:cubicBezTo>
                <a:cubicBezTo>
                  <a:pt x="668" y="2223"/>
                  <a:pt x="668" y="2223"/>
                  <a:pt x="668" y="2223"/>
                </a:cubicBezTo>
                <a:cubicBezTo>
                  <a:pt x="668" y="2223"/>
                  <a:pt x="668" y="2223"/>
                  <a:pt x="668" y="2223"/>
                </a:cubicBezTo>
                <a:cubicBezTo>
                  <a:pt x="660" y="2223"/>
                  <a:pt x="660" y="2223"/>
                  <a:pt x="660" y="2223"/>
                </a:cubicBezTo>
                <a:cubicBezTo>
                  <a:pt x="660" y="2223"/>
                  <a:pt x="660" y="2223"/>
                  <a:pt x="660" y="2223"/>
                </a:cubicBezTo>
                <a:cubicBezTo>
                  <a:pt x="660" y="2231"/>
                  <a:pt x="660" y="2231"/>
                  <a:pt x="660" y="2231"/>
                </a:cubicBezTo>
                <a:cubicBezTo>
                  <a:pt x="652" y="2231"/>
                  <a:pt x="652" y="2239"/>
                  <a:pt x="652" y="2239"/>
                </a:cubicBezTo>
                <a:cubicBezTo>
                  <a:pt x="652" y="2239"/>
                  <a:pt x="652" y="2247"/>
                  <a:pt x="644" y="2247"/>
                </a:cubicBezTo>
                <a:cubicBezTo>
                  <a:pt x="644" y="2255"/>
                  <a:pt x="644" y="2255"/>
                  <a:pt x="644" y="2255"/>
                </a:cubicBezTo>
                <a:cubicBezTo>
                  <a:pt x="644" y="2255"/>
                  <a:pt x="644" y="2255"/>
                  <a:pt x="644" y="2255"/>
                </a:cubicBezTo>
                <a:cubicBezTo>
                  <a:pt x="644" y="2255"/>
                  <a:pt x="644" y="2255"/>
                  <a:pt x="644" y="2255"/>
                </a:cubicBezTo>
                <a:cubicBezTo>
                  <a:pt x="644" y="2255"/>
                  <a:pt x="644" y="2255"/>
                  <a:pt x="644" y="2255"/>
                </a:cubicBezTo>
                <a:cubicBezTo>
                  <a:pt x="644" y="2255"/>
                  <a:pt x="644" y="2262"/>
                  <a:pt x="636" y="2262"/>
                </a:cubicBezTo>
                <a:cubicBezTo>
                  <a:pt x="636" y="2270"/>
                  <a:pt x="636" y="2270"/>
                  <a:pt x="629" y="2270"/>
                </a:cubicBezTo>
                <a:cubicBezTo>
                  <a:pt x="629" y="2278"/>
                  <a:pt x="629" y="2278"/>
                  <a:pt x="629" y="2278"/>
                </a:cubicBezTo>
                <a:cubicBezTo>
                  <a:pt x="629" y="2278"/>
                  <a:pt x="629" y="2286"/>
                  <a:pt x="629" y="2286"/>
                </a:cubicBezTo>
                <a:cubicBezTo>
                  <a:pt x="629" y="2286"/>
                  <a:pt x="629" y="2286"/>
                  <a:pt x="621" y="2294"/>
                </a:cubicBezTo>
                <a:cubicBezTo>
                  <a:pt x="629" y="2286"/>
                  <a:pt x="629" y="2286"/>
                  <a:pt x="629" y="2286"/>
                </a:cubicBezTo>
                <a:cubicBezTo>
                  <a:pt x="629" y="2286"/>
                  <a:pt x="629" y="2286"/>
                  <a:pt x="629" y="2294"/>
                </a:cubicBezTo>
                <a:cubicBezTo>
                  <a:pt x="629" y="2294"/>
                  <a:pt x="629" y="2294"/>
                  <a:pt x="621" y="2294"/>
                </a:cubicBezTo>
                <a:cubicBezTo>
                  <a:pt x="621" y="2294"/>
                  <a:pt x="621" y="2294"/>
                  <a:pt x="613" y="2301"/>
                </a:cubicBezTo>
                <a:cubicBezTo>
                  <a:pt x="613" y="2301"/>
                  <a:pt x="613" y="2309"/>
                  <a:pt x="613" y="2309"/>
                </a:cubicBezTo>
                <a:cubicBezTo>
                  <a:pt x="613" y="2309"/>
                  <a:pt x="613" y="2309"/>
                  <a:pt x="613" y="2309"/>
                </a:cubicBezTo>
                <a:cubicBezTo>
                  <a:pt x="621" y="2301"/>
                  <a:pt x="621" y="2301"/>
                  <a:pt x="621" y="2301"/>
                </a:cubicBezTo>
                <a:cubicBezTo>
                  <a:pt x="621" y="2301"/>
                  <a:pt x="621" y="2301"/>
                  <a:pt x="621" y="2301"/>
                </a:cubicBezTo>
                <a:cubicBezTo>
                  <a:pt x="621" y="2309"/>
                  <a:pt x="613" y="2309"/>
                  <a:pt x="613" y="2309"/>
                </a:cubicBezTo>
                <a:cubicBezTo>
                  <a:pt x="613" y="2309"/>
                  <a:pt x="613" y="2309"/>
                  <a:pt x="613" y="2309"/>
                </a:cubicBezTo>
                <a:cubicBezTo>
                  <a:pt x="613" y="2309"/>
                  <a:pt x="613" y="2309"/>
                  <a:pt x="613" y="2309"/>
                </a:cubicBezTo>
                <a:cubicBezTo>
                  <a:pt x="613" y="2309"/>
                  <a:pt x="613" y="2317"/>
                  <a:pt x="605" y="2325"/>
                </a:cubicBezTo>
                <a:cubicBezTo>
                  <a:pt x="605" y="2333"/>
                  <a:pt x="605" y="2333"/>
                  <a:pt x="597" y="2333"/>
                </a:cubicBezTo>
                <a:cubicBezTo>
                  <a:pt x="597" y="2341"/>
                  <a:pt x="597" y="2341"/>
                  <a:pt x="597" y="2341"/>
                </a:cubicBezTo>
                <a:cubicBezTo>
                  <a:pt x="597" y="2341"/>
                  <a:pt x="597" y="2341"/>
                  <a:pt x="597" y="2341"/>
                </a:cubicBezTo>
                <a:cubicBezTo>
                  <a:pt x="589" y="2341"/>
                  <a:pt x="589" y="2341"/>
                  <a:pt x="589" y="2341"/>
                </a:cubicBezTo>
                <a:cubicBezTo>
                  <a:pt x="589" y="2341"/>
                  <a:pt x="589" y="2341"/>
                  <a:pt x="589" y="2341"/>
                </a:cubicBezTo>
                <a:cubicBezTo>
                  <a:pt x="589" y="2341"/>
                  <a:pt x="589" y="2341"/>
                  <a:pt x="589" y="2341"/>
                </a:cubicBezTo>
                <a:cubicBezTo>
                  <a:pt x="589" y="2348"/>
                  <a:pt x="589" y="2348"/>
                  <a:pt x="582" y="2356"/>
                </a:cubicBezTo>
                <a:cubicBezTo>
                  <a:pt x="582" y="2364"/>
                  <a:pt x="582" y="2364"/>
                  <a:pt x="582" y="2364"/>
                </a:cubicBezTo>
                <a:cubicBezTo>
                  <a:pt x="574" y="2372"/>
                  <a:pt x="574" y="2372"/>
                  <a:pt x="574" y="2380"/>
                </a:cubicBezTo>
                <a:cubicBezTo>
                  <a:pt x="566" y="2380"/>
                  <a:pt x="566" y="2388"/>
                  <a:pt x="566" y="2388"/>
                </a:cubicBezTo>
                <a:cubicBezTo>
                  <a:pt x="566" y="2388"/>
                  <a:pt x="566" y="2388"/>
                  <a:pt x="566" y="2388"/>
                </a:cubicBezTo>
                <a:cubicBezTo>
                  <a:pt x="566" y="2388"/>
                  <a:pt x="566" y="2388"/>
                  <a:pt x="566" y="2388"/>
                </a:cubicBezTo>
                <a:cubicBezTo>
                  <a:pt x="558" y="2395"/>
                  <a:pt x="550" y="2403"/>
                  <a:pt x="550" y="2411"/>
                </a:cubicBezTo>
                <a:cubicBezTo>
                  <a:pt x="550" y="2411"/>
                  <a:pt x="542" y="2419"/>
                  <a:pt x="542" y="2427"/>
                </a:cubicBezTo>
                <a:cubicBezTo>
                  <a:pt x="542" y="2419"/>
                  <a:pt x="542" y="2419"/>
                  <a:pt x="542" y="2419"/>
                </a:cubicBezTo>
                <a:cubicBezTo>
                  <a:pt x="542" y="2427"/>
                  <a:pt x="534" y="2435"/>
                  <a:pt x="527" y="2442"/>
                </a:cubicBezTo>
                <a:cubicBezTo>
                  <a:pt x="527" y="2442"/>
                  <a:pt x="527" y="2442"/>
                  <a:pt x="527" y="2450"/>
                </a:cubicBezTo>
                <a:cubicBezTo>
                  <a:pt x="527" y="2450"/>
                  <a:pt x="527" y="2450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1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0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0"/>
                </a:cubicBezTo>
                <a:cubicBezTo>
                  <a:pt x="519" y="2450"/>
                  <a:pt x="519" y="2450"/>
                  <a:pt x="527" y="2442"/>
                </a:cubicBezTo>
                <a:cubicBezTo>
                  <a:pt x="527" y="2442"/>
                  <a:pt x="527" y="2442"/>
                  <a:pt x="527" y="2435"/>
                </a:cubicBezTo>
                <a:cubicBezTo>
                  <a:pt x="527" y="2435"/>
                  <a:pt x="527" y="2435"/>
                  <a:pt x="527" y="2435"/>
                </a:cubicBezTo>
                <a:cubicBezTo>
                  <a:pt x="534" y="2435"/>
                  <a:pt x="534" y="2435"/>
                  <a:pt x="534" y="2435"/>
                </a:cubicBezTo>
                <a:cubicBezTo>
                  <a:pt x="534" y="2427"/>
                  <a:pt x="534" y="2427"/>
                  <a:pt x="534" y="2427"/>
                </a:cubicBezTo>
                <a:cubicBezTo>
                  <a:pt x="534" y="2427"/>
                  <a:pt x="534" y="2419"/>
                  <a:pt x="542" y="2419"/>
                </a:cubicBezTo>
                <a:cubicBezTo>
                  <a:pt x="542" y="2419"/>
                  <a:pt x="542" y="2411"/>
                  <a:pt x="550" y="2411"/>
                </a:cubicBezTo>
                <a:cubicBezTo>
                  <a:pt x="550" y="2411"/>
                  <a:pt x="550" y="2411"/>
                  <a:pt x="542" y="2411"/>
                </a:cubicBezTo>
                <a:cubicBezTo>
                  <a:pt x="542" y="2419"/>
                  <a:pt x="534" y="2419"/>
                  <a:pt x="534" y="2427"/>
                </a:cubicBezTo>
                <a:cubicBezTo>
                  <a:pt x="534" y="2427"/>
                  <a:pt x="534" y="2427"/>
                  <a:pt x="527" y="2427"/>
                </a:cubicBezTo>
                <a:cubicBezTo>
                  <a:pt x="527" y="2435"/>
                  <a:pt x="527" y="2427"/>
                  <a:pt x="527" y="2435"/>
                </a:cubicBezTo>
                <a:cubicBezTo>
                  <a:pt x="527" y="2442"/>
                  <a:pt x="527" y="2442"/>
                  <a:pt x="519" y="2442"/>
                </a:cubicBezTo>
                <a:cubicBezTo>
                  <a:pt x="519" y="2442"/>
                  <a:pt x="519" y="2442"/>
                  <a:pt x="519" y="2450"/>
                </a:cubicBezTo>
                <a:cubicBezTo>
                  <a:pt x="519" y="2450"/>
                  <a:pt x="519" y="2450"/>
                  <a:pt x="519" y="2450"/>
                </a:cubicBezTo>
                <a:cubicBezTo>
                  <a:pt x="519" y="2450"/>
                  <a:pt x="519" y="2450"/>
                  <a:pt x="519" y="2442"/>
                </a:cubicBezTo>
                <a:cubicBezTo>
                  <a:pt x="519" y="2442"/>
                  <a:pt x="519" y="2442"/>
                  <a:pt x="511" y="2442"/>
                </a:cubicBezTo>
                <a:cubicBezTo>
                  <a:pt x="527" y="2435"/>
                  <a:pt x="527" y="2435"/>
                  <a:pt x="527" y="2435"/>
                </a:cubicBezTo>
                <a:cubicBezTo>
                  <a:pt x="527" y="2435"/>
                  <a:pt x="527" y="2435"/>
                  <a:pt x="519" y="2442"/>
                </a:cubicBezTo>
                <a:cubicBezTo>
                  <a:pt x="519" y="2442"/>
                  <a:pt x="550" y="2388"/>
                  <a:pt x="558" y="2380"/>
                </a:cubicBezTo>
                <a:cubicBezTo>
                  <a:pt x="558" y="2380"/>
                  <a:pt x="558" y="2380"/>
                  <a:pt x="566" y="2372"/>
                </a:cubicBezTo>
                <a:cubicBezTo>
                  <a:pt x="566" y="2364"/>
                  <a:pt x="574" y="2356"/>
                  <a:pt x="574" y="2356"/>
                </a:cubicBezTo>
                <a:cubicBezTo>
                  <a:pt x="574" y="2356"/>
                  <a:pt x="582" y="2348"/>
                  <a:pt x="574" y="2356"/>
                </a:cubicBezTo>
                <a:cubicBezTo>
                  <a:pt x="574" y="2356"/>
                  <a:pt x="574" y="2356"/>
                  <a:pt x="582" y="2348"/>
                </a:cubicBezTo>
                <a:cubicBezTo>
                  <a:pt x="582" y="2341"/>
                  <a:pt x="582" y="2341"/>
                  <a:pt x="582" y="2341"/>
                </a:cubicBezTo>
                <a:cubicBezTo>
                  <a:pt x="582" y="2341"/>
                  <a:pt x="582" y="2341"/>
                  <a:pt x="582" y="2341"/>
                </a:cubicBezTo>
                <a:cubicBezTo>
                  <a:pt x="582" y="2341"/>
                  <a:pt x="582" y="2341"/>
                  <a:pt x="582" y="2341"/>
                </a:cubicBezTo>
                <a:cubicBezTo>
                  <a:pt x="582" y="2341"/>
                  <a:pt x="582" y="2341"/>
                  <a:pt x="574" y="2348"/>
                </a:cubicBezTo>
                <a:cubicBezTo>
                  <a:pt x="574" y="2348"/>
                  <a:pt x="574" y="2348"/>
                  <a:pt x="574" y="2348"/>
                </a:cubicBezTo>
                <a:cubicBezTo>
                  <a:pt x="574" y="2356"/>
                  <a:pt x="574" y="2356"/>
                  <a:pt x="566" y="2356"/>
                </a:cubicBezTo>
                <a:cubicBezTo>
                  <a:pt x="566" y="2356"/>
                  <a:pt x="566" y="2356"/>
                  <a:pt x="566" y="2364"/>
                </a:cubicBezTo>
                <a:cubicBezTo>
                  <a:pt x="566" y="2364"/>
                  <a:pt x="566" y="2364"/>
                  <a:pt x="566" y="2364"/>
                </a:cubicBezTo>
                <a:cubicBezTo>
                  <a:pt x="558" y="2372"/>
                  <a:pt x="550" y="2388"/>
                  <a:pt x="550" y="2395"/>
                </a:cubicBezTo>
                <a:cubicBezTo>
                  <a:pt x="542" y="2395"/>
                  <a:pt x="558" y="2372"/>
                  <a:pt x="542" y="2395"/>
                </a:cubicBezTo>
                <a:cubicBezTo>
                  <a:pt x="542" y="2388"/>
                  <a:pt x="550" y="2388"/>
                  <a:pt x="550" y="2380"/>
                </a:cubicBezTo>
                <a:cubicBezTo>
                  <a:pt x="550" y="2380"/>
                  <a:pt x="550" y="2380"/>
                  <a:pt x="550" y="2372"/>
                </a:cubicBezTo>
                <a:cubicBezTo>
                  <a:pt x="550" y="2372"/>
                  <a:pt x="550" y="2372"/>
                  <a:pt x="542" y="2388"/>
                </a:cubicBezTo>
                <a:cubicBezTo>
                  <a:pt x="542" y="2388"/>
                  <a:pt x="542" y="2388"/>
                  <a:pt x="542" y="2388"/>
                </a:cubicBezTo>
                <a:cubicBezTo>
                  <a:pt x="542" y="2388"/>
                  <a:pt x="542" y="2388"/>
                  <a:pt x="534" y="2403"/>
                </a:cubicBezTo>
                <a:cubicBezTo>
                  <a:pt x="527" y="2403"/>
                  <a:pt x="527" y="2403"/>
                  <a:pt x="527" y="2403"/>
                </a:cubicBezTo>
                <a:cubicBezTo>
                  <a:pt x="534" y="2395"/>
                  <a:pt x="534" y="2403"/>
                  <a:pt x="542" y="2388"/>
                </a:cubicBezTo>
                <a:cubicBezTo>
                  <a:pt x="534" y="2395"/>
                  <a:pt x="534" y="2395"/>
                  <a:pt x="527" y="2403"/>
                </a:cubicBezTo>
                <a:cubicBezTo>
                  <a:pt x="527" y="2411"/>
                  <a:pt x="527" y="2411"/>
                  <a:pt x="527" y="2411"/>
                </a:cubicBezTo>
                <a:cubicBezTo>
                  <a:pt x="527" y="2411"/>
                  <a:pt x="527" y="2411"/>
                  <a:pt x="527" y="2411"/>
                </a:cubicBezTo>
                <a:cubicBezTo>
                  <a:pt x="519" y="2419"/>
                  <a:pt x="519" y="2419"/>
                  <a:pt x="519" y="2419"/>
                </a:cubicBezTo>
                <a:cubicBezTo>
                  <a:pt x="519" y="2419"/>
                  <a:pt x="519" y="2419"/>
                  <a:pt x="519" y="2411"/>
                </a:cubicBezTo>
                <a:cubicBezTo>
                  <a:pt x="519" y="2419"/>
                  <a:pt x="511" y="2419"/>
                  <a:pt x="511" y="2427"/>
                </a:cubicBezTo>
                <a:cubicBezTo>
                  <a:pt x="511" y="2427"/>
                  <a:pt x="511" y="2427"/>
                  <a:pt x="511" y="2427"/>
                </a:cubicBezTo>
                <a:cubicBezTo>
                  <a:pt x="511" y="2427"/>
                  <a:pt x="511" y="2427"/>
                  <a:pt x="511" y="2427"/>
                </a:cubicBezTo>
                <a:cubicBezTo>
                  <a:pt x="511" y="2435"/>
                  <a:pt x="503" y="2435"/>
                  <a:pt x="503" y="2435"/>
                </a:cubicBezTo>
                <a:cubicBezTo>
                  <a:pt x="503" y="2435"/>
                  <a:pt x="503" y="2435"/>
                  <a:pt x="495" y="2435"/>
                </a:cubicBezTo>
                <a:cubicBezTo>
                  <a:pt x="495" y="2435"/>
                  <a:pt x="495" y="2435"/>
                  <a:pt x="495" y="2435"/>
                </a:cubicBezTo>
                <a:cubicBezTo>
                  <a:pt x="503" y="2435"/>
                  <a:pt x="503" y="2435"/>
                  <a:pt x="503" y="2442"/>
                </a:cubicBezTo>
                <a:cubicBezTo>
                  <a:pt x="503" y="2442"/>
                  <a:pt x="503" y="2442"/>
                  <a:pt x="503" y="2442"/>
                </a:cubicBezTo>
                <a:cubicBezTo>
                  <a:pt x="503" y="2435"/>
                  <a:pt x="503" y="2435"/>
                  <a:pt x="495" y="2435"/>
                </a:cubicBezTo>
                <a:cubicBezTo>
                  <a:pt x="495" y="2435"/>
                  <a:pt x="495" y="2435"/>
                  <a:pt x="495" y="2435"/>
                </a:cubicBezTo>
                <a:cubicBezTo>
                  <a:pt x="495" y="2435"/>
                  <a:pt x="495" y="2435"/>
                  <a:pt x="495" y="2435"/>
                </a:cubicBezTo>
                <a:cubicBezTo>
                  <a:pt x="495" y="2427"/>
                  <a:pt x="495" y="2427"/>
                  <a:pt x="495" y="2427"/>
                </a:cubicBezTo>
                <a:cubicBezTo>
                  <a:pt x="495" y="2427"/>
                  <a:pt x="495" y="2427"/>
                  <a:pt x="479" y="2419"/>
                </a:cubicBezTo>
                <a:cubicBezTo>
                  <a:pt x="479" y="2419"/>
                  <a:pt x="479" y="2419"/>
                  <a:pt x="479" y="2419"/>
                </a:cubicBezTo>
                <a:cubicBezTo>
                  <a:pt x="479" y="2419"/>
                  <a:pt x="479" y="2419"/>
                  <a:pt x="479" y="2411"/>
                </a:cubicBezTo>
                <a:cubicBezTo>
                  <a:pt x="479" y="2411"/>
                  <a:pt x="479" y="2411"/>
                  <a:pt x="479" y="2411"/>
                </a:cubicBezTo>
                <a:cubicBezTo>
                  <a:pt x="487" y="2419"/>
                  <a:pt x="487" y="2419"/>
                  <a:pt x="487" y="2427"/>
                </a:cubicBezTo>
                <a:cubicBezTo>
                  <a:pt x="487" y="2419"/>
                  <a:pt x="487" y="2419"/>
                  <a:pt x="487" y="2419"/>
                </a:cubicBezTo>
                <a:cubicBezTo>
                  <a:pt x="487" y="2427"/>
                  <a:pt x="495" y="2427"/>
                  <a:pt x="495" y="2427"/>
                </a:cubicBezTo>
                <a:cubicBezTo>
                  <a:pt x="495" y="2427"/>
                  <a:pt x="495" y="2427"/>
                  <a:pt x="495" y="2427"/>
                </a:cubicBezTo>
                <a:cubicBezTo>
                  <a:pt x="495" y="2427"/>
                  <a:pt x="495" y="2427"/>
                  <a:pt x="495" y="2427"/>
                </a:cubicBezTo>
                <a:cubicBezTo>
                  <a:pt x="495" y="2427"/>
                  <a:pt x="495" y="2427"/>
                  <a:pt x="495" y="2427"/>
                </a:cubicBezTo>
                <a:cubicBezTo>
                  <a:pt x="479" y="2411"/>
                  <a:pt x="464" y="2395"/>
                  <a:pt x="464" y="2388"/>
                </a:cubicBezTo>
                <a:cubicBezTo>
                  <a:pt x="464" y="2388"/>
                  <a:pt x="464" y="2388"/>
                  <a:pt x="456" y="2388"/>
                </a:cubicBezTo>
                <a:cubicBezTo>
                  <a:pt x="456" y="2388"/>
                  <a:pt x="440" y="2372"/>
                  <a:pt x="440" y="2364"/>
                </a:cubicBezTo>
                <a:cubicBezTo>
                  <a:pt x="440" y="2364"/>
                  <a:pt x="440" y="2364"/>
                  <a:pt x="432" y="2356"/>
                </a:cubicBezTo>
                <a:cubicBezTo>
                  <a:pt x="440" y="2372"/>
                  <a:pt x="424" y="2356"/>
                  <a:pt x="440" y="2372"/>
                </a:cubicBezTo>
                <a:cubicBezTo>
                  <a:pt x="432" y="2372"/>
                  <a:pt x="432" y="2372"/>
                  <a:pt x="432" y="2372"/>
                </a:cubicBezTo>
                <a:cubicBezTo>
                  <a:pt x="424" y="2364"/>
                  <a:pt x="432" y="2372"/>
                  <a:pt x="424" y="2364"/>
                </a:cubicBezTo>
                <a:cubicBezTo>
                  <a:pt x="424" y="2356"/>
                  <a:pt x="417" y="2356"/>
                  <a:pt x="417" y="2348"/>
                </a:cubicBezTo>
                <a:cubicBezTo>
                  <a:pt x="417" y="2348"/>
                  <a:pt x="417" y="2348"/>
                  <a:pt x="417" y="2356"/>
                </a:cubicBezTo>
                <a:cubicBezTo>
                  <a:pt x="417" y="2356"/>
                  <a:pt x="417" y="2356"/>
                  <a:pt x="424" y="2356"/>
                </a:cubicBezTo>
                <a:cubicBezTo>
                  <a:pt x="424" y="2364"/>
                  <a:pt x="424" y="2364"/>
                  <a:pt x="424" y="2364"/>
                </a:cubicBezTo>
                <a:cubicBezTo>
                  <a:pt x="424" y="2364"/>
                  <a:pt x="424" y="2364"/>
                  <a:pt x="424" y="2364"/>
                </a:cubicBezTo>
                <a:cubicBezTo>
                  <a:pt x="424" y="2364"/>
                  <a:pt x="424" y="2364"/>
                  <a:pt x="424" y="2364"/>
                </a:cubicBezTo>
                <a:cubicBezTo>
                  <a:pt x="424" y="2364"/>
                  <a:pt x="424" y="2364"/>
                  <a:pt x="424" y="2364"/>
                </a:cubicBezTo>
                <a:cubicBezTo>
                  <a:pt x="432" y="2364"/>
                  <a:pt x="432" y="2372"/>
                  <a:pt x="440" y="2372"/>
                </a:cubicBezTo>
                <a:cubicBezTo>
                  <a:pt x="432" y="2372"/>
                  <a:pt x="432" y="2372"/>
                  <a:pt x="424" y="2364"/>
                </a:cubicBezTo>
                <a:cubicBezTo>
                  <a:pt x="424" y="2364"/>
                  <a:pt x="424" y="2364"/>
                  <a:pt x="424" y="2364"/>
                </a:cubicBezTo>
                <a:cubicBezTo>
                  <a:pt x="424" y="2364"/>
                  <a:pt x="424" y="2364"/>
                  <a:pt x="424" y="2364"/>
                </a:cubicBezTo>
                <a:cubicBezTo>
                  <a:pt x="417" y="2364"/>
                  <a:pt x="417" y="2364"/>
                  <a:pt x="417" y="2356"/>
                </a:cubicBezTo>
                <a:cubicBezTo>
                  <a:pt x="417" y="2356"/>
                  <a:pt x="409" y="2348"/>
                  <a:pt x="401" y="2341"/>
                </a:cubicBezTo>
                <a:cubicBezTo>
                  <a:pt x="401" y="2341"/>
                  <a:pt x="401" y="2333"/>
                  <a:pt x="401" y="2333"/>
                </a:cubicBezTo>
                <a:cubicBezTo>
                  <a:pt x="385" y="2317"/>
                  <a:pt x="377" y="2301"/>
                  <a:pt x="370" y="2294"/>
                </a:cubicBezTo>
                <a:cubicBezTo>
                  <a:pt x="370" y="2294"/>
                  <a:pt x="377" y="2294"/>
                  <a:pt x="362" y="2278"/>
                </a:cubicBezTo>
                <a:cubicBezTo>
                  <a:pt x="362" y="2278"/>
                  <a:pt x="362" y="2278"/>
                  <a:pt x="362" y="2286"/>
                </a:cubicBezTo>
                <a:cubicBezTo>
                  <a:pt x="362" y="2286"/>
                  <a:pt x="362" y="2286"/>
                  <a:pt x="354" y="2270"/>
                </a:cubicBezTo>
                <a:cubicBezTo>
                  <a:pt x="354" y="2270"/>
                  <a:pt x="354" y="2270"/>
                  <a:pt x="354" y="2270"/>
                </a:cubicBezTo>
                <a:cubicBezTo>
                  <a:pt x="346" y="2270"/>
                  <a:pt x="346" y="2270"/>
                  <a:pt x="346" y="2270"/>
                </a:cubicBezTo>
                <a:cubicBezTo>
                  <a:pt x="346" y="2270"/>
                  <a:pt x="346" y="2270"/>
                  <a:pt x="346" y="2262"/>
                </a:cubicBezTo>
                <a:cubicBezTo>
                  <a:pt x="346" y="2262"/>
                  <a:pt x="346" y="2262"/>
                  <a:pt x="346" y="2255"/>
                </a:cubicBezTo>
                <a:cubicBezTo>
                  <a:pt x="346" y="2255"/>
                  <a:pt x="346" y="2255"/>
                  <a:pt x="346" y="2255"/>
                </a:cubicBezTo>
                <a:cubicBezTo>
                  <a:pt x="346" y="2255"/>
                  <a:pt x="346" y="2255"/>
                  <a:pt x="346" y="2255"/>
                </a:cubicBezTo>
                <a:cubicBezTo>
                  <a:pt x="346" y="2255"/>
                  <a:pt x="338" y="2255"/>
                  <a:pt x="338" y="2255"/>
                </a:cubicBezTo>
                <a:cubicBezTo>
                  <a:pt x="338" y="2247"/>
                  <a:pt x="338" y="2247"/>
                  <a:pt x="330" y="2239"/>
                </a:cubicBezTo>
                <a:cubicBezTo>
                  <a:pt x="330" y="2239"/>
                  <a:pt x="330" y="2239"/>
                  <a:pt x="330" y="2239"/>
                </a:cubicBezTo>
                <a:cubicBezTo>
                  <a:pt x="330" y="2239"/>
                  <a:pt x="330" y="2239"/>
                  <a:pt x="330" y="2239"/>
                </a:cubicBezTo>
                <a:cubicBezTo>
                  <a:pt x="330" y="2239"/>
                  <a:pt x="330" y="2239"/>
                  <a:pt x="330" y="2239"/>
                </a:cubicBezTo>
                <a:cubicBezTo>
                  <a:pt x="322" y="2231"/>
                  <a:pt x="315" y="2223"/>
                  <a:pt x="307" y="2208"/>
                </a:cubicBezTo>
                <a:cubicBezTo>
                  <a:pt x="315" y="2223"/>
                  <a:pt x="330" y="2239"/>
                  <a:pt x="338" y="2255"/>
                </a:cubicBezTo>
                <a:cubicBezTo>
                  <a:pt x="330" y="2255"/>
                  <a:pt x="330" y="2255"/>
                  <a:pt x="330" y="2247"/>
                </a:cubicBezTo>
                <a:cubicBezTo>
                  <a:pt x="330" y="2247"/>
                  <a:pt x="330" y="2247"/>
                  <a:pt x="330" y="2255"/>
                </a:cubicBezTo>
                <a:cubicBezTo>
                  <a:pt x="330" y="2247"/>
                  <a:pt x="322" y="2239"/>
                  <a:pt x="322" y="2239"/>
                </a:cubicBezTo>
                <a:cubicBezTo>
                  <a:pt x="322" y="2239"/>
                  <a:pt x="322" y="2239"/>
                  <a:pt x="322" y="2239"/>
                </a:cubicBezTo>
                <a:cubicBezTo>
                  <a:pt x="315" y="2239"/>
                  <a:pt x="315" y="2239"/>
                  <a:pt x="315" y="2239"/>
                </a:cubicBezTo>
                <a:cubicBezTo>
                  <a:pt x="315" y="2239"/>
                  <a:pt x="315" y="2239"/>
                  <a:pt x="315" y="2231"/>
                </a:cubicBezTo>
                <a:cubicBezTo>
                  <a:pt x="315" y="2231"/>
                  <a:pt x="315" y="2231"/>
                  <a:pt x="315" y="2223"/>
                </a:cubicBezTo>
                <a:cubicBezTo>
                  <a:pt x="315" y="2231"/>
                  <a:pt x="315" y="2231"/>
                  <a:pt x="315" y="2231"/>
                </a:cubicBezTo>
                <a:cubicBezTo>
                  <a:pt x="315" y="2231"/>
                  <a:pt x="315" y="2231"/>
                  <a:pt x="315" y="2231"/>
                </a:cubicBezTo>
                <a:cubicBezTo>
                  <a:pt x="315" y="2231"/>
                  <a:pt x="315" y="2231"/>
                  <a:pt x="322" y="2239"/>
                </a:cubicBezTo>
                <a:cubicBezTo>
                  <a:pt x="322" y="2231"/>
                  <a:pt x="322" y="2231"/>
                  <a:pt x="322" y="2231"/>
                </a:cubicBezTo>
                <a:cubicBezTo>
                  <a:pt x="307" y="2215"/>
                  <a:pt x="299" y="2208"/>
                  <a:pt x="291" y="2200"/>
                </a:cubicBezTo>
                <a:cubicBezTo>
                  <a:pt x="283" y="2192"/>
                  <a:pt x="244" y="2137"/>
                  <a:pt x="220" y="2114"/>
                </a:cubicBezTo>
                <a:cubicBezTo>
                  <a:pt x="228" y="2114"/>
                  <a:pt x="228" y="2114"/>
                  <a:pt x="228" y="2121"/>
                </a:cubicBezTo>
                <a:cubicBezTo>
                  <a:pt x="228" y="2121"/>
                  <a:pt x="228" y="2121"/>
                  <a:pt x="228" y="2121"/>
                </a:cubicBezTo>
                <a:cubicBezTo>
                  <a:pt x="228" y="2121"/>
                  <a:pt x="228" y="2121"/>
                  <a:pt x="228" y="2121"/>
                </a:cubicBezTo>
                <a:cubicBezTo>
                  <a:pt x="228" y="2121"/>
                  <a:pt x="228" y="2121"/>
                  <a:pt x="228" y="2129"/>
                </a:cubicBezTo>
                <a:cubicBezTo>
                  <a:pt x="228" y="2129"/>
                  <a:pt x="228" y="2129"/>
                  <a:pt x="228" y="2129"/>
                </a:cubicBezTo>
                <a:cubicBezTo>
                  <a:pt x="228" y="2129"/>
                  <a:pt x="236" y="2129"/>
                  <a:pt x="236" y="2137"/>
                </a:cubicBezTo>
                <a:cubicBezTo>
                  <a:pt x="252" y="2161"/>
                  <a:pt x="275" y="2184"/>
                  <a:pt x="275" y="2184"/>
                </a:cubicBezTo>
                <a:cubicBezTo>
                  <a:pt x="275" y="2184"/>
                  <a:pt x="275" y="2192"/>
                  <a:pt x="275" y="2192"/>
                </a:cubicBezTo>
                <a:cubicBezTo>
                  <a:pt x="291" y="2215"/>
                  <a:pt x="330" y="2262"/>
                  <a:pt x="362" y="2301"/>
                </a:cubicBezTo>
                <a:cubicBezTo>
                  <a:pt x="370" y="2301"/>
                  <a:pt x="370" y="2309"/>
                  <a:pt x="370" y="2309"/>
                </a:cubicBezTo>
                <a:cubicBezTo>
                  <a:pt x="370" y="2309"/>
                  <a:pt x="370" y="2309"/>
                  <a:pt x="370" y="2301"/>
                </a:cubicBezTo>
                <a:cubicBezTo>
                  <a:pt x="385" y="2325"/>
                  <a:pt x="401" y="2341"/>
                  <a:pt x="409" y="2348"/>
                </a:cubicBezTo>
                <a:cubicBezTo>
                  <a:pt x="409" y="2356"/>
                  <a:pt x="409" y="2348"/>
                  <a:pt x="409" y="2356"/>
                </a:cubicBezTo>
                <a:cubicBezTo>
                  <a:pt x="417" y="2364"/>
                  <a:pt x="417" y="2364"/>
                  <a:pt x="424" y="2372"/>
                </a:cubicBezTo>
                <a:cubicBezTo>
                  <a:pt x="424" y="2372"/>
                  <a:pt x="424" y="2372"/>
                  <a:pt x="424" y="2372"/>
                </a:cubicBezTo>
                <a:cubicBezTo>
                  <a:pt x="424" y="2372"/>
                  <a:pt x="424" y="2372"/>
                  <a:pt x="424" y="2372"/>
                </a:cubicBezTo>
                <a:cubicBezTo>
                  <a:pt x="424" y="2372"/>
                  <a:pt x="424" y="2372"/>
                  <a:pt x="424" y="2372"/>
                </a:cubicBezTo>
                <a:cubicBezTo>
                  <a:pt x="424" y="2380"/>
                  <a:pt x="432" y="2380"/>
                  <a:pt x="432" y="2388"/>
                </a:cubicBezTo>
                <a:cubicBezTo>
                  <a:pt x="432" y="2388"/>
                  <a:pt x="432" y="2388"/>
                  <a:pt x="440" y="2388"/>
                </a:cubicBezTo>
                <a:cubicBezTo>
                  <a:pt x="432" y="2388"/>
                  <a:pt x="432" y="2388"/>
                  <a:pt x="424" y="2380"/>
                </a:cubicBezTo>
                <a:cubicBezTo>
                  <a:pt x="432" y="2380"/>
                  <a:pt x="440" y="2388"/>
                  <a:pt x="440" y="2395"/>
                </a:cubicBezTo>
                <a:cubicBezTo>
                  <a:pt x="440" y="2395"/>
                  <a:pt x="440" y="2395"/>
                  <a:pt x="440" y="2395"/>
                </a:cubicBezTo>
                <a:cubicBezTo>
                  <a:pt x="440" y="2395"/>
                  <a:pt x="440" y="2395"/>
                  <a:pt x="440" y="2395"/>
                </a:cubicBezTo>
                <a:cubicBezTo>
                  <a:pt x="448" y="2395"/>
                  <a:pt x="448" y="2395"/>
                  <a:pt x="448" y="2395"/>
                </a:cubicBezTo>
                <a:cubicBezTo>
                  <a:pt x="448" y="2395"/>
                  <a:pt x="448" y="2395"/>
                  <a:pt x="448" y="2395"/>
                </a:cubicBezTo>
                <a:cubicBezTo>
                  <a:pt x="448" y="2395"/>
                  <a:pt x="448" y="2395"/>
                  <a:pt x="448" y="2395"/>
                </a:cubicBezTo>
                <a:cubicBezTo>
                  <a:pt x="448" y="2403"/>
                  <a:pt x="448" y="2403"/>
                  <a:pt x="448" y="2403"/>
                </a:cubicBezTo>
                <a:cubicBezTo>
                  <a:pt x="448" y="2403"/>
                  <a:pt x="448" y="2403"/>
                  <a:pt x="448" y="2403"/>
                </a:cubicBezTo>
                <a:cubicBezTo>
                  <a:pt x="448" y="2403"/>
                  <a:pt x="448" y="2403"/>
                  <a:pt x="448" y="2403"/>
                </a:cubicBezTo>
                <a:cubicBezTo>
                  <a:pt x="456" y="2403"/>
                  <a:pt x="456" y="2403"/>
                  <a:pt x="456" y="2403"/>
                </a:cubicBezTo>
                <a:cubicBezTo>
                  <a:pt x="448" y="2403"/>
                  <a:pt x="448" y="2403"/>
                  <a:pt x="448" y="2403"/>
                </a:cubicBezTo>
                <a:cubicBezTo>
                  <a:pt x="456" y="2403"/>
                  <a:pt x="456" y="2403"/>
                  <a:pt x="456" y="2403"/>
                </a:cubicBezTo>
                <a:cubicBezTo>
                  <a:pt x="456" y="2403"/>
                  <a:pt x="456" y="2403"/>
                  <a:pt x="456" y="2411"/>
                </a:cubicBezTo>
                <a:cubicBezTo>
                  <a:pt x="464" y="2419"/>
                  <a:pt x="479" y="2435"/>
                  <a:pt x="495" y="2450"/>
                </a:cubicBezTo>
                <a:cubicBezTo>
                  <a:pt x="495" y="2450"/>
                  <a:pt x="495" y="2450"/>
                  <a:pt x="487" y="2450"/>
                </a:cubicBezTo>
                <a:cubicBezTo>
                  <a:pt x="487" y="2450"/>
                  <a:pt x="487" y="2450"/>
                  <a:pt x="487" y="2442"/>
                </a:cubicBezTo>
                <a:cubicBezTo>
                  <a:pt x="479" y="2442"/>
                  <a:pt x="472" y="2427"/>
                  <a:pt x="464" y="2419"/>
                </a:cubicBezTo>
                <a:cubicBezTo>
                  <a:pt x="464" y="2419"/>
                  <a:pt x="464" y="2419"/>
                  <a:pt x="456" y="2411"/>
                </a:cubicBezTo>
                <a:cubicBezTo>
                  <a:pt x="456" y="2411"/>
                  <a:pt x="456" y="2411"/>
                  <a:pt x="456" y="2411"/>
                </a:cubicBezTo>
                <a:cubicBezTo>
                  <a:pt x="456" y="2411"/>
                  <a:pt x="456" y="2411"/>
                  <a:pt x="456" y="2411"/>
                </a:cubicBezTo>
                <a:cubicBezTo>
                  <a:pt x="456" y="2411"/>
                  <a:pt x="456" y="2411"/>
                  <a:pt x="440" y="2395"/>
                </a:cubicBezTo>
                <a:cubicBezTo>
                  <a:pt x="440" y="2395"/>
                  <a:pt x="440" y="2395"/>
                  <a:pt x="448" y="2403"/>
                </a:cubicBezTo>
                <a:cubicBezTo>
                  <a:pt x="448" y="2403"/>
                  <a:pt x="440" y="2403"/>
                  <a:pt x="440" y="2403"/>
                </a:cubicBezTo>
                <a:cubicBezTo>
                  <a:pt x="440" y="2403"/>
                  <a:pt x="440" y="2403"/>
                  <a:pt x="440" y="2403"/>
                </a:cubicBezTo>
                <a:cubicBezTo>
                  <a:pt x="440" y="2403"/>
                  <a:pt x="440" y="2403"/>
                  <a:pt x="440" y="2403"/>
                </a:cubicBezTo>
                <a:cubicBezTo>
                  <a:pt x="440" y="2395"/>
                  <a:pt x="440" y="2395"/>
                  <a:pt x="432" y="2395"/>
                </a:cubicBezTo>
                <a:cubicBezTo>
                  <a:pt x="432" y="2395"/>
                  <a:pt x="432" y="2395"/>
                  <a:pt x="440" y="2395"/>
                </a:cubicBezTo>
                <a:cubicBezTo>
                  <a:pt x="432" y="2388"/>
                  <a:pt x="432" y="2388"/>
                  <a:pt x="432" y="2388"/>
                </a:cubicBezTo>
                <a:cubicBezTo>
                  <a:pt x="432" y="2388"/>
                  <a:pt x="432" y="2388"/>
                  <a:pt x="432" y="2388"/>
                </a:cubicBezTo>
                <a:cubicBezTo>
                  <a:pt x="432" y="2388"/>
                  <a:pt x="432" y="2395"/>
                  <a:pt x="440" y="2395"/>
                </a:cubicBezTo>
                <a:cubicBezTo>
                  <a:pt x="432" y="2388"/>
                  <a:pt x="432" y="2388"/>
                  <a:pt x="432" y="2388"/>
                </a:cubicBezTo>
                <a:cubicBezTo>
                  <a:pt x="432" y="2388"/>
                  <a:pt x="432" y="2380"/>
                  <a:pt x="424" y="2372"/>
                </a:cubicBezTo>
                <a:cubicBezTo>
                  <a:pt x="424" y="2372"/>
                  <a:pt x="424" y="2372"/>
                  <a:pt x="424" y="2380"/>
                </a:cubicBezTo>
                <a:cubicBezTo>
                  <a:pt x="409" y="2364"/>
                  <a:pt x="409" y="2356"/>
                  <a:pt x="401" y="2348"/>
                </a:cubicBezTo>
                <a:cubicBezTo>
                  <a:pt x="401" y="2348"/>
                  <a:pt x="401" y="2348"/>
                  <a:pt x="393" y="2341"/>
                </a:cubicBezTo>
                <a:cubicBezTo>
                  <a:pt x="393" y="2341"/>
                  <a:pt x="393" y="2341"/>
                  <a:pt x="393" y="2341"/>
                </a:cubicBezTo>
                <a:cubicBezTo>
                  <a:pt x="393" y="2341"/>
                  <a:pt x="393" y="2341"/>
                  <a:pt x="393" y="2341"/>
                </a:cubicBezTo>
                <a:cubicBezTo>
                  <a:pt x="393" y="2341"/>
                  <a:pt x="393" y="2341"/>
                  <a:pt x="393" y="2341"/>
                </a:cubicBezTo>
                <a:cubicBezTo>
                  <a:pt x="393" y="2341"/>
                  <a:pt x="393" y="2341"/>
                  <a:pt x="393" y="2341"/>
                </a:cubicBezTo>
                <a:cubicBezTo>
                  <a:pt x="385" y="2333"/>
                  <a:pt x="385" y="2333"/>
                  <a:pt x="385" y="2333"/>
                </a:cubicBezTo>
                <a:cubicBezTo>
                  <a:pt x="377" y="2325"/>
                  <a:pt x="377" y="2317"/>
                  <a:pt x="370" y="2309"/>
                </a:cubicBezTo>
                <a:cubicBezTo>
                  <a:pt x="370" y="2309"/>
                  <a:pt x="370" y="2309"/>
                  <a:pt x="370" y="2309"/>
                </a:cubicBezTo>
                <a:cubicBezTo>
                  <a:pt x="370" y="2309"/>
                  <a:pt x="370" y="2309"/>
                  <a:pt x="370" y="2309"/>
                </a:cubicBezTo>
                <a:cubicBezTo>
                  <a:pt x="362" y="2301"/>
                  <a:pt x="354" y="2294"/>
                  <a:pt x="354" y="2286"/>
                </a:cubicBezTo>
                <a:cubicBezTo>
                  <a:pt x="346" y="2286"/>
                  <a:pt x="346" y="2286"/>
                  <a:pt x="346" y="2286"/>
                </a:cubicBezTo>
                <a:cubicBezTo>
                  <a:pt x="346" y="2286"/>
                  <a:pt x="346" y="2286"/>
                  <a:pt x="346" y="2286"/>
                </a:cubicBezTo>
                <a:cubicBezTo>
                  <a:pt x="346" y="2278"/>
                  <a:pt x="338" y="2278"/>
                  <a:pt x="338" y="2270"/>
                </a:cubicBezTo>
                <a:cubicBezTo>
                  <a:pt x="338" y="2270"/>
                  <a:pt x="338" y="2270"/>
                  <a:pt x="330" y="2270"/>
                </a:cubicBezTo>
                <a:cubicBezTo>
                  <a:pt x="330" y="2270"/>
                  <a:pt x="338" y="2270"/>
                  <a:pt x="338" y="2270"/>
                </a:cubicBezTo>
                <a:cubicBezTo>
                  <a:pt x="315" y="2247"/>
                  <a:pt x="299" y="2231"/>
                  <a:pt x="283" y="2208"/>
                </a:cubicBezTo>
                <a:cubicBezTo>
                  <a:pt x="291" y="2208"/>
                  <a:pt x="291" y="2208"/>
                  <a:pt x="291" y="2208"/>
                </a:cubicBezTo>
                <a:cubicBezTo>
                  <a:pt x="283" y="2208"/>
                  <a:pt x="291" y="2208"/>
                  <a:pt x="283" y="2208"/>
                </a:cubicBezTo>
                <a:cubicBezTo>
                  <a:pt x="283" y="2208"/>
                  <a:pt x="283" y="2208"/>
                  <a:pt x="283" y="2208"/>
                </a:cubicBezTo>
                <a:cubicBezTo>
                  <a:pt x="275" y="2200"/>
                  <a:pt x="275" y="2192"/>
                  <a:pt x="267" y="2184"/>
                </a:cubicBezTo>
                <a:cubicBezTo>
                  <a:pt x="267" y="2176"/>
                  <a:pt x="267" y="2184"/>
                  <a:pt x="267" y="2176"/>
                </a:cubicBezTo>
                <a:cubicBezTo>
                  <a:pt x="260" y="2176"/>
                  <a:pt x="260" y="2176"/>
                  <a:pt x="260" y="2176"/>
                </a:cubicBezTo>
                <a:cubicBezTo>
                  <a:pt x="260" y="2176"/>
                  <a:pt x="260" y="2176"/>
                  <a:pt x="260" y="2168"/>
                </a:cubicBezTo>
                <a:cubicBezTo>
                  <a:pt x="260" y="2168"/>
                  <a:pt x="260" y="2168"/>
                  <a:pt x="252" y="2161"/>
                </a:cubicBezTo>
                <a:cubicBezTo>
                  <a:pt x="252" y="2161"/>
                  <a:pt x="252" y="2161"/>
                  <a:pt x="260" y="2176"/>
                </a:cubicBezTo>
                <a:cubicBezTo>
                  <a:pt x="244" y="2153"/>
                  <a:pt x="220" y="2121"/>
                  <a:pt x="212" y="2106"/>
                </a:cubicBezTo>
                <a:cubicBezTo>
                  <a:pt x="212" y="2106"/>
                  <a:pt x="212" y="2106"/>
                  <a:pt x="205" y="2090"/>
                </a:cubicBezTo>
                <a:cubicBezTo>
                  <a:pt x="205" y="2090"/>
                  <a:pt x="205" y="2090"/>
                  <a:pt x="205" y="2098"/>
                </a:cubicBezTo>
                <a:cubicBezTo>
                  <a:pt x="197" y="2090"/>
                  <a:pt x="205" y="2090"/>
                  <a:pt x="197" y="2090"/>
                </a:cubicBezTo>
                <a:cubicBezTo>
                  <a:pt x="197" y="2090"/>
                  <a:pt x="197" y="2090"/>
                  <a:pt x="197" y="2082"/>
                </a:cubicBezTo>
                <a:cubicBezTo>
                  <a:pt x="189" y="2075"/>
                  <a:pt x="142" y="2020"/>
                  <a:pt x="142" y="2020"/>
                </a:cubicBezTo>
                <a:cubicBezTo>
                  <a:pt x="134" y="2012"/>
                  <a:pt x="134" y="2012"/>
                  <a:pt x="134" y="2012"/>
                </a:cubicBezTo>
                <a:cubicBezTo>
                  <a:pt x="118" y="1996"/>
                  <a:pt x="118" y="1996"/>
                  <a:pt x="103" y="1988"/>
                </a:cubicBezTo>
                <a:cubicBezTo>
                  <a:pt x="103" y="1988"/>
                  <a:pt x="103" y="1988"/>
                  <a:pt x="95" y="1981"/>
                </a:cubicBezTo>
                <a:cubicBezTo>
                  <a:pt x="95" y="1981"/>
                  <a:pt x="87" y="1973"/>
                  <a:pt x="87" y="1973"/>
                </a:cubicBezTo>
                <a:cubicBezTo>
                  <a:pt x="87" y="1973"/>
                  <a:pt x="87" y="1973"/>
                  <a:pt x="87" y="1973"/>
                </a:cubicBezTo>
                <a:cubicBezTo>
                  <a:pt x="87" y="1973"/>
                  <a:pt x="87" y="1973"/>
                  <a:pt x="87" y="1973"/>
                </a:cubicBezTo>
                <a:cubicBezTo>
                  <a:pt x="87" y="1973"/>
                  <a:pt x="87" y="1973"/>
                  <a:pt x="87" y="1973"/>
                </a:cubicBezTo>
                <a:cubicBezTo>
                  <a:pt x="87" y="1973"/>
                  <a:pt x="87" y="1973"/>
                  <a:pt x="87" y="1973"/>
                </a:cubicBezTo>
                <a:cubicBezTo>
                  <a:pt x="87" y="1973"/>
                  <a:pt x="87" y="1973"/>
                  <a:pt x="87" y="1973"/>
                </a:cubicBezTo>
                <a:cubicBezTo>
                  <a:pt x="79" y="1973"/>
                  <a:pt x="79" y="1973"/>
                  <a:pt x="79" y="1973"/>
                </a:cubicBezTo>
                <a:cubicBezTo>
                  <a:pt x="79" y="1973"/>
                  <a:pt x="87" y="1973"/>
                  <a:pt x="71" y="1957"/>
                </a:cubicBezTo>
                <a:cubicBezTo>
                  <a:pt x="71" y="1957"/>
                  <a:pt x="71" y="1957"/>
                  <a:pt x="71" y="1965"/>
                </a:cubicBezTo>
                <a:cubicBezTo>
                  <a:pt x="71" y="1965"/>
                  <a:pt x="71" y="1965"/>
                  <a:pt x="55" y="1957"/>
                </a:cubicBezTo>
                <a:cubicBezTo>
                  <a:pt x="55" y="1957"/>
                  <a:pt x="55" y="1957"/>
                  <a:pt x="63" y="1957"/>
                </a:cubicBezTo>
                <a:cubicBezTo>
                  <a:pt x="63" y="1957"/>
                  <a:pt x="63" y="1957"/>
                  <a:pt x="55" y="1957"/>
                </a:cubicBezTo>
                <a:cubicBezTo>
                  <a:pt x="55" y="1957"/>
                  <a:pt x="55" y="1957"/>
                  <a:pt x="48" y="1957"/>
                </a:cubicBezTo>
                <a:cubicBezTo>
                  <a:pt x="40" y="1957"/>
                  <a:pt x="40" y="1957"/>
                  <a:pt x="40" y="1957"/>
                </a:cubicBezTo>
                <a:cubicBezTo>
                  <a:pt x="40" y="1957"/>
                  <a:pt x="40" y="1957"/>
                  <a:pt x="55" y="1965"/>
                </a:cubicBezTo>
                <a:cubicBezTo>
                  <a:pt x="55" y="1965"/>
                  <a:pt x="55" y="1973"/>
                  <a:pt x="55" y="1965"/>
                </a:cubicBezTo>
                <a:cubicBezTo>
                  <a:pt x="55" y="1973"/>
                  <a:pt x="55" y="1973"/>
                  <a:pt x="55" y="1973"/>
                </a:cubicBezTo>
                <a:cubicBezTo>
                  <a:pt x="55" y="1973"/>
                  <a:pt x="55" y="1973"/>
                  <a:pt x="55" y="1973"/>
                </a:cubicBezTo>
                <a:cubicBezTo>
                  <a:pt x="55" y="1973"/>
                  <a:pt x="55" y="1973"/>
                  <a:pt x="48" y="1973"/>
                </a:cubicBezTo>
                <a:cubicBezTo>
                  <a:pt x="55" y="1973"/>
                  <a:pt x="55" y="1973"/>
                  <a:pt x="55" y="1973"/>
                </a:cubicBezTo>
                <a:cubicBezTo>
                  <a:pt x="71" y="1981"/>
                  <a:pt x="71" y="1981"/>
                  <a:pt x="71" y="1988"/>
                </a:cubicBezTo>
                <a:cubicBezTo>
                  <a:pt x="71" y="1988"/>
                  <a:pt x="71" y="1988"/>
                  <a:pt x="71" y="1988"/>
                </a:cubicBezTo>
                <a:cubicBezTo>
                  <a:pt x="71" y="1981"/>
                  <a:pt x="71" y="1981"/>
                  <a:pt x="63" y="1973"/>
                </a:cubicBezTo>
                <a:cubicBezTo>
                  <a:pt x="71" y="1981"/>
                  <a:pt x="71" y="1981"/>
                  <a:pt x="71" y="1981"/>
                </a:cubicBezTo>
                <a:cubicBezTo>
                  <a:pt x="71" y="1981"/>
                  <a:pt x="71" y="1981"/>
                  <a:pt x="71" y="1981"/>
                </a:cubicBezTo>
                <a:cubicBezTo>
                  <a:pt x="71" y="1981"/>
                  <a:pt x="71" y="1981"/>
                  <a:pt x="71" y="1981"/>
                </a:cubicBezTo>
                <a:cubicBezTo>
                  <a:pt x="79" y="1981"/>
                  <a:pt x="79" y="1981"/>
                  <a:pt x="87" y="1988"/>
                </a:cubicBezTo>
                <a:cubicBezTo>
                  <a:pt x="87" y="1988"/>
                  <a:pt x="87" y="1988"/>
                  <a:pt x="87" y="1988"/>
                </a:cubicBezTo>
                <a:cubicBezTo>
                  <a:pt x="87" y="1988"/>
                  <a:pt x="87" y="1988"/>
                  <a:pt x="103" y="1996"/>
                </a:cubicBezTo>
                <a:cubicBezTo>
                  <a:pt x="103" y="2004"/>
                  <a:pt x="103" y="1996"/>
                  <a:pt x="103" y="2004"/>
                </a:cubicBezTo>
                <a:cubicBezTo>
                  <a:pt x="95" y="2004"/>
                  <a:pt x="95" y="2004"/>
                  <a:pt x="95" y="1996"/>
                </a:cubicBezTo>
                <a:cubicBezTo>
                  <a:pt x="87" y="1996"/>
                  <a:pt x="87" y="1988"/>
                  <a:pt x="71" y="1988"/>
                </a:cubicBezTo>
                <a:cubicBezTo>
                  <a:pt x="79" y="1988"/>
                  <a:pt x="87" y="1996"/>
                  <a:pt x="79" y="1996"/>
                </a:cubicBezTo>
                <a:cubicBezTo>
                  <a:pt x="79" y="1996"/>
                  <a:pt x="79" y="1996"/>
                  <a:pt x="71" y="1996"/>
                </a:cubicBezTo>
                <a:cubicBezTo>
                  <a:pt x="87" y="2004"/>
                  <a:pt x="103" y="2020"/>
                  <a:pt x="118" y="2035"/>
                </a:cubicBezTo>
                <a:cubicBezTo>
                  <a:pt x="126" y="2043"/>
                  <a:pt x="126" y="2043"/>
                  <a:pt x="134" y="2043"/>
                </a:cubicBezTo>
                <a:cubicBezTo>
                  <a:pt x="134" y="2043"/>
                  <a:pt x="134" y="2051"/>
                  <a:pt x="134" y="2051"/>
                </a:cubicBezTo>
                <a:cubicBezTo>
                  <a:pt x="134" y="2051"/>
                  <a:pt x="134" y="2051"/>
                  <a:pt x="134" y="2043"/>
                </a:cubicBezTo>
                <a:cubicBezTo>
                  <a:pt x="134" y="2043"/>
                  <a:pt x="134" y="2043"/>
                  <a:pt x="142" y="2051"/>
                </a:cubicBezTo>
                <a:cubicBezTo>
                  <a:pt x="142" y="2051"/>
                  <a:pt x="134" y="2051"/>
                  <a:pt x="134" y="2051"/>
                </a:cubicBezTo>
                <a:cubicBezTo>
                  <a:pt x="142" y="2051"/>
                  <a:pt x="142" y="2051"/>
                  <a:pt x="142" y="2051"/>
                </a:cubicBezTo>
                <a:cubicBezTo>
                  <a:pt x="142" y="2051"/>
                  <a:pt x="142" y="2051"/>
                  <a:pt x="142" y="2059"/>
                </a:cubicBezTo>
                <a:cubicBezTo>
                  <a:pt x="134" y="2051"/>
                  <a:pt x="142" y="2059"/>
                  <a:pt x="134" y="2051"/>
                </a:cubicBezTo>
                <a:cubicBezTo>
                  <a:pt x="134" y="2051"/>
                  <a:pt x="142" y="2059"/>
                  <a:pt x="150" y="2067"/>
                </a:cubicBezTo>
                <a:cubicBezTo>
                  <a:pt x="150" y="2075"/>
                  <a:pt x="150" y="2075"/>
                  <a:pt x="150" y="2075"/>
                </a:cubicBezTo>
                <a:cubicBezTo>
                  <a:pt x="134" y="2059"/>
                  <a:pt x="95" y="2012"/>
                  <a:pt x="87" y="2012"/>
                </a:cubicBezTo>
                <a:cubicBezTo>
                  <a:pt x="87" y="2004"/>
                  <a:pt x="87" y="2012"/>
                  <a:pt x="87" y="2004"/>
                </a:cubicBezTo>
                <a:cubicBezTo>
                  <a:pt x="79" y="1996"/>
                  <a:pt x="71" y="1996"/>
                  <a:pt x="71" y="1996"/>
                </a:cubicBezTo>
                <a:cubicBezTo>
                  <a:pt x="63" y="1988"/>
                  <a:pt x="55" y="1988"/>
                  <a:pt x="55" y="1988"/>
                </a:cubicBezTo>
                <a:cubicBezTo>
                  <a:pt x="55" y="1988"/>
                  <a:pt x="55" y="1988"/>
                  <a:pt x="48" y="1981"/>
                </a:cubicBezTo>
                <a:cubicBezTo>
                  <a:pt x="48" y="1981"/>
                  <a:pt x="48" y="1981"/>
                  <a:pt x="55" y="1988"/>
                </a:cubicBezTo>
                <a:cubicBezTo>
                  <a:pt x="55" y="1988"/>
                  <a:pt x="55" y="1981"/>
                  <a:pt x="48" y="1981"/>
                </a:cubicBezTo>
                <a:cubicBezTo>
                  <a:pt x="48" y="1981"/>
                  <a:pt x="48" y="1981"/>
                  <a:pt x="48" y="1981"/>
                </a:cubicBezTo>
                <a:cubicBezTo>
                  <a:pt x="48" y="1981"/>
                  <a:pt x="48" y="1981"/>
                  <a:pt x="48" y="1981"/>
                </a:cubicBezTo>
                <a:cubicBezTo>
                  <a:pt x="48" y="1981"/>
                  <a:pt x="48" y="1981"/>
                  <a:pt x="48" y="1981"/>
                </a:cubicBezTo>
                <a:cubicBezTo>
                  <a:pt x="40" y="1981"/>
                  <a:pt x="40" y="1981"/>
                  <a:pt x="40" y="1973"/>
                </a:cubicBezTo>
                <a:cubicBezTo>
                  <a:pt x="40" y="1973"/>
                  <a:pt x="40" y="1973"/>
                  <a:pt x="32" y="1973"/>
                </a:cubicBezTo>
                <a:cubicBezTo>
                  <a:pt x="32" y="1973"/>
                  <a:pt x="40" y="1981"/>
                  <a:pt x="40" y="1981"/>
                </a:cubicBezTo>
                <a:cubicBezTo>
                  <a:pt x="40" y="1981"/>
                  <a:pt x="40" y="1981"/>
                  <a:pt x="40" y="1981"/>
                </a:cubicBezTo>
                <a:cubicBezTo>
                  <a:pt x="40" y="1981"/>
                  <a:pt x="40" y="1981"/>
                  <a:pt x="40" y="1981"/>
                </a:cubicBezTo>
                <a:cubicBezTo>
                  <a:pt x="48" y="1981"/>
                  <a:pt x="48" y="1988"/>
                  <a:pt x="48" y="1988"/>
                </a:cubicBezTo>
                <a:cubicBezTo>
                  <a:pt x="48" y="1988"/>
                  <a:pt x="48" y="1988"/>
                  <a:pt x="55" y="1988"/>
                </a:cubicBezTo>
                <a:cubicBezTo>
                  <a:pt x="55" y="1988"/>
                  <a:pt x="55" y="1988"/>
                  <a:pt x="55" y="1988"/>
                </a:cubicBezTo>
                <a:cubicBezTo>
                  <a:pt x="55" y="1988"/>
                  <a:pt x="55" y="1996"/>
                  <a:pt x="63" y="1996"/>
                </a:cubicBezTo>
                <a:cubicBezTo>
                  <a:pt x="63" y="1996"/>
                  <a:pt x="63" y="1996"/>
                  <a:pt x="63" y="1996"/>
                </a:cubicBezTo>
                <a:cubicBezTo>
                  <a:pt x="63" y="1996"/>
                  <a:pt x="71" y="2004"/>
                  <a:pt x="71" y="2004"/>
                </a:cubicBezTo>
                <a:cubicBezTo>
                  <a:pt x="79" y="2012"/>
                  <a:pt x="71" y="2004"/>
                  <a:pt x="71" y="1996"/>
                </a:cubicBezTo>
                <a:cubicBezTo>
                  <a:pt x="71" y="2004"/>
                  <a:pt x="71" y="1996"/>
                  <a:pt x="79" y="2004"/>
                </a:cubicBezTo>
                <a:cubicBezTo>
                  <a:pt x="79" y="2004"/>
                  <a:pt x="79" y="2004"/>
                  <a:pt x="79" y="2012"/>
                </a:cubicBezTo>
                <a:cubicBezTo>
                  <a:pt x="79" y="2012"/>
                  <a:pt x="79" y="2012"/>
                  <a:pt x="79" y="2012"/>
                </a:cubicBezTo>
                <a:cubicBezTo>
                  <a:pt x="79" y="2012"/>
                  <a:pt x="79" y="2012"/>
                  <a:pt x="71" y="2004"/>
                </a:cubicBezTo>
                <a:cubicBezTo>
                  <a:pt x="71" y="2004"/>
                  <a:pt x="71" y="2004"/>
                  <a:pt x="63" y="2004"/>
                </a:cubicBezTo>
                <a:cubicBezTo>
                  <a:pt x="63" y="2004"/>
                  <a:pt x="63" y="2004"/>
                  <a:pt x="71" y="2012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63" y="2012"/>
                  <a:pt x="63" y="2004"/>
                  <a:pt x="63" y="2004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71" y="2012"/>
                  <a:pt x="79" y="2012"/>
                  <a:pt x="79" y="2012"/>
                </a:cubicBezTo>
                <a:cubicBezTo>
                  <a:pt x="79" y="2012"/>
                  <a:pt x="79" y="2012"/>
                  <a:pt x="79" y="2012"/>
                </a:cubicBezTo>
                <a:cubicBezTo>
                  <a:pt x="79" y="2012"/>
                  <a:pt x="79" y="2012"/>
                  <a:pt x="87" y="2020"/>
                </a:cubicBezTo>
                <a:cubicBezTo>
                  <a:pt x="87" y="2020"/>
                  <a:pt x="87" y="2020"/>
                  <a:pt x="87" y="2020"/>
                </a:cubicBezTo>
                <a:cubicBezTo>
                  <a:pt x="87" y="2020"/>
                  <a:pt x="87" y="2020"/>
                  <a:pt x="87" y="2020"/>
                </a:cubicBezTo>
                <a:cubicBezTo>
                  <a:pt x="87" y="2020"/>
                  <a:pt x="87" y="2020"/>
                  <a:pt x="87" y="2020"/>
                </a:cubicBezTo>
                <a:cubicBezTo>
                  <a:pt x="87" y="2020"/>
                  <a:pt x="87" y="2020"/>
                  <a:pt x="87" y="2020"/>
                </a:cubicBezTo>
                <a:cubicBezTo>
                  <a:pt x="87" y="2020"/>
                  <a:pt x="87" y="2020"/>
                  <a:pt x="87" y="2028"/>
                </a:cubicBezTo>
                <a:cubicBezTo>
                  <a:pt x="87" y="2028"/>
                  <a:pt x="87" y="2028"/>
                  <a:pt x="95" y="2028"/>
                </a:cubicBezTo>
                <a:cubicBezTo>
                  <a:pt x="95" y="2028"/>
                  <a:pt x="95" y="2028"/>
                  <a:pt x="110" y="2043"/>
                </a:cubicBezTo>
                <a:cubicBezTo>
                  <a:pt x="118" y="2051"/>
                  <a:pt x="126" y="2059"/>
                  <a:pt x="126" y="2059"/>
                </a:cubicBezTo>
                <a:cubicBezTo>
                  <a:pt x="126" y="2059"/>
                  <a:pt x="126" y="2059"/>
                  <a:pt x="134" y="2067"/>
                </a:cubicBezTo>
                <a:cubicBezTo>
                  <a:pt x="126" y="2067"/>
                  <a:pt x="142" y="2090"/>
                  <a:pt x="150" y="2098"/>
                </a:cubicBezTo>
                <a:cubicBezTo>
                  <a:pt x="142" y="2090"/>
                  <a:pt x="134" y="2082"/>
                  <a:pt x="126" y="2075"/>
                </a:cubicBezTo>
                <a:cubicBezTo>
                  <a:pt x="126" y="2075"/>
                  <a:pt x="126" y="2075"/>
                  <a:pt x="134" y="2075"/>
                </a:cubicBezTo>
                <a:cubicBezTo>
                  <a:pt x="134" y="2075"/>
                  <a:pt x="134" y="2075"/>
                  <a:pt x="126" y="2067"/>
                </a:cubicBezTo>
                <a:cubicBezTo>
                  <a:pt x="126" y="2067"/>
                  <a:pt x="118" y="2067"/>
                  <a:pt x="118" y="2059"/>
                </a:cubicBezTo>
                <a:cubicBezTo>
                  <a:pt x="110" y="2059"/>
                  <a:pt x="103" y="2043"/>
                  <a:pt x="95" y="2035"/>
                </a:cubicBezTo>
                <a:cubicBezTo>
                  <a:pt x="87" y="2035"/>
                  <a:pt x="87" y="2035"/>
                  <a:pt x="87" y="2028"/>
                </a:cubicBezTo>
                <a:cubicBezTo>
                  <a:pt x="79" y="2028"/>
                  <a:pt x="79" y="2028"/>
                  <a:pt x="79" y="2028"/>
                </a:cubicBezTo>
                <a:cubicBezTo>
                  <a:pt x="79" y="2035"/>
                  <a:pt x="87" y="2035"/>
                  <a:pt x="87" y="2043"/>
                </a:cubicBezTo>
                <a:cubicBezTo>
                  <a:pt x="87" y="2043"/>
                  <a:pt x="87" y="2035"/>
                  <a:pt x="79" y="2035"/>
                </a:cubicBezTo>
                <a:cubicBezTo>
                  <a:pt x="79" y="2035"/>
                  <a:pt x="87" y="2043"/>
                  <a:pt x="87" y="2043"/>
                </a:cubicBezTo>
                <a:cubicBezTo>
                  <a:pt x="87" y="2043"/>
                  <a:pt x="87" y="2043"/>
                  <a:pt x="95" y="2043"/>
                </a:cubicBezTo>
                <a:cubicBezTo>
                  <a:pt x="95" y="2051"/>
                  <a:pt x="95" y="2051"/>
                  <a:pt x="103" y="2059"/>
                </a:cubicBezTo>
                <a:cubicBezTo>
                  <a:pt x="103" y="2059"/>
                  <a:pt x="103" y="2059"/>
                  <a:pt x="103" y="2059"/>
                </a:cubicBezTo>
                <a:cubicBezTo>
                  <a:pt x="103" y="2059"/>
                  <a:pt x="103" y="2059"/>
                  <a:pt x="103" y="2059"/>
                </a:cubicBezTo>
                <a:cubicBezTo>
                  <a:pt x="103" y="2059"/>
                  <a:pt x="103" y="2059"/>
                  <a:pt x="103" y="2059"/>
                </a:cubicBezTo>
                <a:cubicBezTo>
                  <a:pt x="134" y="2098"/>
                  <a:pt x="173" y="2137"/>
                  <a:pt x="189" y="2161"/>
                </a:cubicBezTo>
                <a:cubicBezTo>
                  <a:pt x="181" y="2153"/>
                  <a:pt x="189" y="2161"/>
                  <a:pt x="173" y="2145"/>
                </a:cubicBezTo>
                <a:cubicBezTo>
                  <a:pt x="173" y="2145"/>
                  <a:pt x="173" y="2145"/>
                  <a:pt x="181" y="2153"/>
                </a:cubicBezTo>
                <a:cubicBezTo>
                  <a:pt x="173" y="2153"/>
                  <a:pt x="173" y="2145"/>
                  <a:pt x="165" y="2137"/>
                </a:cubicBezTo>
                <a:cubicBezTo>
                  <a:pt x="165" y="2137"/>
                  <a:pt x="158" y="2129"/>
                  <a:pt x="150" y="2121"/>
                </a:cubicBezTo>
                <a:cubicBezTo>
                  <a:pt x="158" y="2121"/>
                  <a:pt x="158" y="2121"/>
                  <a:pt x="158" y="2121"/>
                </a:cubicBezTo>
                <a:cubicBezTo>
                  <a:pt x="158" y="2121"/>
                  <a:pt x="158" y="2121"/>
                  <a:pt x="150" y="2121"/>
                </a:cubicBezTo>
                <a:cubicBezTo>
                  <a:pt x="150" y="2121"/>
                  <a:pt x="150" y="2121"/>
                  <a:pt x="150" y="2121"/>
                </a:cubicBezTo>
                <a:cubicBezTo>
                  <a:pt x="150" y="2121"/>
                  <a:pt x="150" y="2121"/>
                  <a:pt x="150" y="2121"/>
                </a:cubicBezTo>
                <a:cubicBezTo>
                  <a:pt x="150" y="2121"/>
                  <a:pt x="150" y="2121"/>
                  <a:pt x="150" y="2121"/>
                </a:cubicBezTo>
                <a:cubicBezTo>
                  <a:pt x="150" y="2114"/>
                  <a:pt x="150" y="2114"/>
                  <a:pt x="150" y="2114"/>
                </a:cubicBezTo>
                <a:cubicBezTo>
                  <a:pt x="142" y="2106"/>
                  <a:pt x="134" y="2098"/>
                  <a:pt x="126" y="2098"/>
                </a:cubicBezTo>
                <a:cubicBezTo>
                  <a:pt x="126" y="2090"/>
                  <a:pt x="126" y="2090"/>
                  <a:pt x="126" y="2090"/>
                </a:cubicBezTo>
                <a:cubicBezTo>
                  <a:pt x="126" y="2090"/>
                  <a:pt x="126" y="2090"/>
                  <a:pt x="126" y="2090"/>
                </a:cubicBezTo>
                <a:cubicBezTo>
                  <a:pt x="126" y="2090"/>
                  <a:pt x="126" y="2090"/>
                  <a:pt x="126" y="2090"/>
                </a:cubicBezTo>
                <a:cubicBezTo>
                  <a:pt x="118" y="2075"/>
                  <a:pt x="118" y="2075"/>
                  <a:pt x="118" y="2075"/>
                </a:cubicBezTo>
                <a:cubicBezTo>
                  <a:pt x="118" y="2075"/>
                  <a:pt x="118" y="2075"/>
                  <a:pt x="110" y="2075"/>
                </a:cubicBezTo>
                <a:cubicBezTo>
                  <a:pt x="110" y="2075"/>
                  <a:pt x="110" y="2075"/>
                  <a:pt x="103" y="2067"/>
                </a:cubicBezTo>
                <a:cubicBezTo>
                  <a:pt x="103" y="2059"/>
                  <a:pt x="87" y="2043"/>
                  <a:pt x="79" y="2043"/>
                </a:cubicBezTo>
                <a:cubicBezTo>
                  <a:pt x="79" y="2035"/>
                  <a:pt x="79" y="2035"/>
                  <a:pt x="71" y="2035"/>
                </a:cubicBezTo>
                <a:cubicBezTo>
                  <a:pt x="71" y="2035"/>
                  <a:pt x="71" y="2035"/>
                  <a:pt x="71" y="2035"/>
                </a:cubicBezTo>
                <a:cubicBezTo>
                  <a:pt x="71" y="2035"/>
                  <a:pt x="71" y="2035"/>
                  <a:pt x="71" y="2035"/>
                </a:cubicBezTo>
                <a:cubicBezTo>
                  <a:pt x="71" y="2035"/>
                  <a:pt x="71" y="2035"/>
                  <a:pt x="71" y="2028"/>
                </a:cubicBezTo>
                <a:cubicBezTo>
                  <a:pt x="71" y="2028"/>
                  <a:pt x="71" y="2028"/>
                  <a:pt x="71" y="2028"/>
                </a:cubicBezTo>
                <a:cubicBezTo>
                  <a:pt x="63" y="2028"/>
                  <a:pt x="63" y="2028"/>
                  <a:pt x="63" y="2028"/>
                </a:cubicBezTo>
                <a:cubicBezTo>
                  <a:pt x="63" y="2035"/>
                  <a:pt x="63" y="2035"/>
                  <a:pt x="71" y="2035"/>
                </a:cubicBezTo>
                <a:cubicBezTo>
                  <a:pt x="63" y="2035"/>
                  <a:pt x="55" y="2028"/>
                  <a:pt x="55" y="2028"/>
                </a:cubicBezTo>
                <a:cubicBezTo>
                  <a:pt x="55" y="2028"/>
                  <a:pt x="55" y="2028"/>
                  <a:pt x="55" y="2028"/>
                </a:cubicBezTo>
                <a:cubicBezTo>
                  <a:pt x="55" y="2028"/>
                  <a:pt x="55" y="2028"/>
                  <a:pt x="55" y="2028"/>
                </a:cubicBezTo>
                <a:cubicBezTo>
                  <a:pt x="48" y="2020"/>
                  <a:pt x="48" y="2020"/>
                  <a:pt x="40" y="2012"/>
                </a:cubicBezTo>
                <a:cubicBezTo>
                  <a:pt x="40" y="2020"/>
                  <a:pt x="48" y="2020"/>
                  <a:pt x="55" y="2028"/>
                </a:cubicBezTo>
                <a:cubicBezTo>
                  <a:pt x="55" y="2028"/>
                  <a:pt x="55" y="2028"/>
                  <a:pt x="55" y="2028"/>
                </a:cubicBezTo>
                <a:cubicBezTo>
                  <a:pt x="55" y="2028"/>
                  <a:pt x="55" y="2028"/>
                  <a:pt x="55" y="2028"/>
                </a:cubicBezTo>
                <a:cubicBezTo>
                  <a:pt x="55" y="2035"/>
                  <a:pt x="63" y="2035"/>
                  <a:pt x="63" y="2035"/>
                </a:cubicBezTo>
                <a:cubicBezTo>
                  <a:pt x="63" y="2043"/>
                  <a:pt x="63" y="2043"/>
                  <a:pt x="63" y="2043"/>
                </a:cubicBezTo>
                <a:cubicBezTo>
                  <a:pt x="63" y="2035"/>
                  <a:pt x="55" y="2035"/>
                  <a:pt x="55" y="2028"/>
                </a:cubicBezTo>
                <a:cubicBezTo>
                  <a:pt x="55" y="2035"/>
                  <a:pt x="55" y="2043"/>
                  <a:pt x="55" y="2035"/>
                </a:cubicBezTo>
                <a:cubicBezTo>
                  <a:pt x="55" y="2035"/>
                  <a:pt x="55" y="2035"/>
                  <a:pt x="55" y="2043"/>
                </a:cubicBezTo>
                <a:cubicBezTo>
                  <a:pt x="71" y="2043"/>
                  <a:pt x="71" y="2051"/>
                  <a:pt x="71" y="2051"/>
                </a:cubicBezTo>
                <a:cubicBezTo>
                  <a:pt x="71" y="2051"/>
                  <a:pt x="71" y="2051"/>
                  <a:pt x="71" y="2051"/>
                </a:cubicBezTo>
                <a:cubicBezTo>
                  <a:pt x="79" y="2059"/>
                  <a:pt x="103" y="2075"/>
                  <a:pt x="103" y="2075"/>
                </a:cubicBezTo>
                <a:cubicBezTo>
                  <a:pt x="118" y="2090"/>
                  <a:pt x="118" y="2090"/>
                  <a:pt x="118" y="2090"/>
                </a:cubicBezTo>
                <a:cubicBezTo>
                  <a:pt x="118" y="2090"/>
                  <a:pt x="118" y="2090"/>
                  <a:pt x="118" y="2090"/>
                </a:cubicBezTo>
                <a:cubicBezTo>
                  <a:pt x="126" y="2106"/>
                  <a:pt x="118" y="2106"/>
                  <a:pt x="142" y="2137"/>
                </a:cubicBezTo>
                <a:cubicBezTo>
                  <a:pt x="142" y="2129"/>
                  <a:pt x="134" y="2129"/>
                  <a:pt x="126" y="2121"/>
                </a:cubicBezTo>
                <a:cubicBezTo>
                  <a:pt x="126" y="2121"/>
                  <a:pt x="126" y="2121"/>
                  <a:pt x="126" y="2121"/>
                </a:cubicBezTo>
                <a:cubicBezTo>
                  <a:pt x="126" y="2129"/>
                  <a:pt x="126" y="2121"/>
                  <a:pt x="126" y="2129"/>
                </a:cubicBezTo>
                <a:cubicBezTo>
                  <a:pt x="134" y="2129"/>
                  <a:pt x="134" y="2129"/>
                  <a:pt x="134" y="2129"/>
                </a:cubicBezTo>
                <a:cubicBezTo>
                  <a:pt x="134" y="2137"/>
                  <a:pt x="134" y="2137"/>
                  <a:pt x="142" y="2137"/>
                </a:cubicBezTo>
                <a:cubicBezTo>
                  <a:pt x="142" y="2137"/>
                  <a:pt x="142" y="2137"/>
                  <a:pt x="142" y="2145"/>
                </a:cubicBezTo>
                <a:cubicBezTo>
                  <a:pt x="150" y="2145"/>
                  <a:pt x="150" y="2145"/>
                  <a:pt x="158" y="2153"/>
                </a:cubicBezTo>
                <a:cubicBezTo>
                  <a:pt x="158" y="2153"/>
                  <a:pt x="158" y="2153"/>
                  <a:pt x="158" y="2161"/>
                </a:cubicBezTo>
                <a:cubicBezTo>
                  <a:pt x="158" y="2161"/>
                  <a:pt x="158" y="2168"/>
                  <a:pt x="158" y="2168"/>
                </a:cubicBezTo>
                <a:cubicBezTo>
                  <a:pt x="158" y="2168"/>
                  <a:pt x="158" y="2168"/>
                  <a:pt x="158" y="2168"/>
                </a:cubicBezTo>
                <a:cubicBezTo>
                  <a:pt x="158" y="2168"/>
                  <a:pt x="158" y="2168"/>
                  <a:pt x="158" y="2168"/>
                </a:cubicBezTo>
                <a:cubicBezTo>
                  <a:pt x="165" y="2184"/>
                  <a:pt x="181" y="2200"/>
                  <a:pt x="189" y="2208"/>
                </a:cubicBezTo>
                <a:cubicBezTo>
                  <a:pt x="189" y="2208"/>
                  <a:pt x="189" y="2208"/>
                  <a:pt x="189" y="2208"/>
                </a:cubicBezTo>
                <a:cubicBezTo>
                  <a:pt x="189" y="2208"/>
                  <a:pt x="189" y="2208"/>
                  <a:pt x="197" y="2215"/>
                </a:cubicBezTo>
                <a:cubicBezTo>
                  <a:pt x="197" y="2223"/>
                  <a:pt x="197" y="2223"/>
                  <a:pt x="205" y="2223"/>
                </a:cubicBezTo>
                <a:cubicBezTo>
                  <a:pt x="205" y="2223"/>
                  <a:pt x="205" y="2223"/>
                  <a:pt x="205" y="2223"/>
                </a:cubicBezTo>
                <a:cubicBezTo>
                  <a:pt x="197" y="2223"/>
                  <a:pt x="197" y="2223"/>
                  <a:pt x="197" y="2215"/>
                </a:cubicBezTo>
                <a:cubicBezTo>
                  <a:pt x="197" y="2223"/>
                  <a:pt x="197" y="2223"/>
                  <a:pt x="197" y="2223"/>
                </a:cubicBezTo>
                <a:cubicBezTo>
                  <a:pt x="197" y="2223"/>
                  <a:pt x="197" y="2215"/>
                  <a:pt x="197" y="2215"/>
                </a:cubicBezTo>
                <a:cubicBezTo>
                  <a:pt x="197" y="2215"/>
                  <a:pt x="197" y="2215"/>
                  <a:pt x="197" y="2215"/>
                </a:cubicBezTo>
                <a:cubicBezTo>
                  <a:pt x="197" y="2215"/>
                  <a:pt x="197" y="2215"/>
                  <a:pt x="197" y="2215"/>
                </a:cubicBezTo>
                <a:cubicBezTo>
                  <a:pt x="197" y="2215"/>
                  <a:pt x="197" y="2215"/>
                  <a:pt x="197" y="2215"/>
                </a:cubicBezTo>
                <a:cubicBezTo>
                  <a:pt x="197" y="2215"/>
                  <a:pt x="197" y="2215"/>
                  <a:pt x="197" y="2215"/>
                </a:cubicBezTo>
                <a:cubicBezTo>
                  <a:pt x="197" y="2215"/>
                  <a:pt x="197" y="2215"/>
                  <a:pt x="205" y="2231"/>
                </a:cubicBezTo>
                <a:cubicBezTo>
                  <a:pt x="205" y="2223"/>
                  <a:pt x="205" y="2223"/>
                  <a:pt x="205" y="2223"/>
                </a:cubicBezTo>
                <a:cubicBezTo>
                  <a:pt x="205" y="2223"/>
                  <a:pt x="205" y="2223"/>
                  <a:pt x="197" y="2208"/>
                </a:cubicBezTo>
                <a:cubicBezTo>
                  <a:pt x="205" y="2215"/>
                  <a:pt x="212" y="2215"/>
                  <a:pt x="212" y="2231"/>
                </a:cubicBezTo>
                <a:cubicBezTo>
                  <a:pt x="212" y="2231"/>
                  <a:pt x="212" y="2231"/>
                  <a:pt x="212" y="2223"/>
                </a:cubicBezTo>
                <a:cubicBezTo>
                  <a:pt x="212" y="2223"/>
                  <a:pt x="212" y="2223"/>
                  <a:pt x="212" y="2239"/>
                </a:cubicBezTo>
                <a:cubicBezTo>
                  <a:pt x="212" y="2231"/>
                  <a:pt x="205" y="2223"/>
                  <a:pt x="212" y="2239"/>
                </a:cubicBezTo>
                <a:cubicBezTo>
                  <a:pt x="212" y="2239"/>
                  <a:pt x="212" y="2239"/>
                  <a:pt x="212" y="2239"/>
                </a:cubicBezTo>
                <a:cubicBezTo>
                  <a:pt x="205" y="2231"/>
                  <a:pt x="205" y="2231"/>
                  <a:pt x="205" y="2231"/>
                </a:cubicBezTo>
                <a:cubicBezTo>
                  <a:pt x="205" y="2231"/>
                  <a:pt x="205" y="2231"/>
                  <a:pt x="205" y="2231"/>
                </a:cubicBezTo>
                <a:cubicBezTo>
                  <a:pt x="205" y="2231"/>
                  <a:pt x="205" y="2231"/>
                  <a:pt x="205" y="2223"/>
                </a:cubicBezTo>
                <a:cubicBezTo>
                  <a:pt x="205" y="2223"/>
                  <a:pt x="205" y="2223"/>
                  <a:pt x="205" y="2223"/>
                </a:cubicBezTo>
                <a:cubicBezTo>
                  <a:pt x="205" y="2223"/>
                  <a:pt x="205" y="2223"/>
                  <a:pt x="205" y="2223"/>
                </a:cubicBezTo>
                <a:cubicBezTo>
                  <a:pt x="205" y="2223"/>
                  <a:pt x="205" y="2223"/>
                  <a:pt x="205" y="2231"/>
                </a:cubicBezTo>
                <a:cubicBezTo>
                  <a:pt x="205" y="2231"/>
                  <a:pt x="205" y="2231"/>
                  <a:pt x="205" y="2231"/>
                </a:cubicBezTo>
                <a:cubicBezTo>
                  <a:pt x="205" y="2239"/>
                  <a:pt x="205" y="2239"/>
                  <a:pt x="205" y="2239"/>
                </a:cubicBezTo>
                <a:cubicBezTo>
                  <a:pt x="212" y="2239"/>
                  <a:pt x="212" y="2239"/>
                  <a:pt x="212" y="2247"/>
                </a:cubicBezTo>
                <a:cubicBezTo>
                  <a:pt x="220" y="2255"/>
                  <a:pt x="212" y="2255"/>
                  <a:pt x="220" y="2255"/>
                </a:cubicBezTo>
                <a:cubicBezTo>
                  <a:pt x="220" y="2255"/>
                  <a:pt x="220" y="2255"/>
                  <a:pt x="228" y="2255"/>
                </a:cubicBezTo>
                <a:cubicBezTo>
                  <a:pt x="228" y="2255"/>
                  <a:pt x="228" y="2255"/>
                  <a:pt x="220" y="2255"/>
                </a:cubicBezTo>
                <a:cubicBezTo>
                  <a:pt x="220" y="2255"/>
                  <a:pt x="220" y="2255"/>
                  <a:pt x="228" y="2262"/>
                </a:cubicBezTo>
                <a:cubicBezTo>
                  <a:pt x="228" y="2262"/>
                  <a:pt x="228" y="2262"/>
                  <a:pt x="236" y="2270"/>
                </a:cubicBezTo>
                <a:cubicBezTo>
                  <a:pt x="236" y="2278"/>
                  <a:pt x="236" y="2270"/>
                  <a:pt x="236" y="2278"/>
                </a:cubicBezTo>
                <a:cubicBezTo>
                  <a:pt x="236" y="2278"/>
                  <a:pt x="236" y="2278"/>
                  <a:pt x="244" y="2286"/>
                </a:cubicBezTo>
                <a:cubicBezTo>
                  <a:pt x="244" y="2286"/>
                  <a:pt x="244" y="2286"/>
                  <a:pt x="252" y="2294"/>
                </a:cubicBezTo>
                <a:cubicBezTo>
                  <a:pt x="252" y="2294"/>
                  <a:pt x="252" y="2294"/>
                  <a:pt x="244" y="2294"/>
                </a:cubicBezTo>
                <a:cubicBezTo>
                  <a:pt x="260" y="2309"/>
                  <a:pt x="267" y="2325"/>
                  <a:pt x="283" y="2341"/>
                </a:cubicBezTo>
                <a:cubicBezTo>
                  <a:pt x="283" y="2341"/>
                  <a:pt x="283" y="2341"/>
                  <a:pt x="283" y="2341"/>
                </a:cubicBezTo>
                <a:cubicBezTo>
                  <a:pt x="283" y="2341"/>
                  <a:pt x="283" y="2341"/>
                  <a:pt x="283" y="2341"/>
                </a:cubicBezTo>
                <a:cubicBezTo>
                  <a:pt x="283" y="2341"/>
                  <a:pt x="283" y="2341"/>
                  <a:pt x="283" y="2348"/>
                </a:cubicBezTo>
                <a:cubicBezTo>
                  <a:pt x="291" y="2348"/>
                  <a:pt x="291" y="2348"/>
                  <a:pt x="291" y="2348"/>
                </a:cubicBezTo>
                <a:cubicBezTo>
                  <a:pt x="291" y="2348"/>
                  <a:pt x="291" y="2348"/>
                  <a:pt x="291" y="2356"/>
                </a:cubicBezTo>
                <a:cubicBezTo>
                  <a:pt x="291" y="2348"/>
                  <a:pt x="291" y="2356"/>
                  <a:pt x="291" y="2348"/>
                </a:cubicBezTo>
                <a:cubicBezTo>
                  <a:pt x="291" y="2348"/>
                  <a:pt x="291" y="2348"/>
                  <a:pt x="283" y="2341"/>
                </a:cubicBezTo>
                <a:cubicBezTo>
                  <a:pt x="283" y="2341"/>
                  <a:pt x="291" y="2348"/>
                  <a:pt x="291" y="2348"/>
                </a:cubicBezTo>
                <a:cubicBezTo>
                  <a:pt x="291" y="2348"/>
                  <a:pt x="291" y="2348"/>
                  <a:pt x="291" y="2356"/>
                </a:cubicBezTo>
                <a:cubicBezTo>
                  <a:pt x="291" y="2356"/>
                  <a:pt x="291" y="2356"/>
                  <a:pt x="299" y="2356"/>
                </a:cubicBezTo>
                <a:cubicBezTo>
                  <a:pt x="299" y="2356"/>
                  <a:pt x="299" y="2356"/>
                  <a:pt x="299" y="2356"/>
                </a:cubicBezTo>
                <a:cubicBezTo>
                  <a:pt x="299" y="2356"/>
                  <a:pt x="299" y="2356"/>
                  <a:pt x="322" y="2380"/>
                </a:cubicBezTo>
                <a:cubicBezTo>
                  <a:pt x="322" y="2380"/>
                  <a:pt x="322" y="2380"/>
                  <a:pt x="354" y="2411"/>
                </a:cubicBezTo>
                <a:cubicBezTo>
                  <a:pt x="346" y="2411"/>
                  <a:pt x="346" y="2411"/>
                  <a:pt x="346" y="2411"/>
                </a:cubicBezTo>
                <a:cubicBezTo>
                  <a:pt x="354" y="2419"/>
                  <a:pt x="354" y="2419"/>
                  <a:pt x="354" y="2419"/>
                </a:cubicBezTo>
                <a:cubicBezTo>
                  <a:pt x="362" y="2427"/>
                  <a:pt x="362" y="2427"/>
                  <a:pt x="362" y="2427"/>
                </a:cubicBezTo>
                <a:cubicBezTo>
                  <a:pt x="370" y="2435"/>
                  <a:pt x="377" y="2442"/>
                  <a:pt x="385" y="2458"/>
                </a:cubicBezTo>
                <a:cubicBezTo>
                  <a:pt x="385" y="2458"/>
                  <a:pt x="385" y="2458"/>
                  <a:pt x="393" y="2466"/>
                </a:cubicBezTo>
                <a:cubicBezTo>
                  <a:pt x="393" y="2466"/>
                  <a:pt x="393" y="2466"/>
                  <a:pt x="393" y="2466"/>
                </a:cubicBezTo>
                <a:cubicBezTo>
                  <a:pt x="393" y="2466"/>
                  <a:pt x="393" y="2466"/>
                  <a:pt x="393" y="2466"/>
                </a:cubicBezTo>
                <a:cubicBezTo>
                  <a:pt x="401" y="2474"/>
                  <a:pt x="401" y="2474"/>
                  <a:pt x="409" y="2482"/>
                </a:cubicBezTo>
                <a:cubicBezTo>
                  <a:pt x="409" y="2482"/>
                  <a:pt x="409" y="2482"/>
                  <a:pt x="409" y="2482"/>
                </a:cubicBezTo>
                <a:cubicBezTo>
                  <a:pt x="409" y="2482"/>
                  <a:pt x="409" y="2482"/>
                  <a:pt x="409" y="2482"/>
                </a:cubicBezTo>
                <a:cubicBezTo>
                  <a:pt x="409" y="2482"/>
                  <a:pt x="417" y="2482"/>
                  <a:pt x="417" y="2489"/>
                </a:cubicBezTo>
                <a:cubicBezTo>
                  <a:pt x="417" y="2489"/>
                  <a:pt x="417" y="2489"/>
                  <a:pt x="417" y="2489"/>
                </a:cubicBezTo>
                <a:cubicBezTo>
                  <a:pt x="424" y="2489"/>
                  <a:pt x="424" y="2489"/>
                  <a:pt x="424" y="2489"/>
                </a:cubicBezTo>
                <a:cubicBezTo>
                  <a:pt x="424" y="2489"/>
                  <a:pt x="424" y="2489"/>
                  <a:pt x="432" y="2505"/>
                </a:cubicBezTo>
                <a:cubicBezTo>
                  <a:pt x="432" y="2505"/>
                  <a:pt x="432" y="2505"/>
                  <a:pt x="440" y="2513"/>
                </a:cubicBezTo>
                <a:cubicBezTo>
                  <a:pt x="440" y="2513"/>
                  <a:pt x="440" y="2513"/>
                  <a:pt x="440" y="2513"/>
                </a:cubicBezTo>
                <a:cubicBezTo>
                  <a:pt x="440" y="2521"/>
                  <a:pt x="440" y="2521"/>
                  <a:pt x="440" y="2521"/>
                </a:cubicBezTo>
                <a:cubicBezTo>
                  <a:pt x="440" y="2521"/>
                  <a:pt x="440" y="2521"/>
                  <a:pt x="440" y="2521"/>
                </a:cubicBezTo>
                <a:cubicBezTo>
                  <a:pt x="440" y="2521"/>
                  <a:pt x="440" y="2521"/>
                  <a:pt x="448" y="2521"/>
                </a:cubicBezTo>
                <a:cubicBezTo>
                  <a:pt x="417" y="2521"/>
                  <a:pt x="401" y="2521"/>
                  <a:pt x="440" y="2521"/>
                </a:cubicBezTo>
                <a:cubicBezTo>
                  <a:pt x="440" y="2521"/>
                  <a:pt x="440" y="2521"/>
                  <a:pt x="440" y="2521"/>
                </a:cubicBezTo>
                <a:cubicBezTo>
                  <a:pt x="448" y="2521"/>
                  <a:pt x="456" y="2521"/>
                  <a:pt x="456" y="2521"/>
                </a:cubicBezTo>
                <a:cubicBezTo>
                  <a:pt x="456" y="2521"/>
                  <a:pt x="464" y="2521"/>
                  <a:pt x="472" y="2521"/>
                </a:cubicBezTo>
                <a:cubicBezTo>
                  <a:pt x="464" y="2521"/>
                  <a:pt x="456" y="2521"/>
                  <a:pt x="448" y="2521"/>
                </a:cubicBezTo>
                <a:cubicBezTo>
                  <a:pt x="495" y="2521"/>
                  <a:pt x="527" y="2521"/>
                  <a:pt x="542" y="2521"/>
                </a:cubicBezTo>
                <a:cubicBezTo>
                  <a:pt x="558" y="2521"/>
                  <a:pt x="574" y="2521"/>
                  <a:pt x="566" y="2521"/>
                </a:cubicBezTo>
                <a:cubicBezTo>
                  <a:pt x="566" y="2521"/>
                  <a:pt x="566" y="2521"/>
                  <a:pt x="566" y="2521"/>
                </a:cubicBezTo>
                <a:cubicBezTo>
                  <a:pt x="566" y="2521"/>
                  <a:pt x="566" y="2521"/>
                  <a:pt x="566" y="2521"/>
                </a:cubicBezTo>
                <a:cubicBezTo>
                  <a:pt x="597" y="2513"/>
                  <a:pt x="597" y="2513"/>
                  <a:pt x="582" y="2513"/>
                </a:cubicBezTo>
                <a:cubicBezTo>
                  <a:pt x="582" y="2513"/>
                  <a:pt x="574" y="2513"/>
                  <a:pt x="566" y="2513"/>
                </a:cubicBezTo>
                <a:cubicBezTo>
                  <a:pt x="566" y="2513"/>
                  <a:pt x="566" y="2513"/>
                  <a:pt x="566" y="2513"/>
                </a:cubicBezTo>
                <a:cubicBezTo>
                  <a:pt x="566" y="2513"/>
                  <a:pt x="566" y="2513"/>
                  <a:pt x="574" y="2505"/>
                </a:cubicBezTo>
                <a:cubicBezTo>
                  <a:pt x="574" y="2505"/>
                  <a:pt x="582" y="2497"/>
                  <a:pt x="582" y="2489"/>
                </a:cubicBezTo>
                <a:cubicBezTo>
                  <a:pt x="589" y="2489"/>
                  <a:pt x="589" y="2489"/>
                  <a:pt x="589" y="2489"/>
                </a:cubicBezTo>
                <a:cubicBezTo>
                  <a:pt x="589" y="2489"/>
                  <a:pt x="589" y="2489"/>
                  <a:pt x="589" y="2482"/>
                </a:cubicBezTo>
                <a:cubicBezTo>
                  <a:pt x="597" y="2482"/>
                  <a:pt x="597" y="2474"/>
                  <a:pt x="597" y="2474"/>
                </a:cubicBezTo>
                <a:cubicBezTo>
                  <a:pt x="605" y="2466"/>
                  <a:pt x="597" y="2466"/>
                  <a:pt x="605" y="2458"/>
                </a:cubicBezTo>
                <a:cubicBezTo>
                  <a:pt x="605" y="2458"/>
                  <a:pt x="605" y="2458"/>
                  <a:pt x="597" y="2466"/>
                </a:cubicBezTo>
                <a:cubicBezTo>
                  <a:pt x="597" y="2466"/>
                  <a:pt x="605" y="2450"/>
                  <a:pt x="613" y="2442"/>
                </a:cubicBezTo>
                <a:cubicBezTo>
                  <a:pt x="613" y="2442"/>
                  <a:pt x="613" y="2450"/>
                  <a:pt x="613" y="2450"/>
                </a:cubicBezTo>
                <a:cubicBezTo>
                  <a:pt x="613" y="2450"/>
                  <a:pt x="613" y="2450"/>
                  <a:pt x="613" y="2442"/>
                </a:cubicBezTo>
                <a:cubicBezTo>
                  <a:pt x="613" y="2442"/>
                  <a:pt x="613" y="2442"/>
                  <a:pt x="613" y="2442"/>
                </a:cubicBezTo>
                <a:cubicBezTo>
                  <a:pt x="613" y="2442"/>
                  <a:pt x="613" y="2442"/>
                  <a:pt x="613" y="2442"/>
                </a:cubicBezTo>
                <a:cubicBezTo>
                  <a:pt x="621" y="2442"/>
                  <a:pt x="621" y="2442"/>
                  <a:pt x="621" y="2442"/>
                </a:cubicBezTo>
                <a:cubicBezTo>
                  <a:pt x="621" y="2442"/>
                  <a:pt x="621" y="2442"/>
                  <a:pt x="629" y="2419"/>
                </a:cubicBezTo>
                <a:cubicBezTo>
                  <a:pt x="629" y="2419"/>
                  <a:pt x="629" y="2419"/>
                  <a:pt x="629" y="2419"/>
                </a:cubicBezTo>
                <a:cubicBezTo>
                  <a:pt x="629" y="2419"/>
                  <a:pt x="629" y="2419"/>
                  <a:pt x="636" y="2411"/>
                </a:cubicBezTo>
                <a:cubicBezTo>
                  <a:pt x="636" y="2411"/>
                  <a:pt x="636" y="2411"/>
                  <a:pt x="636" y="2411"/>
                </a:cubicBezTo>
                <a:cubicBezTo>
                  <a:pt x="636" y="2411"/>
                  <a:pt x="636" y="2403"/>
                  <a:pt x="644" y="2403"/>
                </a:cubicBezTo>
                <a:cubicBezTo>
                  <a:pt x="644" y="2403"/>
                  <a:pt x="644" y="2403"/>
                  <a:pt x="644" y="2403"/>
                </a:cubicBezTo>
                <a:cubicBezTo>
                  <a:pt x="644" y="2403"/>
                  <a:pt x="644" y="2403"/>
                  <a:pt x="644" y="2403"/>
                </a:cubicBezTo>
                <a:cubicBezTo>
                  <a:pt x="644" y="2403"/>
                  <a:pt x="644" y="2403"/>
                  <a:pt x="644" y="2403"/>
                </a:cubicBezTo>
                <a:cubicBezTo>
                  <a:pt x="644" y="2403"/>
                  <a:pt x="644" y="2403"/>
                  <a:pt x="644" y="2403"/>
                </a:cubicBezTo>
                <a:cubicBezTo>
                  <a:pt x="644" y="2403"/>
                  <a:pt x="644" y="2395"/>
                  <a:pt x="644" y="2395"/>
                </a:cubicBezTo>
                <a:cubicBezTo>
                  <a:pt x="644" y="2395"/>
                  <a:pt x="644" y="2395"/>
                  <a:pt x="644" y="2395"/>
                </a:cubicBezTo>
                <a:cubicBezTo>
                  <a:pt x="644" y="2395"/>
                  <a:pt x="644" y="2395"/>
                  <a:pt x="644" y="2395"/>
                </a:cubicBezTo>
                <a:cubicBezTo>
                  <a:pt x="644" y="2395"/>
                  <a:pt x="644" y="2395"/>
                  <a:pt x="644" y="2388"/>
                </a:cubicBezTo>
                <a:cubicBezTo>
                  <a:pt x="644" y="2388"/>
                  <a:pt x="644" y="2388"/>
                  <a:pt x="644" y="2388"/>
                </a:cubicBezTo>
                <a:cubicBezTo>
                  <a:pt x="652" y="2388"/>
                  <a:pt x="652" y="2388"/>
                  <a:pt x="652" y="2388"/>
                </a:cubicBezTo>
                <a:cubicBezTo>
                  <a:pt x="660" y="2380"/>
                  <a:pt x="660" y="2380"/>
                  <a:pt x="660" y="2380"/>
                </a:cubicBezTo>
                <a:cubicBezTo>
                  <a:pt x="660" y="2380"/>
                  <a:pt x="660" y="2380"/>
                  <a:pt x="660" y="2372"/>
                </a:cubicBezTo>
                <a:cubicBezTo>
                  <a:pt x="660" y="2372"/>
                  <a:pt x="660" y="2372"/>
                  <a:pt x="668" y="2372"/>
                </a:cubicBezTo>
                <a:cubicBezTo>
                  <a:pt x="668" y="2372"/>
                  <a:pt x="668" y="2372"/>
                  <a:pt x="660" y="2372"/>
                </a:cubicBezTo>
                <a:cubicBezTo>
                  <a:pt x="668" y="2364"/>
                  <a:pt x="676" y="2356"/>
                  <a:pt x="668" y="2356"/>
                </a:cubicBezTo>
                <a:cubicBezTo>
                  <a:pt x="668" y="2356"/>
                  <a:pt x="668" y="2356"/>
                  <a:pt x="676" y="2356"/>
                </a:cubicBezTo>
                <a:cubicBezTo>
                  <a:pt x="676" y="2348"/>
                  <a:pt x="676" y="2348"/>
                  <a:pt x="676" y="2348"/>
                </a:cubicBezTo>
                <a:cubicBezTo>
                  <a:pt x="676" y="2348"/>
                  <a:pt x="676" y="2348"/>
                  <a:pt x="676" y="2348"/>
                </a:cubicBezTo>
                <a:cubicBezTo>
                  <a:pt x="676" y="2348"/>
                  <a:pt x="684" y="2341"/>
                  <a:pt x="684" y="2341"/>
                </a:cubicBezTo>
                <a:cubicBezTo>
                  <a:pt x="684" y="2333"/>
                  <a:pt x="684" y="2333"/>
                  <a:pt x="684" y="2333"/>
                </a:cubicBezTo>
                <a:cubicBezTo>
                  <a:pt x="684" y="2325"/>
                  <a:pt x="684" y="2333"/>
                  <a:pt x="691" y="2325"/>
                </a:cubicBezTo>
                <a:cubicBezTo>
                  <a:pt x="691" y="2325"/>
                  <a:pt x="691" y="2325"/>
                  <a:pt x="684" y="2325"/>
                </a:cubicBezTo>
                <a:cubicBezTo>
                  <a:pt x="684" y="2325"/>
                  <a:pt x="684" y="2325"/>
                  <a:pt x="684" y="2325"/>
                </a:cubicBezTo>
                <a:cubicBezTo>
                  <a:pt x="691" y="2325"/>
                  <a:pt x="691" y="2325"/>
                  <a:pt x="691" y="2317"/>
                </a:cubicBezTo>
                <a:cubicBezTo>
                  <a:pt x="691" y="2317"/>
                  <a:pt x="691" y="2317"/>
                  <a:pt x="691" y="2317"/>
                </a:cubicBezTo>
                <a:cubicBezTo>
                  <a:pt x="691" y="2309"/>
                  <a:pt x="691" y="2309"/>
                  <a:pt x="691" y="2309"/>
                </a:cubicBezTo>
                <a:cubicBezTo>
                  <a:pt x="691" y="2309"/>
                  <a:pt x="699" y="2309"/>
                  <a:pt x="699" y="2309"/>
                </a:cubicBezTo>
                <a:cubicBezTo>
                  <a:pt x="699" y="2309"/>
                  <a:pt x="699" y="2309"/>
                  <a:pt x="699" y="2309"/>
                </a:cubicBezTo>
                <a:cubicBezTo>
                  <a:pt x="699" y="2309"/>
                  <a:pt x="699" y="2309"/>
                  <a:pt x="707" y="2301"/>
                </a:cubicBezTo>
                <a:cubicBezTo>
                  <a:pt x="707" y="2301"/>
                  <a:pt x="707" y="2301"/>
                  <a:pt x="707" y="2294"/>
                </a:cubicBezTo>
                <a:cubicBezTo>
                  <a:pt x="715" y="2286"/>
                  <a:pt x="715" y="2278"/>
                  <a:pt x="723" y="2270"/>
                </a:cubicBezTo>
                <a:cubicBezTo>
                  <a:pt x="731" y="2262"/>
                  <a:pt x="731" y="2255"/>
                  <a:pt x="739" y="2247"/>
                </a:cubicBezTo>
                <a:cubicBezTo>
                  <a:pt x="739" y="2247"/>
                  <a:pt x="739" y="2247"/>
                  <a:pt x="731" y="2255"/>
                </a:cubicBezTo>
                <a:cubicBezTo>
                  <a:pt x="731" y="2255"/>
                  <a:pt x="731" y="2255"/>
                  <a:pt x="731" y="2255"/>
                </a:cubicBezTo>
                <a:cubicBezTo>
                  <a:pt x="731" y="2247"/>
                  <a:pt x="731" y="2247"/>
                  <a:pt x="731" y="2247"/>
                </a:cubicBezTo>
                <a:cubicBezTo>
                  <a:pt x="731" y="2247"/>
                  <a:pt x="731" y="2247"/>
                  <a:pt x="731" y="2255"/>
                </a:cubicBezTo>
                <a:cubicBezTo>
                  <a:pt x="731" y="2255"/>
                  <a:pt x="731" y="2255"/>
                  <a:pt x="731" y="2255"/>
                </a:cubicBezTo>
                <a:cubicBezTo>
                  <a:pt x="723" y="2270"/>
                  <a:pt x="731" y="2255"/>
                  <a:pt x="715" y="2270"/>
                </a:cubicBezTo>
                <a:cubicBezTo>
                  <a:pt x="723" y="2270"/>
                  <a:pt x="723" y="2262"/>
                  <a:pt x="723" y="2262"/>
                </a:cubicBezTo>
                <a:cubicBezTo>
                  <a:pt x="723" y="2262"/>
                  <a:pt x="723" y="2262"/>
                  <a:pt x="723" y="2262"/>
                </a:cubicBezTo>
                <a:cubicBezTo>
                  <a:pt x="723" y="2262"/>
                  <a:pt x="723" y="2262"/>
                  <a:pt x="723" y="2262"/>
                </a:cubicBezTo>
                <a:cubicBezTo>
                  <a:pt x="723" y="2255"/>
                  <a:pt x="723" y="2255"/>
                  <a:pt x="731" y="2255"/>
                </a:cubicBezTo>
                <a:cubicBezTo>
                  <a:pt x="731" y="2255"/>
                  <a:pt x="731" y="2255"/>
                  <a:pt x="739" y="2231"/>
                </a:cubicBezTo>
                <a:cubicBezTo>
                  <a:pt x="739" y="2231"/>
                  <a:pt x="739" y="2231"/>
                  <a:pt x="739" y="2231"/>
                </a:cubicBezTo>
                <a:cubicBezTo>
                  <a:pt x="739" y="2231"/>
                  <a:pt x="739" y="2231"/>
                  <a:pt x="739" y="2239"/>
                </a:cubicBezTo>
                <a:cubicBezTo>
                  <a:pt x="739" y="2239"/>
                  <a:pt x="739" y="2231"/>
                  <a:pt x="746" y="2231"/>
                </a:cubicBezTo>
                <a:cubicBezTo>
                  <a:pt x="746" y="2231"/>
                  <a:pt x="746" y="2231"/>
                  <a:pt x="746" y="2223"/>
                </a:cubicBezTo>
                <a:cubicBezTo>
                  <a:pt x="746" y="2215"/>
                  <a:pt x="754" y="2215"/>
                  <a:pt x="754" y="2208"/>
                </a:cubicBezTo>
                <a:cubicBezTo>
                  <a:pt x="754" y="2208"/>
                  <a:pt x="754" y="2208"/>
                  <a:pt x="754" y="2200"/>
                </a:cubicBezTo>
                <a:cubicBezTo>
                  <a:pt x="754" y="2200"/>
                  <a:pt x="754" y="2200"/>
                  <a:pt x="762" y="2200"/>
                </a:cubicBezTo>
                <a:cubicBezTo>
                  <a:pt x="762" y="2200"/>
                  <a:pt x="754" y="2200"/>
                  <a:pt x="754" y="2200"/>
                </a:cubicBezTo>
                <a:cubicBezTo>
                  <a:pt x="754" y="2200"/>
                  <a:pt x="762" y="2200"/>
                  <a:pt x="762" y="2192"/>
                </a:cubicBezTo>
                <a:cubicBezTo>
                  <a:pt x="762" y="2192"/>
                  <a:pt x="762" y="2192"/>
                  <a:pt x="754" y="2200"/>
                </a:cubicBezTo>
                <a:cubicBezTo>
                  <a:pt x="754" y="2200"/>
                  <a:pt x="754" y="2200"/>
                  <a:pt x="754" y="2208"/>
                </a:cubicBezTo>
                <a:cubicBezTo>
                  <a:pt x="754" y="2208"/>
                  <a:pt x="754" y="2208"/>
                  <a:pt x="754" y="2208"/>
                </a:cubicBezTo>
                <a:cubicBezTo>
                  <a:pt x="754" y="2208"/>
                  <a:pt x="754" y="2208"/>
                  <a:pt x="746" y="2208"/>
                </a:cubicBezTo>
                <a:cubicBezTo>
                  <a:pt x="746" y="2208"/>
                  <a:pt x="746" y="2208"/>
                  <a:pt x="754" y="2192"/>
                </a:cubicBezTo>
                <a:cubicBezTo>
                  <a:pt x="762" y="2192"/>
                  <a:pt x="762" y="2192"/>
                  <a:pt x="762" y="2192"/>
                </a:cubicBezTo>
                <a:cubicBezTo>
                  <a:pt x="762" y="2192"/>
                  <a:pt x="762" y="2184"/>
                  <a:pt x="762" y="2192"/>
                </a:cubicBezTo>
                <a:cubicBezTo>
                  <a:pt x="762" y="2192"/>
                  <a:pt x="762" y="2192"/>
                  <a:pt x="762" y="2192"/>
                </a:cubicBezTo>
                <a:cubicBezTo>
                  <a:pt x="762" y="2192"/>
                  <a:pt x="762" y="2192"/>
                  <a:pt x="762" y="2184"/>
                </a:cubicBezTo>
                <a:cubicBezTo>
                  <a:pt x="762" y="2184"/>
                  <a:pt x="762" y="2184"/>
                  <a:pt x="762" y="2184"/>
                </a:cubicBezTo>
                <a:cubicBezTo>
                  <a:pt x="762" y="2184"/>
                  <a:pt x="762" y="2184"/>
                  <a:pt x="762" y="2176"/>
                </a:cubicBezTo>
                <a:cubicBezTo>
                  <a:pt x="762" y="2176"/>
                  <a:pt x="762" y="2176"/>
                  <a:pt x="770" y="2176"/>
                </a:cubicBezTo>
                <a:cubicBezTo>
                  <a:pt x="778" y="2161"/>
                  <a:pt x="770" y="2176"/>
                  <a:pt x="778" y="2161"/>
                </a:cubicBezTo>
                <a:cubicBezTo>
                  <a:pt x="778" y="2161"/>
                  <a:pt x="778" y="2161"/>
                  <a:pt x="778" y="2161"/>
                </a:cubicBezTo>
                <a:cubicBezTo>
                  <a:pt x="778" y="2161"/>
                  <a:pt x="770" y="2168"/>
                  <a:pt x="778" y="2161"/>
                </a:cubicBezTo>
                <a:cubicBezTo>
                  <a:pt x="778" y="2161"/>
                  <a:pt x="778" y="2161"/>
                  <a:pt x="770" y="2168"/>
                </a:cubicBezTo>
                <a:cubicBezTo>
                  <a:pt x="770" y="2161"/>
                  <a:pt x="770" y="2168"/>
                  <a:pt x="778" y="2161"/>
                </a:cubicBezTo>
                <a:cubicBezTo>
                  <a:pt x="762" y="2168"/>
                  <a:pt x="770" y="2161"/>
                  <a:pt x="762" y="2161"/>
                </a:cubicBezTo>
                <a:cubicBezTo>
                  <a:pt x="762" y="2161"/>
                  <a:pt x="762" y="2161"/>
                  <a:pt x="770" y="2153"/>
                </a:cubicBezTo>
                <a:cubicBezTo>
                  <a:pt x="770" y="2153"/>
                  <a:pt x="770" y="2161"/>
                  <a:pt x="770" y="2153"/>
                </a:cubicBezTo>
                <a:cubicBezTo>
                  <a:pt x="778" y="2153"/>
                  <a:pt x="778" y="2153"/>
                  <a:pt x="778" y="2145"/>
                </a:cubicBezTo>
                <a:cubicBezTo>
                  <a:pt x="778" y="2145"/>
                  <a:pt x="778" y="2145"/>
                  <a:pt x="778" y="2153"/>
                </a:cubicBezTo>
                <a:cubicBezTo>
                  <a:pt x="778" y="2145"/>
                  <a:pt x="794" y="2137"/>
                  <a:pt x="794" y="2137"/>
                </a:cubicBezTo>
                <a:cubicBezTo>
                  <a:pt x="794" y="2129"/>
                  <a:pt x="794" y="2137"/>
                  <a:pt x="794" y="2129"/>
                </a:cubicBezTo>
                <a:cubicBezTo>
                  <a:pt x="794" y="2129"/>
                  <a:pt x="794" y="2129"/>
                  <a:pt x="794" y="2121"/>
                </a:cubicBezTo>
                <a:cubicBezTo>
                  <a:pt x="801" y="2106"/>
                  <a:pt x="809" y="2090"/>
                  <a:pt x="809" y="2090"/>
                </a:cubicBezTo>
                <a:cubicBezTo>
                  <a:pt x="801" y="2090"/>
                  <a:pt x="801" y="2090"/>
                  <a:pt x="801" y="2090"/>
                </a:cubicBezTo>
                <a:cubicBezTo>
                  <a:pt x="801" y="2098"/>
                  <a:pt x="801" y="2098"/>
                  <a:pt x="794" y="2106"/>
                </a:cubicBezTo>
                <a:cubicBezTo>
                  <a:pt x="794" y="2106"/>
                  <a:pt x="794" y="2106"/>
                  <a:pt x="794" y="2106"/>
                </a:cubicBezTo>
                <a:cubicBezTo>
                  <a:pt x="794" y="2106"/>
                  <a:pt x="794" y="2106"/>
                  <a:pt x="809" y="2067"/>
                </a:cubicBezTo>
                <a:cubicBezTo>
                  <a:pt x="809" y="2067"/>
                  <a:pt x="809" y="2067"/>
                  <a:pt x="809" y="2075"/>
                </a:cubicBezTo>
                <a:cubicBezTo>
                  <a:pt x="809" y="2067"/>
                  <a:pt x="809" y="2059"/>
                  <a:pt x="817" y="2051"/>
                </a:cubicBezTo>
                <a:cubicBezTo>
                  <a:pt x="817" y="2043"/>
                  <a:pt x="809" y="2035"/>
                  <a:pt x="809" y="2043"/>
                </a:cubicBezTo>
                <a:cubicBezTo>
                  <a:pt x="809" y="2043"/>
                  <a:pt x="809" y="2043"/>
                  <a:pt x="809" y="2043"/>
                </a:cubicBezTo>
                <a:cubicBezTo>
                  <a:pt x="817" y="2020"/>
                  <a:pt x="825" y="1988"/>
                  <a:pt x="833" y="1957"/>
                </a:cubicBezTo>
                <a:cubicBezTo>
                  <a:pt x="833" y="1957"/>
                  <a:pt x="833" y="1957"/>
                  <a:pt x="833" y="1957"/>
                </a:cubicBezTo>
                <a:cubicBezTo>
                  <a:pt x="825" y="1973"/>
                  <a:pt x="825" y="1981"/>
                  <a:pt x="817" y="1996"/>
                </a:cubicBezTo>
                <a:close/>
                <a:moveTo>
                  <a:pt x="817" y="1973"/>
                </a:moveTo>
                <a:cubicBezTo>
                  <a:pt x="817" y="1973"/>
                  <a:pt x="817" y="1973"/>
                  <a:pt x="817" y="1973"/>
                </a:cubicBezTo>
                <a:cubicBezTo>
                  <a:pt x="817" y="1973"/>
                  <a:pt x="817" y="1973"/>
                  <a:pt x="817" y="1973"/>
                </a:cubicBezTo>
                <a:close/>
                <a:moveTo>
                  <a:pt x="448" y="2403"/>
                </a:moveTo>
                <a:cubicBezTo>
                  <a:pt x="448" y="2395"/>
                  <a:pt x="448" y="2395"/>
                  <a:pt x="448" y="2395"/>
                </a:cubicBezTo>
                <a:cubicBezTo>
                  <a:pt x="448" y="2395"/>
                  <a:pt x="448" y="2395"/>
                  <a:pt x="456" y="2403"/>
                </a:cubicBezTo>
                <a:cubicBezTo>
                  <a:pt x="456" y="2403"/>
                  <a:pt x="456" y="2403"/>
                  <a:pt x="448" y="2403"/>
                </a:cubicBezTo>
                <a:close/>
                <a:moveTo>
                  <a:pt x="440" y="2380"/>
                </a:moveTo>
                <a:cubicBezTo>
                  <a:pt x="448" y="2388"/>
                  <a:pt x="456" y="2395"/>
                  <a:pt x="456" y="2403"/>
                </a:cubicBezTo>
                <a:cubicBezTo>
                  <a:pt x="456" y="2395"/>
                  <a:pt x="448" y="2388"/>
                  <a:pt x="440" y="2380"/>
                </a:cubicBezTo>
                <a:close/>
                <a:moveTo>
                  <a:pt x="87" y="1996"/>
                </a:moveTo>
                <a:cubicBezTo>
                  <a:pt x="87" y="1996"/>
                  <a:pt x="87" y="1996"/>
                  <a:pt x="87" y="1996"/>
                </a:cubicBezTo>
                <a:cubicBezTo>
                  <a:pt x="87" y="1996"/>
                  <a:pt x="87" y="2004"/>
                  <a:pt x="95" y="2004"/>
                </a:cubicBezTo>
                <a:cubicBezTo>
                  <a:pt x="87" y="2004"/>
                  <a:pt x="87" y="2004"/>
                  <a:pt x="87" y="1996"/>
                </a:cubicBezTo>
                <a:close/>
                <a:moveTo>
                  <a:pt x="63" y="2043"/>
                </a:moveTo>
                <a:cubicBezTo>
                  <a:pt x="63" y="2043"/>
                  <a:pt x="63" y="2043"/>
                  <a:pt x="63" y="2043"/>
                </a:cubicBezTo>
                <a:cubicBezTo>
                  <a:pt x="63" y="2043"/>
                  <a:pt x="71" y="2043"/>
                  <a:pt x="71" y="2043"/>
                </a:cubicBezTo>
                <a:cubicBezTo>
                  <a:pt x="63" y="2043"/>
                  <a:pt x="63" y="2043"/>
                  <a:pt x="63" y="2043"/>
                </a:cubicBezTo>
                <a:close/>
                <a:moveTo>
                  <a:pt x="165" y="2176"/>
                </a:moveTo>
                <a:cubicBezTo>
                  <a:pt x="165" y="2176"/>
                  <a:pt x="165" y="2176"/>
                  <a:pt x="165" y="2168"/>
                </a:cubicBezTo>
                <a:cubicBezTo>
                  <a:pt x="165" y="2176"/>
                  <a:pt x="165" y="2176"/>
                  <a:pt x="173" y="2176"/>
                </a:cubicBezTo>
                <a:cubicBezTo>
                  <a:pt x="173" y="2176"/>
                  <a:pt x="173" y="2176"/>
                  <a:pt x="165" y="2176"/>
                </a:cubicBezTo>
                <a:close/>
                <a:moveTo>
                  <a:pt x="110" y="2004"/>
                </a:moveTo>
                <a:cubicBezTo>
                  <a:pt x="110" y="2004"/>
                  <a:pt x="110" y="2004"/>
                  <a:pt x="110" y="2004"/>
                </a:cubicBezTo>
                <a:cubicBezTo>
                  <a:pt x="110" y="2004"/>
                  <a:pt x="110" y="2004"/>
                  <a:pt x="103" y="2004"/>
                </a:cubicBezTo>
                <a:cubicBezTo>
                  <a:pt x="110" y="2004"/>
                  <a:pt x="110" y="2004"/>
                  <a:pt x="110" y="2004"/>
                </a:cubicBezTo>
                <a:close/>
                <a:moveTo>
                  <a:pt x="142" y="2051"/>
                </a:moveTo>
                <a:cubicBezTo>
                  <a:pt x="142" y="2043"/>
                  <a:pt x="142" y="2043"/>
                  <a:pt x="142" y="2043"/>
                </a:cubicBezTo>
                <a:cubicBezTo>
                  <a:pt x="134" y="2043"/>
                  <a:pt x="134" y="2043"/>
                  <a:pt x="126" y="2035"/>
                </a:cubicBezTo>
                <a:cubicBezTo>
                  <a:pt x="126" y="2028"/>
                  <a:pt x="118" y="2028"/>
                  <a:pt x="118" y="2020"/>
                </a:cubicBezTo>
                <a:cubicBezTo>
                  <a:pt x="110" y="2020"/>
                  <a:pt x="110" y="2020"/>
                  <a:pt x="110" y="2020"/>
                </a:cubicBezTo>
                <a:cubicBezTo>
                  <a:pt x="110" y="2020"/>
                  <a:pt x="110" y="2012"/>
                  <a:pt x="103" y="2012"/>
                </a:cubicBezTo>
                <a:cubicBezTo>
                  <a:pt x="103" y="2012"/>
                  <a:pt x="103" y="2012"/>
                  <a:pt x="118" y="2020"/>
                </a:cubicBezTo>
                <a:cubicBezTo>
                  <a:pt x="126" y="2020"/>
                  <a:pt x="134" y="2028"/>
                  <a:pt x="134" y="2028"/>
                </a:cubicBezTo>
                <a:cubicBezTo>
                  <a:pt x="126" y="2028"/>
                  <a:pt x="126" y="2028"/>
                  <a:pt x="126" y="2028"/>
                </a:cubicBezTo>
                <a:cubicBezTo>
                  <a:pt x="126" y="2028"/>
                  <a:pt x="126" y="2028"/>
                  <a:pt x="134" y="2035"/>
                </a:cubicBezTo>
                <a:cubicBezTo>
                  <a:pt x="134" y="2035"/>
                  <a:pt x="134" y="2035"/>
                  <a:pt x="134" y="2035"/>
                </a:cubicBezTo>
                <a:cubicBezTo>
                  <a:pt x="134" y="2035"/>
                  <a:pt x="134" y="2035"/>
                  <a:pt x="134" y="2035"/>
                </a:cubicBezTo>
                <a:cubicBezTo>
                  <a:pt x="142" y="2043"/>
                  <a:pt x="142" y="2043"/>
                  <a:pt x="142" y="2043"/>
                </a:cubicBezTo>
                <a:cubicBezTo>
                  <a:pt x="142" y="2043"/>
                  <a:pt x="142" y="2043"/>
                  <a:pt x="142" y="2051"/>
                </a:cubicBezTo>
                <a:cubicBezTo>
                  <a:pt x="142" y="2051"/>
                  <a:pt x="142" y="2051"/>
                  <a:pt x="150" y="2059"/>
                </a:cubicBezTo>
                <a:cubicBezTo>
                  <a:pt x="150" y="2059"/>
                  <a:pt x="150" y="2059"/>
                  <a:pt x="158" y="2059"/>
                </a:cubicBezTo>
                <a:cubicBezTo>
                  <a:pt x="150" y="2051"/>
                  <a:pt x="150" y="2051"/>
                  <a:pt x="142" y="2043"/>
                </a:cubicBezTo>
                <a:cubicBezTo>
                  <a:pt x="142" y="2043"/>
                  <a:pt x="150" y="2043"/>
                  <a:pt x="150" y="2043"/>
                </a:cubicBezTo>
                <a:cubicBezTo>
                  <a:pt x="142" y="2043"/>
                  <a:pt x="142" y="2035"/>
                  <a:pt x="142" y="2035"/>
                </a:cubicBezTo>
                <a:cubicBezTo>
                  <a:pt x="142" y="2028"/>
                  <a:pt x="142" y="2035"/>
                  <a:pt x="150" y="2043"/>
                </a:cubicBezTo>
                <a:cubicBezTo>
                  <a:pt x="158" y="2051"/>
                  <a:pt x="173" y="2075"/>
                  <a:pt x="173" y="2075"/>
                </a:cubicBezTo>
                <a:cubicBezTo>
                  <a:pt x="173" y="2075"/>
                  <a:pt x="173" y="2075"/>
                  <a:pt x="173" y="2082"/>
                </a:cubicBezTo>
                <a:cubicBezTo>
                  <a:pt x="165" y="2075"/>
                  <a:pt x="150" y="2059"/>
                  <a:pt x="142" y="2051"/>
                </a:cubicBezTo>
                <a:close/>
                <a:moveTo>
                  <a:pt x="212" y="2208"/>
                </a:moveTo>
                <a:cubicBezTo>
                  <a:pt x="205" y="2200"/>
                  <a:pt x="197" y="2184"/>
                  <a:pt x="197" y="2176"/>
                </a:cubicBezTo>
                <a:cubicBezTo>
                  <a:pt x="197" y="2176"/>
                  <a:pt x="197" y="2184"/>
                  <a:pt x="205" y="2184"/>
                </a:cubicBezTo>
                <a:cubicBezTo>
                  <a:pt x="205" y="2176"/>
                  <a:pt x="205" y="2184"/>
                  <a:pt x="205" y="2176"/>
                </a:cubicBezTo>
                <a:cubicBezTo>
                  <a:pt x="228" y="2223"/>
                  <a:pt x="385" y="2411"/>
                  <a:pt x="393" y="2427"/>
                </a:cubicBezTo>
                <a:cubicBezTo>
                  <a:pt x="362" y="2388"/>
                  <a:pt x="236" y="2239"/>
                  <a:pt x="212" y="2208"/>
                </a:cubicBezTo>
                <a:close/>
                <a:moveTo>
                  <a:pt x="393" y="2388"/>
                </a:moveTo>
                <a:cubicBezTo>
                  <a:pt x="377" y="2356"/>
                  <a:pt x="330" y="2309"/>
                  <a:pt x="315" y="2286"/>
                </a:cubicBezTo>
                <a:cubicBezTo>
                  <a:pt x="315" y="2286"/>
                  <a:pt x="315" y="2286"/>
                  <a:pt x="299" y="2270"/>
                </a:cubicBezTo>
                <a:cubicBezTo>
                  <a:pt x="267" y="2239"/>
                  <a:pt x="228" y="2168"/>
                  <a:pt x="205" y="2137"/>
                </a:cubicBezTo>
                <a:cubicBezTo>
                  <a:pt x="189" y="2121"/>
                  <a:pt x="173" y="2098"/>
                  <a:pt x="158" y="2075"/>
                </a:cubicBezTo>
                <a:cubicBezTo>
                  <a:pt x="158" y="2075"/>
                  <a:pt x="150" y="2075"/>
                  <a:pt x="150" y="2075"/>
                </a:cubicBezTo>
                <a:cubicBezTo>
                  <a:pt x="150" y="2075"/>
                  <a:pt x="150" y="2075"/>
                  <a:pt x="150" y="2075"/>
                </a:cubicBezTo>
                <a:cubicBezTo>
                  <a:pt x="173" y="2098"/>
                  <a:pt x="212" y="2153"/>
                  <a:pt x="220" y="2161"/>
                </a:cubicBezTo>
                <a:cubicBezTo>
                  <a:pt x="236" y="2192"/>
                  <a:pt x="346" y="2325"/>
                  <a:pt x="393" y="2388"/>
                </a:cubicBezTo>
                <a:cubicBezTo>
                  <a:pt x="393" y="2388"/>
                  <a:pt x="393" y="2388"/>
                  <a:pt x="393" y="2388"/>
                </a:cubicBezTo>
                <a:close/>
                <a:moveTo>
                  <a:pt x="511" y="2450"/>
                </a:moveTo>
                <a:cubicBezTo>
                  <a:pt x="519" y="2450"/>
                  <a:pt x="519" y="2450"/>
                  <a:pt x="519" y="2450"/>
                </a:cubicBezTo>
                <a:cubicBezTo>
                  <a:pt x="519" y="2450"/>
                  <a:pt x="519" y="2450"/>
                  <a:pt x="519" y="2450"/>
                </a:cubicBezTo>
                <a:cubicBezTo>
                  <a:pt x="511" y="2450"/>
                  <a:pt x="511" y="2450"/>
                  <a:pt x="511" y="2450"/>
                </a:cubicBezTo>
                <a:cubicBezTo>
                  <a:pt x="511" y="2450"/>
                  <a:pt x="511" y="2450"/>
                  <a:pt x="511" y="2450"/>
                </a:cubicBezTo>
                <a:close/>
                <a:moveTo>
                  <a:pt x="511" y="2450"/>
                </a:moveTo>
                <a:cubicBezTo>
                  <a:pt x="511" y="2450"/>
                  <a:pt x="511" y="2450"/>
                  <a:pt x="511" y="2450"/>
                </a:cubicBezTo>
                <a:cubicBezTo>
                  <a:pt x="511" y="2450"/>
                  <a:pt x="511" y="2450"/>
                  <a:pt x="511" y="2450"/>
                </a:cubicBezTo>
                <a:cubicBezTo>
                  <a:pt x="511" y="2450"/>
                  <a:pt x="511" y="2450"/>
                  <a:pt x="511" y="2450"/>
                </a:cubicBezTo>
                <a:close/>
                <a:moveTo>
                  <a:pt x="511" y="2458"/>
                </a:move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lose/>
                <a:moveTo>
                  <a:pt x="511" y="2458"/>
                </a:move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66"/>
                  <a:pt x="511" y="2466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58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03" y="2458"/>
                  <a:pt x="511" y="2458"/>
                  <a:pt x="511" y="2458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58"/>
                  <a:pt x="511" y="2458"/>
                </a:cubicBezTo>
                <a:close/>
                <a:moveTo>
                  <a:pt x="503" y="2466"/>
                </a:moveTo>
                <a:cubicBezTo>
                  <a:pt x="503" y="2466"/>
                  <a:pt x="503" y="2458"/>
                  <a:pt x="503" y="2458"/>
                </a:cubicBezTo>
                <a:cubicBezTo>
                  <a:pt x="503" y="2458"/>
                  <a:pt x="503" y="2458"/>
                  <a:pt x="503" y="2458"/>
                </a:cubicBezTo>
                <a:cubicBezTo>
                  <a:pt x="503" y="2458"/>
                  <a:pt x="503" y="2458"/>
                  <a:pt x="503" y="2466"/>
                </a:cubicBezTo>
                <a:close/>
                <a:moveTo>
                  <a:pt x="495" y="2458"/>
                </a:move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503" y="2458"/>
                  <a:pt x="503" y="2458"/>
                  <a:pt x="503" y="2458"/>
                </a:cubicBezTo>
                <a:cubicBezTo>
                  <a:pt x="503" y="2458"/>
                  <a:pt x="503" y="2458"/>
                  <a:pt x="503" y="2458"/>
                </a:cubicBezTo>
                <a:cubicBezTo>
                  <a:pt x="503" y="2458"/>
                  <a:pt x="503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lose/>
                <a:moveTo>
                  <a:pt x="495" y="2458"/>
                </a:move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lose/>
                <a:moveTo>
                  <a:pt x="472" y="2474"/>
                </a:moveTo>
                <a:cubicBezTo>
                  <a:pt x="432" y="2427"/>
                  <a:pt x="432" y="2427"/>
                  <a:pt x="432" y="2427"/>
                </a:cubicBezTo>
                <a:cubicBezTo>
                  <a:pt x="432" y="2427"/>
                  <a:pt x="440" y="2427"/>
                  <a:pt x="440" y="2427"/>
                </a:cubicBezTo>
                <a:cubicBezTo>
                  <a:pt x="448" y="2442"/>
                  <a:pt x="456" y="2450"/>
                  <a:pt x="464" y="2466"/>
                </a:cubicBezTo>
                <a:cubicBezTo>
                  <a:pt x="464" y="2466"/>
                  <a:pt x="472" y="2466"/>
                  <a:pt x="479" y="2474"/>
                </a:cubicBezTo>
                <a:cubicBezTo>
                  <a:pt x="479" y="2474"/>
                  <a:pt x="479" y="2474"/>
                  <a:pt x="472" y="2474"/>
                </a:cubicBezTo>
                <a:close/>
                <a:moveTo>
                  <a:pt x="487" y="2489"/>
                </a:moveTo>
                <a:cubicBezTo>
                  <a:pt x="487" y="2489"/>
                  <a:pt x="487" y="2489"/>
                  <a:pt x="479" y="2489"/>
                </a:cubicBezTo>
                <a:cubicBezTo>
                  <a:pt x="479" y="2489"/>
                  <a:pt x="479" y="2489"/>
                  <a:pt x="479" y="2482"/>
                </a:cubicBezTo>
                <a:cubicBezTo>
                  <a:pt x="479" y="2482"/>
                  <a:pt x="479" y="2482"/>
                  <a:pt x="487" y="2489"/>
                </a:cubicBezTo>
                <a:cubicBezTo>
                  <a:pt x="487" y="2489"/>
                  <a:pt x="487" y="2489"/>
                  <a:pt x="487" y="2489"/>
                </a:cubicBezTo>
                <a:close/>
                <a:moveTo>
                  <a:pt x="487" y="2450"/>
                </a:moveTo>
                <a:cubicBezTo>
                  <a:pt x="487" y="2450"/>
                  <a:pt x="487" y="2450"/>
                  <a:pt x="487" y="2458"/>
                </a:cubicBezTo>
                <a:cubicBezTo>
                  <a:pt x="487" y="2458"/>
                  <a:pt x="487" y="2458"/>
                  <a:pt x="487" y="2458"/>
                </a:cubicBezTo>
                <a:cubicBezTo>
                  <a:pt x="487" y="2458"/>
                  <a:pt x="487" y="2458"/>
                  <a:pt x="487" y="2450"/>
                </a:cubicBezTo>
                <a:close/>
                <a:moveTo>
                  <a:pt x="487" y="2458"/>
                </a:moveTo>
                <a:cubicBezTo>
                  <a:pt x="487" y="2458"/>
                  <a:pt x="487" y="2458"/>
                  <a:pt x="487" y="2458"/>
                </a:cubicBezTo>
                <a:cubicBezTo>
                  <a:pt x="487" y="2458"/>
                  <a:pt x="487" y="2458"/>
                  <a:pt x="487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87" y="2458"/>
                  <a:pt x="487" y="2458"/>
                  <a:pt x="487" y="2458"/>
                </a:cubicBezTo>
                <a:close/>
                <a:moveTo>
                  <a:pt x="495" y="2466"/>
                </a:move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66"/>
                </a:cubicBezTo>
                <a:close/>
                <a:moveTo>
                  <a:pt x="495" y="2466"/>
                </a:move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495" y="2466"/>
                  <a:pt x="495" y="2466"/>
                </a:cubicBezTo>
                <a:close/>
                <a:moveTo>
                  <a:pt x="511" y="2466"/>
                </a:moveTo>
                <a:cubicBezTo>
                  <a:pt x="511" y="2466"/>
                  <a:pt x="511" y="2466"/>
                  <a:pt x="503" y="2474"/>
                </a:cubicBezTo>
                <a:cubicBezTo>
                  <a:pt x="503" y="2474"/>
                  <a:pt x="503" y="2474"/>
                  <a:pt x="503" y="2474"/>
                </a:cubicBezTo>
                <a:cubicBezTo>
                  <a:pt x="511" y="2466"/>
                  <a:pt x="503" y="2474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9" y="2458"/>
                  <a:pt x="519" y="2458"/>
                </a:cubicBezTo>
                <a:cubicBezTo>
                  <a:pt x="519" y="2466"/>
                  <a:pt x="519" y="2466"/>
                  <a:pt x="511" y="2466"/>
                </a:cubicBezTo>
                <a:close/>
                <a:moveTo>
                  <a:pt x="668" y="2223"/>
                </a:moveTo>
                <a:cubicBezTo>
                  <a:pt x="668" y="2223"/>
                  <a:pt x="668" y="2223"/>
                  <a:pt x="668" y="2223"/>
                </a:cubicBezTo>
                <a:cubicBezTo>
                  <a:pt x="668" y="2223"/>
                  <a:pt x="660" y="2223"/>
                  <a:pt x="660" y="2223"/>
                </a:cubicBezTo>
                <a:cubicBezTo>
                  <a:pt x="660" y="2223"/>
                  <a:pt x="668" y="2223"/>
                  <a:pt x="668" y="2223"/>
                </a:cubicBezTo>
                <a:close/>
                <a:moveTo>
                  <a:pt x="629" y="2427"/>
                </a:moveTo>
                <a:cubicBezTo>
                  <a:pt x="629" y="2427"/>
                  <a:pt x="629" y="2427"/>
                  <a:pt x="629" y="2419"/>
                </a:cubicBezTo>
                <a:cubicBezTo>
                  <a:pt x="629" y="2419"/>
                  <a:pt x="629" y="2419"/>
                  <a:pt x="629" y="2419"/>
                </a:cubicBezTo>
                <a:cubicBezTo>
                  <a:pt x="629" y="2419"/>
                  <a:pt x="629" y="2427"/>
                  <a:pt x="629" y="2427"/>
                </a:cubicBezTo>
                <a:close/>
                <a:moveTo>
                  <a:pt x="652" y="2380"/>
                </a:moveTo>
                <a:cubicBezTo>
                  <a:pt x="652" y="2388"/>
                  <a:pt x="652" y="2388"/>
                  <a:pt x="652" y="2388"/>
                </a:cubicBezTo>
                <a:cubicBezTo>
                  <a:pt x="652" y="2388"/>
                  <a:pt x="652" y="2388"/>
                  <a:pt x="652" y="2388"/>
                </a:cubicBezTo>
                <a:cubicBezTo>
                  <a:pt x="652" y="2380"/>
                  <a:pt x="652" y="2380"/>
                  <a:pt x="652" y="2380"/>
                </a:cubicBezTo>
                <a:cubicBezTo>
                  <a:pt x="652" y="2380"/>
                  <a:pt x="652" y="2380"/>
                  <a:pt x="652" y="2380"/>
                </a:cubicBezTo>
                <a:close/>
                <a:moveTo>
                  <a:pt x="699" y="2215"/>
                </a:moveTo>
                <a:cubicBezTo>
                  <a:pt x="699" y="2215"/>
                  <a:pt x="699" y="2215"/>
                  <a:pt x="660" y="2278"/>
                </a:cubicBezTo>
                <a:cubicBezTo>
                  <a:pt x="660" y="2286"/>
                  <a:pt x="644" y="2301"/>
                  <a:pt x="644" y="2309"/>
                </a:cubicBezTo>
                <a:cubicBezTo>
                  <a:pt x="636" y="2317"/>
                  <a:pt x="644" y="2309"/>
                  <a:pt x="636" y="2325"/>
                </a:cubicBezTo>
                <a:cubicBezTo>
                  <a:pt x="629" y="2341"/>
                  <a:pt x="597" y="2372"/>
                  <a:pt x="582" y="2411"/>
                </a:cubicBezTo>
                <a:cubicBezTo>
                  <a:pt x="566" y="2427"/>
                  <a:pt x="550" y="2442"/>
                  <a:pt x="542" y="2458"/>
                </a:cubicBezTo>
                <a:cubicBezTo>
                  <a:pt x="542" y="2466"/>
                  <a:pt x="534" y="2474"/>
                  <a:pt x="527" y="2482"/>
                </a:cubicBezTo>
                <a:cubicBezTo>
                  <a:pt x="527" y="2482"/>
                  <a:pt x="527" y="2482"/>
                  <a:pt x="527" y="2489"/>
                </a:cubicBezTo>
                <a:cubicBezTo>
                  <a:pt x="527" y="2489"/>
                  <a:pt x="527" y="2489"/>
                  <a:pt x="527" y="2482"/>
                </a:cubicBezTo>
                <a:cubicBezTo>
                  <a:pt x="527" y="2482"/>
                  <a:pt x="527" y="2482"/>
                  <a:pt x="527" y="2482"/>
                </a:cubicBezTo>
                <a:cubicBezTo>
                  <a:pt x="527" y="2482"/>
                  <a:pt x="527" y="2482"/>
                  <a:pt x="534" y="2474"/>
                </a:cubicBezTo>
                <a:cubicBezTo>
                  <a:pt x="558" y="2442"/>
                  <a:pt x="613" y="2356"/>
                  <a:pt x="621" y="2341"/>
                </a:cubicBezTo>
                <a:cubicBezTo>
                  <a:pt x="629" y="2325"/>
                  <a:pt x="644" y="2301"/>
                  <a:pt x="652" y="2286"/>
                </a:cubicBezTo>
                <a:cubicBezTo>
                  <a:pt x="652" y="2286"/>
                  <a:pt x="652" y="2286"/>
                  <a:pt x="652" y="2294"/>
                </a:cubicBezTo>
                <a:cubicBezTo>
                  <a:pt x="660" y="2278"/>
                  <a:pt x="684" y="2239"/>
                  <a:pt x="684" y="2231"/>
                </a:cubicBezTo>
                <a:cubicBezTo>
                  <a:pt x="691" y="2223"/>
                  <a:pt x="699" y="2215"/>
                  <a:pt x="699" y="2208"/>
                </a:cubicBezTo>
                <a:cubicBezTo>
                  <a:pt x="699" y="2208"/>
                  <a:pt x="699" y="2208"/>
                  <a:pt x="699" y="2215"/>
                </a:cubicBezTo>
                <a:close/>
                <a:moveTo>
                  <a:pt x="778" y="2059"/>
                </a:moveTo>
                <a:cubicBezTo>
                  <a:pt x="770" y="2067"/>
                  <a:pt x="778" y="2059"/>
                  <a:pt x="770" y="2075"/>
                </a:cubicBezTo>
                <a:cubicBezTo>
                  <a:pt x="778" y="2067"/>
                  <a:pt x="770" y="2067"/>
                  <a:pt x="778" y="2059"/>
                </a:cubicBezTo>
                <a:cubicBezTo>
                  <a:pt x="778" y="2067"/>
                  <a:pt x="770" y="2067"/>
                  <a:pt x="770" y="2075"/>
                </a:cubicBezTo>
                <a:cubicBezTo>
                  <a:pt x="770" y="2067"/>
                  <a:pt x="770" y="2059"/>
                  <a:pt x="778" y="2051"/>
                </a:cubicBezTo>
                <a:cubicBezTo>
                  <a:pt x="778" y="2051"/>
                  <a:pt x="778" y="2051"/>
                  <a:pt x="786" y="2035"/>
                </a:cubicBezTo>
                <a:cubicBezTo>
                  <a:pt x="786" y="2035"/>
                  <a:pt x="778" y="2043"/>
                  <a:pt x="778" y="2043"/>
                </a:cubicBezTo>
                <a:cubicBezTo>
                  <a:pt x="778" y="2043"/>
                  <a:pt x="778" y="2043"/>
                  <a:pt x="778" y="2051"/>
                </a:cubicBezTo>
                <a:cubicBezTo>
                  <a:pt x="778" y="2059"/>
                  <a:pt x="778" y="2059"/>
                  <a:pt x="778" y="2059"/>
                </a:cubicBezTo>
                <a:cubicBezTo>
                  <a:pt x="778" y="2059"/>
                  <a:pt x="778" y="2059"/>
                  <a:pt x="778" y="2059"/>
                </a:cubicBezTo>
                <a:close/>
                <a:moveTo>
                  <a:pt x="809" y="2051"/>
                </a:moveTo>
                <a:cubicBezTo>
                  <a:pt x="801" y="2059"/>
                  <a:pt x="801" y="2059"/>
                  <a:pt x="801" y="2067"/>
                </a:cubicBezTo>
                <a:cubicBezTo>
                  <a:pt x="801" y="2067"/>
                  <a:pt x="801" y="2059"/>
                  <a:pt x="801" y="2059"/>
                </a:cubicBezTo>
                <a:cubicBezTo>
                  <a:pt x="801" y="2059"/>
                  <a:pt x="801" y="2051"/>
                  <a:pt x="809" y="2051"/>
                </a:cubicBezTo>
                <a:cubicBezTo>
                  <a:pt x="809" y="2051"/>
                  <a:pt x="809" y="2051"/>
                  <a:pt x="809" y="2051"/>
                </a:cubicBezTo>
                <a:close/>
                <a:moveTo>
                  <a:pt x="527" y="2442"/>
                </a:moveTo>
                <a:cubicBezTo>
                  <a:pt x="527" y="2442"/>
                  <a:pt x="519" y="2450"/>
                  <a:pt x="519" y="2458"/>
                </a:cubicBezTo>
                <a:cubicBezTo>
                  <a:pt x="519" y="2450"/>
                  <a:pt x="519" y="2450"/>
                  <a:pt x="527" y="2442"/>
                </a:cubicBezTo>
                <a:close/>
                <a:moveTo>
                  <a:pt x="833" y="1957"/>
                </a:moveTo>
                <a:cubicBezTo>
                  <a:pt x="833" y="1957"/>
                  <a:pt x="833" y="1957"/>
                  <a:pt x="833" y="1957"/>
                </a:cubicBezTo>
                <a:cubicBezTo>
                  <a:pt x="833" y="1957"/>
                  <a:pt x="833" y="1949"/>
                  <a:pt x="833" y="1949"/>
                </a:cubicBezTo>
                <a:cubicBezTo>
                  <a:pt x="833" y="1949"/>
                  <a:pt x="833" y="1957"/>
                  <a:pt x="833" y="1957"/>
                </a:cubicBezTo>
                <a:close/>
                <a:moveTo>
                  <a:pt x="71" y="2028"/>
                </a:moveTo>
                <a:cubicBezTo>
                  <a:pt x="63" y="2028"/>
                  <a:pt x="63" y="2028"/>
                  <a:pt x="63" y="2028"/>
                </a:cubicBezTo>
                <a:cubicBezTo>
                  <a:pt x="63" y="2028"/>
                  <a:pt x="55" y="2028"/>
                  <a:pt x="55" y="2020"/>
                </a:cubicBezTo>
                <a:cubicBezTo>
                  <a:pt x="55" y="2028"/>
                  <a:pt x="55" y="2028"/>
                  <a:pt x="55" y="2028"/>
                </a:cubicBezTo>
                <a:cubicBezTo>
                  <a:pt x="63" y="2028"/>
                  <a:pt x="63" y="2028"/>
                  <a:pt x="71" y="2028"/>
                </a:cubicBezTo>
                <a:close/>
                <a:moveTo>
                  <a:pt x="731" y="2098"/>
                </a:moveTo>
                <a:cubicBezTo>
                  <a:pt x="731" y="2098"/>
                  <a:pt x="731" y="2098"/>
                  <a:pt x="739" y="2098"/>
                </a:cubicBezTo>
                <a:cubicBezTo>
                  <a:pt x="739" y="2098"/>
                  <a:pt x="739" y="2098"/>
                  <a:pt x="739" y="2098"/>
                </a:cubicBezTo>
                <a:cubicBezTo>
                  <a:pt x="731" y="2098"/>
                  <a:pt x="731" y="2098"/>
                  <a:pt x="731" y="2098"/>
                </a:cubicBezTo>
                <a:close/>
                <a:moveTo>
                  <a:pt x="739" y="2098"/>
                </a:moveTo>
                <a:cubicBezTo>
                  <a:pt x="739" y="2090"/>
                  <a:pt x="739" y="2090"/>
                  <a:pt x="739" y="2090"/>
                </a:cubicBezTo>
                <a:cubicBezTo>
                  <a:pt x="739" y="2090"/>
                  <a:pt x="739" y="2090"/>
                  <a:pt x="739" y="2098"/>
                </a:cubicBezTo>
                <a:close/>
                <a:moveTo>
                  <a:pt x="770" y="2020"/>
                </a:moveTo>
                <a:cubicBezTo>
                  <a:pt x="770" y="2012"/>
                  <a:pt x="770" y="2012"/>
                  <a:pt x="770" y="2012"/>
                </a:cubicBezTo>
                <a:cubicBezTo>
                  <a:pt x="770" y="2020"/>
                  <a:pt x="762" y="2020"/>
                  <a:pt x="770" y="2020"/>
                </a:cubicBezTo>
                <a:close/>
                <a:moveTo>
                  <a:pt x="739" y="2082"/>
                </a:moveTo>
                <a:cubicBezTo>
                  <a:pt x="739" y="2082"/>
                  <a:pt x="739" y="2082"/>
                  <a:pt x="739" y="2090"/>
                </a:cubicBezTo>
                <a:cubicBezTo>
                  <a:pt x="739" y="2090"/>
                  <a:pt x="739" y="2090"/>
                  <a:pt x="739" y="2090"/>
                </a:cubicBezTo>
                <a:cubicBezTo>
                  <a:pt x="739" y="2082"/>
                  <a:pt x="739" y="2082"/>
                  <a:pt x="739" y="2082"/>
                </a:cubicBezTo>
                <a:close/>
                <a:moveTo>
                  <a:pt x="691" y="2153"/>
                </a:moveTo>
                <a:cubicBezTo>
                  <a:pt x="691" y="2153"/>
                  <a:pt x="691" y="2153"/>
                  <a:pt x="699" y="2161"/>
                </a:cubicBezTo>
                <a:cubicBezTo>
                  <a:pt x="699" y="2153"/>
                  <a:pt x="707" y="2145"/>
                  <a:pt x="707" y="2145"/>
                </a:cubicBezTo>
                <a:cubicBezTo>
                  <a:pt x="699" y="2153"/>
                  <a:pt x="699" y="2161"/>
                  <a:pt x="691" y="2153"/>
                </a:cubicBezTo>
                <a:close/>
                <a:moveTo>
                  <a:pt x="731" y="2090"/>
                </a:moveTo>
                <a:cubicBezTo>
                  <a:pt x="723" y="2098"/>
                  <a:pt x="723" y="2106"/>
                  <a:pt x="723" y="2114"/>
                </a:cubicBezTo>
                <a:cubicBezTo>
                  <a:pt x="723" y="2106"/>
                  <a:pt x="723" y="2098"/>
                  <a:pt x="731" y="2090"/>
                </a:cubicBezTo>
                <a:close/>
                <a:moveTo>
                  <a:pt x="715" y="2137"/>
                </a:moveTo>
                <a:cubicBezTo>
                  <a:pt x="715" y="2137"/>
                  <a:pt x="707" y="2137"/>
                  <a:pt x="707" y="2145"/>
                </a:cubicBezTo>
                <a:cubicBezTo>
                  <a:pt x="707" y="2137"/>
                  <a:pt x="715" y="2137"/>
                  <a:pt x="715" y="2137"/>
                </a:cubicBezTo>
                <a:cubicBezTo>
                  <a:pt x="715" y="2137"/>
                  <a:pt x="715" y="2137"/>
                  <a:pt x="715" y="2137"/>
                </a:cubicBezTo>
                <a:close/>
                <a:moveTo>
                  <a:pt x="841" y="1895"/>
                </a:moveTo>
                <a:cubicBezTo>
                  <a:pt x="841" y="1895"/>
                  <a:pt x="841" y="1895"/>
                  <a:pt x="841" y="1895"/>
                </a:cubicBezTo>
                <a:cubicBezTo>
                  <a:pt x="841" y="1895"/>
                  <a:pt x="841" y="1895"/>
                  <a:pt x="841" y="1895"/>
                </a:cubicBezTo>
                <a:cubicBezTo>
                  <a:pt x="841" y="1895"/>
                  <a:pt x="841" y="1895"/>
                  <a:pt x="841" y="1895"/>
                </a:cubicBezTo>
                <a:close/>
                <a:moveTo>
                  <a:pt x="841" y="1895"/>
                </a:moveTo>
                <a:cubicBezTo>
                  <a:pt x="841" y="1895"/>
                  <a:pt x="848" y="1887"/>
                  <a:pt x="848" y="1887"/>
                </a:cubicBezTo>
                <a:cubicBezTo>
                  <a:pt x="841" y="1895"/>
                  <a:pt x="841" y="1895"/>
                  <a:pt x="841" y="1895"/>
                </a:cubicBezTo>
                <a:close/>
                <a:moveTo>
                  <a:pt x="841" y="1895"/>
                </a:moveTo>
                <a:cubicBezTo>
                  <a:pt x="841" y="1902"/>
                  <a:pt x="841" y="1902"/>
                  <a:pt x="833" y="1910"/>
                </a:cubicBezTo>
                <a:cubicBezTo>
                  <a:pt x="833" y="1902"/>
                  <a:pt x="833" y="1910"/>
                  <a:pt x="833" y="1902"/>
                </a:cubicBezTo>
                <a:cubicBezTo>
                  <a:pt x="833" y="1910"/>
                  <a:pt x="833" y="1918"/>
                  <a:pt x="833" y="1926"/>
                </a:cubicBezTo>
                <a:cubicBezTo>
                  <a:pt x="833" y="1910"/>
                  <a:pt x="833" y="1910"/>
                  <a:pt x="841" y="1895"/>
                </a:cubicBezTo>
                <a:cubicBezTo>
                  <a:pt x="841" y="1895"/>
                  <a:pt x="841" y="1895"/>
                  <a:pt x="841" y="1895"/>
                </a:cubicBezTo>
                <a:close/>
                <a:moveTo>
                  <a:pt x="841" y="1887"/>
                </a:moveTo>
                <a:cubicBezTo>
                  <a:pt x="841" y="1895"/>
                  <a:pt x="841" y="1887"/>
                  <a:pt x="841" y="1895"/>
                </a:cubicBezTo>
                <a:cubicBezTo>
                  <a:pt x="841" y="1887"/>
                  <a:pt x="841" y="1879"/>
                  <a:pt x="848" y="1871"/>
                </a:cubicBezTo>
                <a:cubicBezTo>
                  <a:pt x="848" y="1871"/>
                  <a:pt x="848" y="1871"/>
                  <a:pt x="841" y="1887"/>
                </a:cubicBezTo>
                <a:close/>
                <a:moveTo>
                  <a:pt x="833" y="1895"/>
                </a:moveTo>
                <a:cubicBezTo>
                  <a:pt x="833" y="1895"/>
                  <a:pt x="833" y="1895"/>
                  <a:pt x="833" y="1902"/>
                </a:cubicBezTo>
                <a:cubicBezTo>
                  <a:pt x="833" y="1902"/>
                  <a:pt x="833" y="1902"/>
                  <a:pt x="833" y="1895"/>
                </a:cubicBezTo>
                <a:cubicBezTo>
                  <a:pt x="833" y="1895"/>
                  <a:pt x="833" y="1895"/>
                  <a:pt x="841" y="1895"/>
                </a:cubicBezTo>
                <a:cubicBezTo>
                  <a:pt x="841" y="1895"/>
                  <a:pt x="841" y="1895"/>
                  <a:pt x="841" y="1895"/>
                </a:cubicBezTo>
                <a:cubicBezTo>
                  <a:pt x="841" y="1887"/>
                  <a:pt x="833" y="1895"/>
                  <a:pt x="833" y="1895"/>
                </a:cubicBezTo>
                <a:close/>
                <a:moveTo>
                  <a:pt x="762" y="2059"/>
                </a:moveTo>
                <a:cubicBezTo>
                  <a:pt x="762" y="2059"/>
                  <a:pt x="762" y="2059"/>
                  <a:pt x="762" y="2067"/>
                </a:cubicBezTo>
                <a:cubicBezTo>
                  <a:pt x="762" y="2067"/>
                  <a:pt x="762" y="2067"/>
                  <a:pt x="762" y="2067"/>
                </a:cubicBezTo>
                <a:cubicBezTo>
                  <a:pt x="762" y="2059"/>
                  <a:pt x="762" y="2059"/>
                  <a:pt x="762" y="2059"/>
                </a:cubicBezTo>
                <a:close/>
                <a:moveTo>
                  <a:pt x="817" y="1965"/>
                </a:moveTo>
                <a:cubicBezTo>
                  <a:pt x="817" y="1957"/>
                  <a:pt x="817" y="1941"/>
                  <a:pt x="825" y="1926"/>
                </a:cubicBezTo>
                <a:cubicBezTo>
                  <a:pt x="825" y="1926"/>
                  <a:pt x="825" y="1926"/>
                  <a:pt x="825" y="1918"/>
                </a:cubicBezTo>
                <a:cubicBezTo>
                  <a:pt x="825" y="1918"/>
                  <a:pt x="825" y="1918"/>
                  <a:pt x="809" y="1965"/>
                </a:cubicBezTo>
                <a:cubicBezTo>
                  <a:pt x="809" y="1973"/>
                  <a:pt x="809" y="1973"/>
                  <a:pt x="809" y="1973"/>
                </a:cubicBezTo>
                <a:cubicBezTo>
                  <a:pt x="809" y="1973"/>
                  <a:pt x="809" y="1973"/>
                  <a:pt x="817" y="1957"/>
                </a:cubicBezTo>
                <a:cubicBezTo>
                  <a:pt x="817" y="1957"/>
                  <a:pt x="817" y="1957"/>
                  <a:pt x="817" y="1965"/>
                </a:cubicBezTo>
                <a:close/>
                <a:moveTo>
                  <a:pt x="40" y="1973"/>
                </a:moveTo>
                <a:cubicBezTo>
                  <a:pt x="40" y="1973"/>
                  <a:pt x="48" y="1973"/>
                  <a:pt x="48" y="1981"/>
                </a:cubicBezTo>
                <a:cubicBezTo>
                  <a:pt x="48" y="1981"/>
                  <a:pt x="48" y="1973"/>
                  <a:pt x="40" y="1973"/>
                </a:cubicBezTo>
                <a:close/>
                <a:moveTo>
                  <a:pt x="770" y="2161"/>
                </a:moveTo>
                <a:cubicBezTo>
                  <a:pt x="770" y="2161"/>
                  <a:pt x="770" y="2161"/>
                  <a:pt x="770" y="2161"/>
                </a:cubicBezTo>
                <a:cubicBezTo>
                  <a:pt x="770" y="2161"/>
                  <a:pt x="770" y="2161"/>
                  <a:pt x="770" y="2161"/>
                </a:cubicBezTo>
                <a:close/>
                <a:moveTo>
                  <a:pt x="770" y="2161"/>
                </a:moveTo>
                <a:cubicBezTo>
                  <a:pt x="778" y="2153"/>
                  <a:pt x="778" y="2161"/>
                  <a:pt x="778" y="2153"/>
                </a:cubicBezTo>
                <a:cubicBezTo>
                  <a:pt x="778" y="2153"/>
                  <a:pt x="770" y="2153"/>
                  <a:pt x="770" y="2153"/>
                </a:cubicBezTo>
                <a:cubicBezTo>
                  <a:pt x="770" y="2153"/>
                  <a:pt x="770" y="2153"/>
                  <a:pt x="770" y="2161"/>
                </a:cubicBezTo>
                <a:close/>
                <a:moveTo>
                  <a:pt x="95" y="2082"/>
                </a:moveTo>
                <a:cubicBezTo>
                  <a:pt x="95" y="2082"/>
                  <a:pt x="87" y="2075"/>
                  <a:pt x="87" y="2075"/>
                </a:cubicBezTo>
                <a:cubicBezTo>
                  <a:pt x="95" y="2082"/>
                  <a:pt x="95" y="2082"/>
                  <a:pt x="95" y="2082"/>
                </a:cubicBezTo>
                <a:close/>
                <a:moveTo>
                  <a:pt x="739" y="2239"/>
                </a:moveTo>
                <a:cubicBezTo>
                  <a:pt x="739" y="2239"/>
                  <a:pt x="739" y="2239"/>
                  <a:pt x="739" y="2239"/>
                </a:cubicBezTo>
                <a:cubicBezTo>
                  <a:pt x="739" y="2239"/>
                  <a:pt x="739" y="2239"/>
                  <a:pt x="731" y="2239"/>
                </a:cubicBezTo>
                <a:cubicBezTo>
                  <a:pt x="731" y="2239"/>
                  <a:pt x="731" y="2239"/>
                  <a:pt x="739" y="2239"/>
                </a:cubicBezTo>
                <a:close/>
                <a:moveTo>
                  <a:pt x="707" y="2301"/>
                </a:moveTo>
                <a:cubicBezTo>
                  <a:pt x="707" y="2301"/>
                  <a:pt x="707" y="2301"/>
                  <a:pt x="707" y="2301"/>
                </a:cubicBezTo>
                <a:cubicBezTo>
                  <a:pt x="707" y="2301"/>
                  <a:pt x="707" y="2301"/>
                  <a:pt x="723" y="2278"/>
                </a:cubicBezTo>
                <a:cubicBezTo>
                  <a:pt x="715" y="2278"/>
                  <a:pt x="715" y="2278"/>
                  <a:pt x="715" y="2278"/>
                </a:cubicBezTo>
                <a:cubicBezTo>
                  <a:pt x="715" y="2286"/>
                  <a:pt x="715" y="2286"/>
                  <a:pt x="707" y="2294"/>
                </a:cubicBezTo>
                <a:cubicBezTo>
                  <a:pt x="707" y="2294"/>
                  <a:pt x="707" y="2294"/>
                  <a:pt x="707" y="2294"/>
                </a:cubicBezTo>
                <a:cubicBezTo>
                  <a:pt x="707" y="2294"/>
                  <a:pt x="707" y="2294"/>
                  <a:pt x="707" y="2294"/>
                </a:cubicBezTo>
                <a:cubicBezTo>
                  <a:pt x="707" y="2294"/>
                  <a:pt x="707" y="2294"/>
                  <a:pt x="707" y="2294"/>
                </a:cubicBezTo>
                <a:cubicBezTo>
                  <a:pt x="707" y="2294"/>
                  <a:pt x="715" y="2286"/>
                  <a:pt x="715" y="2286"/>
                </a:cubicBezTo>
                <a:cubicBezTo>
                  <a:pt x="715" y="2294"/>
                  <a:pt x="707" y="2294"/>
                  <a:pt x="707" y="2301"/>
                </a:cubicBezTo>
                <a:close/>
                <a:moveTo>
                  <a:pt x="707" y="2294"/>
                </a:moveTo>
                <a:cubicBezTo>
                  <a:pt x="707" y="2286"/>
                  <a:pt x="715" y="2286"/>
                  <a:pt x="715" y="2286"/>
                </a:cubicBezTo>
                <a:cubicBezTo>
                  <a:pt x="715" y="2286"/>
                  <a:pt x="715" y="2286"/>
                  <a:pt x="707" y="2294"/>
                </a:cubicBezTo>
                <a:close/>
                <a:moveTo>
                  <a:pt x="833" y="2004"/>
                </a:moveTo>
                <a:cubicBezTo>
                  <a:pt x="833" y="2012"/>
                  <a:pt x="833" y="2012"/>
                  <a:pt x="833" y="2012"/>
                </a:cubicBezTo>
                <a:cubicBezTo>
                  <a:pt x="833" y="2012"/>
                  <a:pt x="833" y="2012"/>
                  <a:pt x="833" y="2012"/>
                </a:cubicBezTo>
                <a:cubicBezTo>
                  <a:pt x="833" y="2004"/>
                  <a:pt x="833" y="2012"/>
                  <a:pt x="833" y="2004"/>
                </a:cubicBezTo>
                <a:close/>
                <a:moveTo>
                  <a:pt x="833" y="2012"/>
                </a:moveTo>
                <a:cubicBezTo>
                  <a:pt x="833" y="2012"/>
                  <a:pt x="833" y="2012"/>
                  <a:pt x="833" y="2012"/>
                </a:cubicBezTo>
                <a:cubicBezTo>
                  <a:pt x="833" y="2028"/>
                  <a:pt x="833" y="2028"/>
                  <a:pt x="833" y="2028"/>
                </a:cubicBezTo>
                <a:cubicBezTo>
                  <a:pt x="833" y="2020"/>
                  <a:pt x="833" y="2028"/>
                  <a:pt x="833" y="2012"/>
                </a:cubicBezTo>
                <a:close/>
                <a:moveTo>
                  <a:pt x="801" y="2090"/>
                </a:moveTo>
                <a:cubicBezTo>
                  <a:pt x="801" y="2090"/>
                  <a:pt x="801" y="2090"/>
                  <a:pt x="809" y="2090"/>
                </a:cubicBezTo>
                <a:cubicBezTo>
                  <a:pt x="801" y="2090"/>
                  <a:pt x="801" y="2090"/>
                  <a:pt x="801" y="2090"/>
                </a:cubicBezTo>
                <a:close/>
                <a:moveTo>
                  <a:pt x="848" y="1926"/>
                </a:moveTo>
                <a:cubicBezTo>
                  <a:pt x="848" y="1926"/>
                  <a:pt x="848" y="1926"/>
                  <a:pt x="848" y="1926"/>
                </a:cubicBezTo>
                <a:cubicBezTo>
                  <a:pt x="841" y="1926"/>
                  <a:pt x="841" y="1926"/>
                  <a:pt x="841" y="1926"/>
                </a:cubicBezTo>
                <a:cubicBezTo>
                  <a:pt x="848" y="1926"/>
                  <a:pt x="848" y="1926"/>
                  <a:pt x="848" y="1926"/>
                </a:cubicBezTo>
                <a:close/>
                <a:moveTo>
                  <a:pt x="833" y="1957"/>
                </a:moveTo>
                <a:cubicBezTo>
                  <a:pt x="833" y="1957"/>
                  <a:pt x="833" y="1957"/>
                  <a:pt x="833" y="1957"/>
                </a:cubicBezTo>
                <a:cubicBezTo>
                  <a:pt x="833" y="1957"/>
                  <a:pt x="833" y="1957"/>
                  <a:pt x="833" y="1957"/>
                </a:cubicBezTo>
                <a:cubicBezTo>
                  <a:pt x="833" y="1957"/>
                  <a:pt x="833" y="1957"/>
                  <a:pt x="833" y="1957"/>
                </a:cubicBezTo>
                <a:close/>
                <a:moveTo>
                  <a:pt x="817" y="2059"/>
                </a:moveTo>
                <a:cubicBezTo>
                  <a:pt x="817" y="2059"/>
                  <a:pt x="817" y="2059"/>
                  <a:pt x="817" y="2059"/>
                </a:cubicBezTo>
                <a:cubicBezTo>
                  <a:pt x="817" y="2059"/>
                  <a:pt x="817" y="2059"/>
                  <a:pt x="817" y="2051"/>
                </a:cubicBezTo>
                <a:cubicBezTo>
                  <a:pt x="825" y="2043"/>
                  <a:pt x="825" y="2043"/>
                  <a:pt x="825" y="2051"/>
                </a:cubicBezTo>
                <a:cubicBezTo>
                  <a:pt x="825" y="2043"/>
                  <a:pt x="825" y="2035"/>
                  <a:pt x="825" y="2035"/>
                </a:cubicBezTo>
                <a:cubicBezTo>
                  <a:pt x="833" y="2028"/>
                  <a:pt x="833" y="2028"/>
                  <a:pt x="833" y="2028"/>
                </a:cubicBezTo>
                <a:cubicBezTo>
                  <a:pt x="833" y="2028"/>
                  <a:pt x="833" y="2028"/>
                  <a:pt x="825" y="2035"/>
                </a:cubicBezTo>
                <a:cubicBezTo>
                  <a:pt x="825" y="2035"/>
                  <a:pt x="825" y="2035"/>
                  <a:pt x="825" y="2028"/>
                </a:cubicBezTo>
                <a:cubicBezTo>
                  <a:pt x="833" y="2020"/>
                  <a:pt x="825" y="2020"/>
                  <a:pt x="833" y="2012"/>
                </a:cubicBezTo>
                <a:cubicBezTo>
                  <a:pt x="833" y="2012"/>
                  <a:pt x="833" y="2012"/>
                  <a:pt x="833" y="2012"/>
                </a:cubicBezTo>
                <a:cubicBezTo>
                  <a:pt x="817" y="2028"/>
                  <a:pt x="809" y="2067"/>
                  <a:pt x="809" y="2075"/>
                </a:cubicBezTo>
                <a:cubicBezTo>
                  <a:pt x="817" y="2059"/>
                  <a:pt x="817" y="2067"/>
                  <a:pt x="817" y="2059"/>
                </a:cubicBezTo>
                <a:cubicBezTo>
                  <a:pt x="817" y="2059"/>
                  <a:pt x="817" y="2059"/>
                  <a:pt x="817" y="2059"/>
                </a:cubicBezTo>
                <a:close/>
                <a:moveTo>
                  <a:pt x="739" y="2239"/>
                </a:moveTo>
                <a:cubicBezTo>
                  <a:pt x="739" y="2239"/>
                  <a:pt x="739" y="2239"/>
                  <a:pt x="739" y="2239"/>
                </a:cubicBezTo>
                <a:cubicBezTo>
                  <a:pt x="739" y="2247"/>
                  <a:pt x="739" y="2239"/>
                  <a:pt x="739" y="2247"/>
                </a:cubicBezTo>
                <a:cubicBezTo>
                  <a:pt x="739" y="2247"/>
                  <a:pt x="739" y="2239"/>
                  <a:pt x="739" y="2239"/>
                </a:cubicBezTo>
                <a:cubicBezTo>
                  <a:pt x="746" y="2239"/>
                  <a:pt x="746" y="2239"/>
                  <a:pt x="746" y="2239"/>
                </a:cubicBezTo>
                <a:cubicBezTo>
                  <a:pt x="746" y="2239"/>
                  <a:pt x="746" y="2239"/>
                  <a:pt x="746" y="2239"/>
                </a:cubicBezTo>
                <a:cubicBezTo>
                  <a:pt x="746" y="2223"/>
                  <a:pt x="746" y="2223"/>
                  <a:pt x="746" y="2223"/>
                </a:cubicBezTo>
                <a:cubicBezTo>
                  <a:pt x="746" y="2231"/>
                  <a:pt x="746" y="2231"/>
                  <a:pt x="746" y="2231"/>
                </a:cubicBezTo>
                <a:cubicBezTo>
                  <a:pt x="746" y="2231"/>
                  <a:pt x="746" y="2231"/>
                  <a:pt x="739" y="2239"/>
                </a:cubicBezTo>
                <a:cubicBezTo>
                  <a:pt x="739" y="2239"/>
                  <a:pt x="739" y="2239"/>
                  <a:pt x="739" y="2239"/>
                </a:cubicBezTo>
                <a:close/>
                <a:moveTo>
                  <a:pt x="809" y="2082"/>
                </a:moveTo>
                <a:cubicBezTo>
                  <a:pt x="817" y="2075"/>
                  <a:pt x="817" y="2075"/>
                  <a:pt x="809" y="2075"/>
                </a:cubicBezTo>
                <a:cubicBezTo>
                  <a:pt x="809" y="2075"/>
                  <a:pt x="809" y="2075"/>
                  <a:pt x="809" y="2082"/>
                </a:cubicBezTo>
                <a:cubicBezTo>
                  <a:pt x="809" y="2082"/>
                  <a:pt x="809" y="2082"/>
                  <a:pt x="809" y="2090"/>
                </a:cubicBezTo>
                <a:cubicBezTo>
                  <a:pt x="809" y="2090"/>
                  <a:pt x="809" y="2090"/>
                  <a:pt x="809" y="2090"/>
                </a:cubicBezTo>
                <a:cubicBezTo>
                  <a:pt x="809" y="2082"/>
                  <a:pt x="809" y="2082"/>
                  <a:pt x="809" y="2082"/>
                </a:cubicBezTo>
                <a:close/>
                <a:moveTo>
                  <a:pt x="833" y="2012"/>
                </a:moveTo>
                <a:cubicBezTo>
                  <a:pt x="825" y="2028"/>
                  <a:pt x="833" y="2020"/>
                  <a:pt x="825" y="2028"/>
                </a:cubicBezTo>
                <a:cubicBezTo>
                  <a:pt x="833" y="2020"/>
                  <a:pt x="833" y="2020"/>
                  <a:pt x="833" y="2012"/>
                </a:cubicBezTo>
                <a:close/>
                <a:moveTo>
                  <a:pt x="731" y="2255"/>
                </a:moveTo>
                <a:cubicBezTo>
                  <a:pt x="731" y="2247"/>
                  <a:pt x="731" y="2255"/>
                  <a:pt x="739" y="2247"/>
                </a:cubicBezTo>
                <a:cubicBezTo>
                  <a:pt x="731" y="2247"/>
                  <a:pt x="731" y="2247"/>
                  <a:pt x="731" y="2255"/>
                </a:cubicBezTo>
                <a:close/>
                <a:moveTo>
                  <a:pt x="244" y="2294"/>
                </a:moveTo>
                <a:cubicBezTo>
                  <a:pt x="244" y="2294"/>
                  <a:pt x="244" y="2294"/>
                  <a:pt x="244" y="2294"/>
                </a:cubicBezTo>
                <a:cubicBezTo>
                  <a:pt x="244" y="2294"/>
                  <a:pt x="244" y="2286"/>
                  <a:pt x="244" y="2286"/>
                </a:cubicBezTo>
                <a:cubicBezTo>
                  <a:pt x="244" y="2286"/>
                  <a:pt x="244" y="2294"/>
                  <a:pt x="244" y="2294"/>
                </a:cubicBezTo>
                <a:close/>
                <a:moveTo>
                  <a:pt x="228" y="2270"/>
                </a:moveTo>
                <a:cubicBezTo>
                  <a:pt x="236" y="2278"/>
                  <a:pt x="236" y="2278"/>
                  <a:pt x="244" y="2286"/>
                </a:cubicBezTo>
                <a:cubicBezTo>
                  <a:pt x="244" y="2286"/>
                  <a:pt x="244" y="2278"/>
                  <a:pt x="236" y="2278"/>
                </a:cubicBezTo>
                <a:cubicBezTo>
                  <a:pt x="236" y="2278"/>
                  <a:pt x="236" y="2278"/>
                  <a:pt x="228" y="2270"/>
                </a:cubicBezTo>
                <a:close/>
                <a:moveTo>
                  <a:pt x="181" y="2200"/>
                </a:moveTo>
                <a:cubicBezTo>
                  <a:pt x="189" y="2208"/>
                  <a:pt x="189" y="2208"/>
                  <a:pt x="189" y="2215"/>
                </a:cubicBezTo>
                <a:cubicBezTo>
                  <a:pt x="189" y="2215"/>
                  <a:pt x="189" y="2215"/>
                  <a:pt x="189" y="2208"/>
                </a:cubicBezTo>
                <a:cubicBezTo>
                  <a:pt x="189" y="2208"/>
                  <a:pt x="189" y="2208"/>
                  <a:pt x="181" y="2200"/>
                </a:cubicBezTo>
                <a:close/>
                <a:moveTo>
                  <a:pt x="150" y="2145"/>
                </a:moveTo>
                <a:cubicBezTo>
                  <a:pt x="158" y="2161"/>
                  <a:pt x="158" y="2161"/>
                  <a:pt x="158" y="2161"/>
                </a:cubicBezTo>
                <a:cubicBezTo>
                  <a:pt x="158" y="2161"/>
                  <a:pt x="158" y="2161"/>
                  <a:pt x="158" y="2161"/>
                </a:cubicBezTo>
                <a:cubicBezTo>
                  <a:pt x="150" y="2153"/>
                  <a:pt x="150" y="2153"/>
                  <a:pt x="150" y="2145"/>
                </a:cubicBezTo>
                <a:close/>
                <a:moveTo>
                  <a:pt x="126" y="2121"/>
                </a:moveTo>
                <a:cubicBezTo>
                  <a:pt x="126" y="2114"/>
                  <a:pt x="126" y="2114"/>
                  <a:pt x="118" y="2106"/>
                </a:cubicBezTo>
                <a:cubicBezTo>
                  <a:pt x="126" y="2114"/>
                  <a:pt x="126" y="2114"/>
                  <a:pt x="126" y="2121"/>
                </a:cubicBezTo>
                <a:close/>
                <a:moveTo>
                  <a:pt x="676" y="2192"/>
                </a:moveTo>
                <a:cubicBezTo>
                  <a:pt x="676" y="2192"/>
                  <a:pt x="676" y="2192"/>
                  <a:pt x="676" y="2192"/>
                </a:cubicBezTo>
                <a:cubicBezTo>
                  <a:pt x="676" y="2192"/>
                  <a:pt x="676" y="2192"/>
                  <a:pt x="676" y="2192"/>
                </a:cubicBezTo>
                <a:cubicBezTo>
                  <a:pt x="676" y="2184"/>
                  <a:pt x="676" y="2184"/>
                  <a:pt x="676" y="2184"/>
                </a:cubicBezTo>
                <a:cubicBezTo>
                  <a:pt x="676" y="2184"/>
                  <a:pt x="676" y="2184"/>
                  <a:pt x="676" y="2184"/>
                </a:cubicBezTo>
                <a:cubicBezTo>
                  <a:pt x="676" y="2184"/>
                  <a:pt x="676" y="2184"/>
                  <a:pt x="676" y="2184"/>
                </a:cubicBezTo>
                <a:cubicBezTo>
                  <a:pt x="676" y="2184"/>
                  <a:pt x="676" y="2184"/>
                  <a:pt x="676" y="2184"/>
                </a:cubicBezTo>
                <a:cubicBezTo>
                  <a:pt x="676" y="2192"/>
                  <a:pt x="676" y="2192"/>
                  <a:pt x="676" y="2192"/>
                </a:cubicBezTo>
                <a:cubicBezTo>
                  <a:pt x="676" y="2192"/>
                  <a:pt x="676" y="2192"/>
                  <a:pt x="676" y="2192"/>
                </a:cubicBezTo>
                <a:cubicBezTo>
                  <a:pt x="676" y="2192"/>
                  <a:pt x="676" y="2192"/>
                  <a:pt x="676" y="2192"/>
                </a:cubicBezTo>
                <a:close/>
                <a:moveTo>
                  <a:pt x="684" y="2168"/>
                </a:moveTo>
                <a:cubicBezTo>
                  <a:pt x="684" y="2168"/>
                  <a:pt x="684" y="2168"/>
                  <a:pt x="684" y="2168"/>
                </a:cubicBezTo>
                <a:cubicBezTo>
                  <a:pt x="684" y="2161"/>
                  <a:pt x="684" y="2161"/>
                  <a:pt x="684" y="2168"/>
                </a:cubicBezTo>
                <a:close/>
                <a:moveTo>
                  <a:pt x="597" y="2333"/>
                </a:moveTo>
                <a:cubicBezTo>
                  <a:pt x="605" y="2325"/>
                  <a:pt x="605" y="2325"/>
                  <a:pt x="605" y="2325"/>
                </a:cubicBezTo>
                <a:cubicBezTo>
                  <a:pt x="605" y="2325"/>
                  <a:pt x="605" y="2325"/>
                  <a:pt x="605" y="2317"/>
                </a:cubicBezTo>
                <a:cubicBezTo>
                  <a:pt x="605" y="2317"/>
                  <a:pt x="597" y="2325"/>
                  <a:pt x="597" y="2325"/>
                </a:cubicBezTo>
                <a:cubicBezTo>
                  <a:pt x="597" y="2325"/>
                  <a:pt x="597" y="2325"/>
                  <a:pt x="597" y="2325"/>
                </a:cubicBezTo>
                <a:cubicBezTo>
                  <a:pt x="597" y="2333"/>
                  <a:pt x="597" y="2333"/>
                  <a:pt x="597" y="2333"/>
                </a:cubicBezTo>
                <a:cubicBezTo>
                  <a:pt x="597" y="2333"/>
                  <a:pt x="589" y="2333"/>
                  <a:pt x="589" y="2341"/>
                </a:cubicBezTo>
                <a:cubicBezTo>
                  <a:pt x="597" y="2341"/>
                  <a:pt x="597" y="2341"/>
                  <a:pt x="597" y="2341"/>
                </a:cubicBezTo>
                <a:cubicBezTo>
                  <a:pt x="597" y="2341"/>
                  <a:pt x="597" y="2341"/>
                  <a:pt x="589" y="2341"/>
                </a:cubicBezTo>
                <a:cubicBezTo>
                  <a:pt x="597" y="2341"/>
                  <a:pt x="597" y="2341"/>
                  <a:pt x="597" y="2333"/>
                </a:cubicBezTo>
                <a:close/>
                <a:moveTo>
                  <a:pt x="550" y="2395"/>
                </a:moveTo>
                <a:cubicBezTo>
                  <a:pt x="558" y="2395"/>
                  <a:pt x="550" y="2403"/>
                  <a:pt x="558" y="2388"/>
                </a:cubicBezTo>
                <a:cubicBezTo>
                  <a:pt x="558" y="2388"/>
                  <a:pt x="558" y="2388"/>
                  <a:pt x="566" y="2388"/>
                </a:cubicBezTo>
                <a:cubicBezTo>
                  <a:pt x="558" y="2388"/>
                  <a:pt x="558" y="2388"/>
                  <a:pt x="550" y="2395"/>
                </a:cubicBezTo>
                <a:close/>
                <a:moveTo>
                  <a:pt x="550" y="2411"/>
                </a:moveTo>
                <a:cubicBezTo>
                  <a:pt x="550" y="2403"/>
                  <a:pt x="550" y="2403"/>
                  <a:pt x="550" y="2403"/>
                </a:cubicBezTo>
                <a:cubicBezTo>
                  <a:pt x="550" y="2403"/>
                  <a:pt x="550" y="2403"/>
                  <a:pt x="550" y="2411"/>
                </a:cubicBezTo>
                <a:close/>
                <a:moveTo>
                  <a:pt x="393" y="2341"/>
                </a:moveTo>
                <a:cubicBezTo>
                  <a:pt x="393" y="2341"/>
                  <a:pt x="393" y="2341"/>
                  <a:pt x="393" y="2341"/>
                </a:cubicBezTo>
                <a:cubicBezTo>
                  <a:pt x="393" y="2341"/>
                  <a:pt x="393" y="2341"/>
                  <a:pt x="393" y="2341"/>
                </a:cubicBezTo>
                <a:cubicBezTo>
                  <a:pt x="393" y="2341"/>
                  <a:pt x="393" y="2341"/>
                  <a:pt x="393" y="2341"/>
                </a:cubicBezTo>
                <a:close/>
                <a:moveTo>
                  <a:pt x="527" y="2442"/>
                </a:moveTo>
                <a:cubicBezTo>
                  <a:pt x="527" y="2442"/>
                  <a:pt x="527" y="2442"/>
                  <a:pt x="527" y="2442"/>
                </a:cubicBezTo>
                <a:cubicBezTo>
                  <a:pt x="527" y="2442"/>
                  <a:pt x="527" y="2442"/>
                  <a:pt x="527" y="2442"/>
                </a:cubicBezTo>
                <a:cubicBezTo>
                  <a:pt x="527" y="2442"/>
                  <a:pt x="527" y="2442"/>
                  <a:pt x="527" y="2442"/>
                </a:cubicBezTo>
                <a:close/>
                <a:moveTo>
                  <a:pt x="731" y="2106"/>
                </a:moveTo>
                <a:cubicBezTo>
                  <a:pt x="731" y="2090"/>
                  <a:pt x="739" y="2082"/>
                  <a:pt x="746" y="2067"/>
                </a:cubicBezTo>
                <a:cubicBezTo>
                  <a:pt x="746" y="2067"/>
                  <a:pt x="746" y="2067"/>
                  <a:pt x="731" y="2090"/>
                </a:cubicBezTo>
                <a:cubicBezTo>
                  <a:pt x="731" y="2090"/>
                  <a:pt x="731" y="2090"/>
                  <a:pt x="731" y="2090"/>
                </a:cubicBezTo>
                <a:cubicBezTo>
                  <a:pt x="731" y="2098"/>
                  <a:pt x="731" y="2098"/>
                  <a:pt x="731" y="2098"/>
                </a:cubicBezTo>
                <a:cubicBezTo>
                  <a:pt x="731" y="2098"/>
                  <a:pt x="731" y="2098"/>
                  <a:pt x="723" y="2106"/>
                </a:cubicBezTo>
                <a:cubicBezTo>
                  <a:pt x="715" y="2114"/>
                  <a:pt x="723" y="2114"/>
                  <a:pt x="723" y="2114"/>
                </a:cubicBezTo>
                <a:cubicBezTo>
                  <a:pt x="715" y="2121"/>
                  <a:pt x="715" y="2121"/>
                  <a:pt x="715" y="2121"/>
                </a:cubicBezTo>
                <a:cubicBezTo>
                  <a:pt x="715" y="2121"/>
                  <a:pt x="715" y="2121"/>
                  <a:pt x="715" y="2129"/>
                </a:cubicBezTo>
                <a:cubicBezTo>
                  <a:pt x="715" y="2129"/>
                  <a:pt x="715" y="2129"/>
                  <a:pt x="715" y="2137"/>
                </a:cubicBezTo>
                <a:cubicBezTo>
                  <a:pt x="715" y="2129"/>
                  <a:pt x="715" y="2129"/>
                  <a:pt x="723" y="2121"/>
                </a:cubicBezTo>
                <a:cubicBezTo>
                  <a:pt x="723" y="2114"/>
                  <a:pt x="723" y="2106"/>
                  <a:pt x="731" y="2106"/>
                </a:cubicBezTo>
                <a:close/>
                <a:moveTo>
                  <a:pt x="40" y="1957"/>
                </a:moveTo>
                <a:cubicBezTo>
                  <a:pt x="40" y="1957"/>
                  <a:pt x="40" y="1957"/>
                  <a:pt x="40" y="1957"/>
                </a:cubicBezTo>
                <a:cubicBezTo>
                  <a:pt x="40" y="1957"/>
                  <a:pt x="40" y="1957"/>
                  <a:pt x="48" y="1965"/>
                </a:cubicBezTo>
                <a:cubicBezTo>
                  <a:pt x="48" y="1957"/>
                  <a:pt x="48" y="1965"/>
                  <a:pt x="40" y="1957"/>
                </a:cubicBezTo>
                <a:close/>
                <a:moveTo>
                  <a:pt x="8" y="1949"/>
                </a:moveTo>
                <a:cubicBezTo>
                  <a:pt x="8" y="1957"/>
                  <a:pt x="8" y="1957"/>
                  <a:pt x="8" y="1957"/>
                </a:cubicBezTo>
                <a:cubicBezTo>
                  <a:pt x="16" y="1957"/>
                  <a:pt x="16" y="1957"/>
                  <a:pt x="16" y="1957"/>
                </a:cubicBezTo>
                <a:lnTo>
                  <a:pt x="8" y="1949"/>
                </a:lnTo>
                <a:close/>
                <a:moveTo>
                  <a:pt x="48" y="1981"/>
                </a:moveTo>
                <a:cubicBezTo>
                  <a:pt x="48" y="1973"/>
                  <a:pt x="48" y="1973"/>
                  <a:pt x="48" y="1973"/>
                </a:cubicBezTo>
                <a:cubicBezTo>
                  <a:pt x="48" y="1973"/>
                  <a:pt x="48" y="1981"/>
                  <a:pt x="48" y="1981"/>
                </a:cubicBezTo>
                <a:close/>
                <a:moveTo>
                  <a:pt x="71" y="1988"/>
                </a:moveTo>
                <a:cubicBezTo>
                  <a:pt x="71" y="1988"/>
                  <a:pt x="63" y="1988"/>
                  <a:pt x="55" y="1981"/>
                </a:cubicBezTo>
                <a:cubicBezTo>
                  <a:pt x="55" y="1973"/>
                  <a:pt x="55" y="1981"/>
                  <a:pt x="48" y="1981"/>
                </a:cubicBezTo>
                <a:cubicBezTo>
                  <a:pt x="55" y="1981"/>
                  <a:pt x="63" y="1988"/>
                  <a:pt x="71" y="1988"/>
                </a:cubicBezTo>
                <a:close/>
                <a:moveTo>
                  <a:pt x="8" y="1949"/>
                </a:moveTo>
                <a:cubicBezTo>
                  <a:pt x="8" y="1949"/>
                  <a:pt x="8" y="1949"/>
                  <a:pt x="8" y="1949"/>
                </a:cubicBezTo>
                <a:cubicBezTo>
                  <a:pt x="8" y="1949"/>
                  <a:pt x="8" y="1949"/>
                  <a:pt x="8" y="1949"/>
                </a:cubicBezTo>
                <a:cubicBezTo>
                  <a:pt x="8" y="1949"/>
                  <a:pt x="8" y="1949"/>
                  <a:pt x="8" y="1949"/>
                </a:cubicBezTo>
                <a:close/>
                <a:moveTo>
                  <a:pt x="48" y="1973"/>
                </a:moveTo>
                <a:cubicBezTo>
                  <a:pt x="55" y="1973"/>
                  <a:pt x="55" y="1973"/>
                  <a:pt x="55" y="1981"/>
                </a:cubicBezTo>
                <a:cubicBezTo>
                  <a:pt x="55" y="1973"/>
                  <a:pt x="55" y="1973"/>
                  <a:pt x="48" y="1973"/>
                </a:cubicBezTo>
                <a:close/>
                <a:moveTo>
                  <a:pt x="32" y="1965"/>
                </a:moveTo>
                <a:cubicBezTo>
                  <a:pt x="32" y="1965"/>
                  <a:pt x="32" y="1965"/>
                  <a:pt x="24" y="1965"/>
                </a:cubicBezTo>
                <a:cubicBezTo>
                  <a:pt x="32" y="1965"/>
                  <a:pt x="40" y="1965"/>
                  <a:pt x="48" y="1973"/>
                </a:cubicBezTo>
                <a:cubicBezTo>
                  <a:pt x="32" y="1965"/>
                  <a:pt x="24" y="1957"/>
                  <a:pt x="16" y="1957"/>
                </a:cubicBezTo>
                <a:lnTo>
                  <a:pt x="32" y="1965"/>
                </a:lnTo>
                <a:close/>
                <a:moveTo>
                  <a:pt x="24" y="1965"/>
                </a:moveTo>
                <a:cubicBezTo>
                  <a:pt x="24" y="1965"/>
                  <a:pt x="24" y="1965"/>
                  <a:pt x="16" y="1957"/>
                </a:cubicBezTo>
                <a:cubicBezTo>
                  <a:pt x="24" y="1965"/>
                  <a:pt x="24" y="1965"/>
                  <a:pt x="24" y="1965"/>
                </a:cubicBezTo>
                <a:close/>
                <a:moveTo>
                  <a:pt x="8" y="1957"/>
                </a:moveTo>
                <a:cubicBezTo>
                  <a:pt x="8" y="1957"/>
                  <a:pt x="8" y="1957"/>
                  <a:pt x="8" y="1957"/>
                </a:cubicBezTo>
                <a:cubicBezTo>
                  <a:pt x="8" y="1957"/>
                  <a:pt x="8" y="1957"/>
                  <a:pt x="0" y="1957"/>
                </a:cubicBezTo>
                <a:cubicBezTo>
                  <a:pt x="8" y="1957"/>
                  <a:pt x="8" y="1957"/>
                  <a:pt x="16" y="1965"/>
                </a:cubicBezTo>
                <a:cubicBezTo>
                  <a:pt x="16" y="1965"/>
                  <a:pt x="16" y="1965"/>
                  <a:pt x="24" y="1965"/>
                </a:cubicBezTo>
                <a:cubicBezTo>
                  <a:pt x="24" y="1965"/>
                  <a:pt x="24" y="1965"/>
                  <a:pt x="16" y="1957"/>
                </a:cubicBezTo>
                <a:cubicBezTo>
                  <a:pt x="24" y="1957"/>
                  <a:pt x="24" y="1957"/>
                  <a:pt x="24" y="1957"/>
                </a:cubicBezTo>
                <a:cubicBezTo>
                  <a:pt x="24" y="1957"/>
                  <a:pt x="24" y="1957"/>
                  <a:pt x="8" y="1957"/>
                </a:cubicBezTo>
                <a:close/>
                <a:moveTo>
                  <a:pt x="48" y="1988"/>
                </a:moveTo>
                <a:cubicBezTo>
                  <a:pt x="48" y="1988"/>
                  <a:pt x="48" y="1988"/>
                  <a:pt x="48" y="1988"/>
                </a:cubicBezTo>
                <a:cubicBezTo>
                  <a:pt x="40" y="1988"/>
                  <a:pt x="40" y="1988"/>
                  <a:pt x="40" y="1988"/>
                </a:cubicBezTo>
                <a:lnTo>
                  <a:pt x="48" y="1988"/>
                </a:lnTo>
                <a:close/>
                <a:moveTo>
                  <a:pt x="55" y="1988"/>
                </a:moveTo>
                <a:cubicBezTo>
                  <a:pt x="55" y="1996"/>
                  <a:pt x="55" y="1996"/>
                  <a:pt x="55" y="1996"/>
                </a:cubicBezTo>
                <a:cubicBezTo>
                  <a:pt x="55" y="1996"/>
                  <a:pt x="55" y="1996"/>
                  <a:pt x="55" y="1996"/>
                </a:cubicBezTo>
                <a:lnTo>
                  <a:pt x="55" y="1988"/>
                </a:lnTo>
                <a:close/>
                <a:moveTo>
                  <a:pt x="32" y="1981"/>
                </a:moveTo>
                <a:cubicBezTo>
                  <a:pt x="40" y="1988"/>
                  <a:pt x="40" y="1988"/>
                  <a:pt x="40" y="1988"/>
                </a:cubicBezTo>
                <a:cubicBezTo>
                  <a:pt x="40" y="1988"/>
                  <a:pt x="40" y="1988"/>
                  <a:pt x="40" y="1988"/>
                </a:cubicBezTo>
                <a:cubicBezTo>
                  <a:pt x="40" y="1981"/>
                  <a:pt x="40" y="1981"/>
                  <a:pt x="40" y="1981"/>
                </a:cubicBezTo>
                <a:lnTo>
                  <a:pt x="32" y="1981"/>
                </a:lnTo>
                <a:close/>
                <a:moveTo>
                  <a:pt x="87" y="2020"/>
                </a:moveTo>
                <a:cubicBezTo>
                  <a:pt x="87" y="2020"/>
                  <a:pt x="87" y="2020"/>
                  <a:pt x="87" y="2020"/>
                </a:cubicBezTo>
                <a:cubicBezTo>
                  <a:pt x="87" y="2020"/>
                  <a:pt x="87" y="2020"/>
                  <a:pt x="87" y="2020"/>
                </a:cubicBezTo>
                <a:close/>
                <a:moveTo>
                  <a:pt x="126" y="2059"/>
                </a:moveTo>
                <a:cubicBezTo>
                  <a:pt x="118" y="2059"/>
                  <a:pt x="118" y="2059"/>
                  <a:pt x="118" y="2051"/>
                </a:cubicBezTo>
                <a:cubicBezTo>
                  <a:pt x="118" y="2059"/>
                  <a:pt x="126" y="2059"/>
                  <a:pt x="126" y="2075"/>
                </a:cubicBezTo>
                <a:cubicBezTo>
                  <a:pt x="126" y="2075"/>
                  <a:pt x="126" y="2075"/>
                  <a:pt x="126" y="2059"/>
                </a:cubicBezTo>
                <a:close/>
                <a:moveTo>
                  <a:pt x="32" y="1981"/>
                </a:moveTo>
                <a:cubicBezTo>
                  <a:pt x="24" y="1973"/>
                  <a:pt x="24" y="1973"/>
                  <a:pt x="24" y="1973"/>
                </a:cubicBezTo>
                <a:cubicBezTo>
                  <a:pt x="32" y="1981"/>
                  <a:pt x="24" y="1981"/>
                  <a:pt x="32" y="1981"/>
                </a:cubicBezTo>
                <a:close/>
                <a:moveTo>
                  <a:pt x="24" y="1973"/>
                </a:moveTo>
                <a:cubicBezTo>
                  <a:pt x="24" y="1981"/>
                  <a:pt x="32" y="1981"/>
                  <a:pt x="32" y="1988"/>
                </a:cubicBezTo>
                <a:cubicBezTo>
                  <a:pt x="32" y="1981"/>
                  <a:pt x="32" y="1981"/>
                  <a:pt x="24" y="1973"/>
                </a:cubicBezTo>
                <a:close/>
                <a:moveTo>
                  <a:pt x="40" y="1996"/>
                </a:moveTo>
                <a:cubicBezTo>
                  <a:pt x="40" y="1996"/>
                  <a:pt x="40" y="1996"/>
                  <a:pt x="40" y="1996"/>
                </a:cubicBezTo>
                <a:cubicBezTo>
                  <a:pt x="40" y="1988"/>
                  <a:pt x="40" y="1988"/>
                  <a:pt x="40" y="1988"/>
                </a:cubicBezTo>
                <a:cubicBezTo>
                  <a:pt x="40" y="1988"/>
                  <a:pt x="40" y="1996"/>
                  <a:pt x="40" y="1996"/>
                </a:cubicBezTo>
                <a:close/>
                <a:moveTo>
                  <a:pt x="32" y="1988"/>
                </a:moveTo>
                <a:cubicBezTo>
                  <a:pt x="40" y="1988"/>
                  <a:pt x="40" y="1988"/>
                  <a:pt x="40" y="1996"/>
                </a:cubicBezTo>
                <a:cubicBezTo>
                  <a:pt x="40" y="1996"/>
                  <a:pt x="40" y="1996"/>
                  <a:pt x="40" y="1996"/>
                </a:cubicBezTo>
                <a:cubicBezTo>
                  <a:pt x="48" y="1996"/>
                  <a:pt x="48" y="1996"/>
                  <a:pt x="55" y="1996"/>
                </a:cubicBezTo>
                <a:cubicBezTo>
                  <a:pt x="40" y="1988"/>
                  <a:pt x="40" y="1988"/>
                  <a:pt x="32" y="1988"/>
                </a:cubicBezTo>
                <a:close/>
                <a:moveTo>
                  <a:pt x="95" y="2028"/>
                </a:moveTo>
                <a:cubicBezTo>
                  <a:pt x="95" y="2028"/>
                  <a:pt x="95" y="2028"/>
                  <a:pt x="87" y="2028"/>
                </a:cubicBezTo>
                <a:cubicBezTo>
                  <a:pt x="95" y="2028"/>
                  <a:pt x="87" y="2028"/>
                  <a:pt x="95" y="2028"/>
                </a:cubicBezTo>
                <a:close/>
                <a:moveTo>
                  <a:pt x="63" y="2012"/>
                </a:moveTo>
                <a:cubicBezTo>
                  <a:pt x="63" y="2012"/>
                  <a:pt x="63" y="2012"/>
                  <a:pt x="63" y="2012"/>
                </a:cubicBezTo>
                <a:cubicBezTo>
                  <a:pt x="63" y="2012"/>
                  <a:pt x="63" y="2012"/>
                  <a:pt x="79" y="2028"/>
                </a:cubicBezTo>
                <a:cubicBezTo>
                  <a:pt x="79" y="2028"/>
                  <a:pt x="79" y="2028"/>
                  <a:pt x="79" y="2028"/>
                </a:cubicBezTo>
                <a:cubicBezTo>
                  <a:pt x="79" y="2028"/>
                  <a:pt x="79" y="2028"/>
                  <a:pt x="71" y="2012"/>
                </a:cubicBezTo>
                <a:cubicBezTo>
                  <a:pt x="71" y="2012"/>
                  <a:pt x="71" y="2012"/>
                  <a:pt x="55" y="2004"/>
                </a:cubicBezTo>
                <a:cubicBezTo>
                  <a:pt x="55" y="2004"/>
                  <a:pt x="55" y="2004"/>
                  <a:pt x="63" y="2012"/>
                </a:cubicBezTo>
                <a:close/>
                <a:moveTo>
                  <a:pt x="71" y="2012"/>
                </a:moveTo>
                <a:cubicBezTo>
                  <a:pt x="79" y="2020"/>
                  <a:pt x="79" y="2020"/>
                  <a:pt x="79" y="2020"/>
                </a:cubicBezTo>
                <a:cubicBezTo>
                  <a:pt x="79" y="2020"/>
                  <a:pt x="79" y="2020"/>
                  <a:pt x="87" y="2028"/>
                </a:cubicBezTo>
                <a:cubicBezTo>
                  <a:pt x="87" y="2020"/>
                  <a:pt x="87" y="2020"/>
                  <a:pt x="87" y="2020"/>
                </a:cubicBezTo>
                <a:cubicBezTo>
                  <a:pt x="79" y="2012"/>
                  <a:pt x="79" y="2020"/>
                  <a:pt x="71" y="2012"/>
                </a:cubicBezTo>
                <a:close/>
                <a:moveTo>
                  <a:pt x="95" y="2028"/>
                </a:moveTo>
                <a:cubicBezTo>
                  <a:pt x="95" y="2028"/>
                  <a:pt x="95" y="2028"/>
                  <a:pt x="87" y="2028"/>
                </a:cubicBezTo>
                <a:cubicBezTo>
                  <a:pt x="87" y="2028"/>
                  <a:pt x="103" y="2035"/>
                  <a:pt x="103" y="2043"/>
                </a:cubicBezTo>
                <a:cubicBezTo>
                  <a:pt x="103" y="2035"/>
                  <a:pt x="103" y="2035"/>
                  <a:pt x="95" y="2028"/>
                </a:cubicBezTo>
                <a:close/>
                <a:moveTo>
                  <a:pt x="87" y="2028"/>
                </a:moveTo>
                <a:cubicBezTo>
                  <a:pt x="87" y="2028"/>
                  <a:pt x="87" y="2028"/>
                  <a:pt x="87" y="2028"/>
                </a:cubicBezTo>
                <a:cubicBezTo>
                  <a:pt x="87" y="2028"/>
                  <a:pt x="87" y="2028"/>
                  <a:pt x="87" y="2028"/>
                </a:cubicBezTo>
                <a:cubicBezTo>
                  <a:pt x="87" y="2028"/>
                  <a:pt x="87" y="2028"/>
                  <a:pt x="87" y="2028"/>
                </a:cubicBezTo>
                <a:cubicBezTo>
                  <a:pt x="87" y="2028"/>
                  <a:pt x="87" y="2028"/>
                  <a:pt x="87" y="2028"/>
                </a:cubicBezTo>
                <a:close/>
                <a:moveTo>
                  <a:pt x="55" y="1996"/>
                </a:moveTo>
                <a:cubicBezTo>
                  <a:pt x="55" y="1996"/>
                  <a:pt x="55" y="1996"/>
                  <a:pt x="40" y="1996"/>
                </a:cubicBezTo>
                <a:cubicBezTo>
                  <a:pt x="48" y="1996"/>
                  <a:pt x="48" y="2004"/>
                  <a:pt x="55" y="2004"/>
                </a:cubicBezTo>
                <a:cubicBezTo>
                  <a:pt x="55" y="2004"/>
                  <a:pt x="55" y="2004"/>
                  <a:pt x="55" y="2004"/>
                </a:cubicBezTo>
                <a:cubicBezTo>
                  <a:pt x="55" y="2004"/>
                  <a:pt x="55" y="2004"/>
                  <a:pt x="55" y="1996"/>
                </a:cubicBezTo>
                <a:close/>
                <a:moveTo>
                  <a:pt x="0" y="1973"/>
                </a:moveTo>
                <a:cubicBezTo>
                  <a:pt x="0" y="1973"/>
                  <a:pt x="0" y="1973"/>
                  <a:pt x="8" y="1973"/>
                </a:cubicBezTo>
                <a:cubicBezTo>
                  <a:pt x="8" y="1973"/>
                  <a:pt x="8" y="1973"/>
                  <a:pt x="8" y="1973"/>
                </a:cubicBezTo>
                <a:cubicBezTo>
                  <a:pt x="8" y="1973"/>
                  <a:pt x="8" y="1973"/>
                  <a:pt x="0" y="1973"/>
                </a:cubicBezTo>
                <a:cubicBezTo>
                  <a:pt x="8" y="1973"/>
                  <a:pt x="0" y="1973"/>
                  <a:pt x="0" y="1973"/>
                </a:cubicBezTo>
                <a:close/>
                <a:moveTo>
                  <a:pt x="8" y="1981"/>
                </a:moveTo>
                <a:cubicBezTo>
                  <a:pt x="8" y="1988"/>
                  <a:pt x="8" y="1988"/>
                  <a:pt x="8" y="1988"/>
                </a:cubicBezTo>
                <a:cubicBezTo>
                  <a:pt x="16" y="1988"/>
                  <a:pt x="16" y="1988"/>
                  <a:pt x="16" y="1988"/>
                </a:cubicBezTo>
                <a:cubicBezTo>
                  <a:pt x="8" y="1981"/>
                  <a:pt x="8" y="1981"/>
                  <a:pt x="8" y="1981"/>
                </a:cubicBezTo>
                <a:close/>
                <a:moveTo>
                  <a:pt x="24" y="1988"/>
                </a:moveTo>
                <a:cubicBezTo>
                  <a:pt x="16" y="1988"/>
                  <a:pt x="16" y="1988"/>
                  <a:pt x="8" y="1988"/>
                </a:cubicBezTo>
                <a:lnTo>
                  <a:pt x="24" y="1988"/>
                </a:lnTo>
                <a:close/>
                <a:moveTo>
                  <a:pt x="103" y="2090"/>
                </a:moveTo>
                <a:cubicBezTo>
                  <a:pt x="103" y="2090"/>
                  <a:pt x="103" y="2090"/>
                  <a:pt x="103" y="2090"/>
                </a:cubicBezTo>
                <a:cubicBezTo>
                  <a:pt x="103" y="2090"/>
                  <a:pt x="103" y="2090"/>
                  <a:pt x="110" y="2090"/>
                </a:cubicBezTo>
                <a:cubicBezTo>
                  <a:pt x="110" y="2090"/>
                  <a:pt x="110" y="2090"/>
                  <a:pt x="103" y="2082"/>
                </a:cubicBezTo>
                <a:cubicBezTo>
                  <a:pt x="103" y="2090"/>
                  <a:pt x="103" y="2090"/>
                  <a:pt x="103" y="2090"/>
                </a:cubicBezTo>
                <a:close/>
                <a:moveTo>
                  <a:pt x="103" y="2082"/>
                </a:moveTo>
                <a:cubicBezTo>
                  <a:pt x="103" y="2082"/>
                  <a:pt x="103" y="2082"/>
                  <a:pt x="103" y="2082"/>
                </a:cubicBezTo>
                <a:cubicBezTo>
                  <a:pt x="103" y="2082"/>
                  <a:pt x="103" y="2082"/>
                  <a:pt x="103" y="2082"/>
                </a:cubicBezTo>
                <a:close/>
                <a:moveTo>
                  <a:pt x="103" y="2082"/>
                </a:moveTo>
                <a:cubicBezTo>
                  <a:pt x="103" y="2082"/>
                  <a:pt x="103" y="2082"/>
                  <a:pt x="103" y="2082"/>
                </a:cubicBezTo>
                <a:cubicBezTo>
                  <a:pt x="110" y="2082"/>
                  <a:pt x="110" y="2082"/>
                  <a:pt x="110" y="2082"/>
                </a:cubicBezTo>
                <a:cubicBezTo>
                  <a:pt x="95" y="2075"/>
                  <a:pt x="95" y="2075"/>
                  <a:pt x="95" y="2075"/>
                </a:cubicBezTo>
                <a:cubicBezTo>
                  <a:pt x="103" y="2075"/>
                  <a:pt x="103" y="2075"/>
                  <a:pt x="103" y="2075"/>
                </a:cubicBezTo>
                <a:cubicBezTo>
                  <a:pt x="103" y="2082"/>
                  <a:pt x="103" y="2082"/>
                  <a:pt x="103" y="2082"/>
                </a:cubicBezTo>
                <a:close/>
                <a:moveTo>
                  <a:pt x="95" y="2075"/>
                </a:moveTo>
                <a:cubicBezTo>
                  <a:pt x="87" y="2067"/>
                  <a:pt x="87" y="2067"/>
                  <a:pt x="87" y="2067"/>
                </a:cubicBezTo>
                <a:cubicBezTo>
                  <a:pt x="87" y="2075"/>
                  <a:pt x="87" y="2075"/>
                  <a:pt x="87" y="2075"/>
                </a:cubicBezTo>
                <a:cubicBezTo>
                  <a:pt x="95" y="2075"/>
                  <a:pt x="95" y="2075"/>
                  <a:pt x="95" y="2075"/>
                </a:cubicBezTo>
                <a:close/>
                <a:moveTo>
                  <a:pt x="87" y="2067"/>
                </a:moveTo>
                <a:cubicBezTo>
                  <a:pt x="79" y="2067"/>
                  <a:pt x="87" y="2067"/>
                  <a:pt x="87" y="2075"/>
                </a:cubicBezTo>
                <a:cubicBezTo>
                  <a:pt x="87" y="2067"/>
                  <a:pt x="87" y="2075"/>
                  <a:pt x="87" y="2067"/>
                </a:cubicBezTo>
                <a:close/>
                <a:moveTo>
                  <a:pt x="95" y="2090"/>
                </a:moveTo>
                <a:cubicBezTo>
                  <a:pt x="95" y="2090"/>
                  <a:pt x="95" y="2082"/>
                  <a:pt x="95" y="2082"/>
                </a:cubicBezTo>
                <a:cubicBezTo>
                  <a:pt x="95" y="2082"/>
                  <a:pt x="95" y="2082"/>
                  <a:pt x="95" y="2090"/>
                </a:cubicBezTo>
                <a:close/>
                <a:moveTo>
                  <a:pt x="158" y="2161"/>
                </a:moveTo>
                <a:cubicBezTo>
                  <a:pt x="158" y="2168"/>
                  <a:pt x="158" y="2168"/>
                  <a:pt x="158" y="2168"/>
                </a:cubicBezTo>
                <a:cubicBezTo>
                  <a:pt x="158" y="2168"/>
                  <a:pt x="158" y="2161"/>
                  <a:pt x="158" y="2161"/>
                </a:cubicBezTo>
                <a:cubicBezTo>
                  <a:pt x="158" y="2161"/>
                  <a:pt x="158" y="2161"/>
                  <a:pt x="158" y="2161"/>
                </a:cubicBezTo>
                <a:close/>
                <a:moveTo>
                  <a:pt x="699" y="2317"/>
                </a:moveTo>
                <a:cubicBezTo>
                  <a:pt x="691" y="2317"/>
                  <a:pt x="691" y="2317"/>
                  <a:pt x="691" y="2317"/>
                </a:cubicBezTo>
                <a:cubicBezTo>
                  <a:pt x="691" y="2325"/>
                  <a:pt x="691" y="2325"/>
                  <a:pt x="691" y="2325"/>
                </a:cubicBezTo>
                <a:lnTo>
                  <a:pt x="699" y="2317"/>
                </a:lnTo>
                <a:close/>
                <a:moveTo>
                  <a:pt x="212" y="2247"/>
                </a:moveTo>
                <a:cubicBezTo>
                  <a:pt x="212" y="2247"/>
                  <a:pt x="212" y="2247"/>
                  <a:pt x="212" y="2247"/>
                </a:cubicBezTo>
                <a:cubicBezTo>
                  <a:pt x="212" y="2239"/>
                  <a:pt x="212" y="2239"/>
                  <a:pt x="212" y="2239"/>
                </a:cubicBezTo>
                <a:lnTo>
                  <a:pt x="212" y="2247"/>
                </a:lnTo>
                <a:close/>
                <a:moveTo>
                  <a:pt x="676" y="2356"/>
                </a:moveTo>
                <a:cubicBezTo>
                  <a:pt x="676" y="2356"/>
                  <a:pt x="676" y="2356"/>
                  <a:pt x="676" y="2348"/>
                </a:cubicBezTo>
                <a:cubicBezTo>
                  <a:pt x="676" y="2348"/>
                  <a:pt x="676" y="2348"/>
                  <a:pt x="668" y="2364"/>
                </a:cubicBezTo>
                <a:lnTo>
                  <a:pt x="676" y="2356"/>
                </a:lnTo>
                <a:close/>
                <a:moveTo>
                  <a:pt x="652" y="2395"/>
                </a:moveTo>
                <a:cubicBezTo>
                  <a:pt x="644" y="2395"/>
                  <a:pt x="644" y="2395"/>
                  <a:pt x="644" y="2395"/>
                </a:cubicBezTo>
                <a:cubicBezTo>
                  <a:pt x="644" y="2403"/>
                  <a:pt x="644" y="2403"/>
                  <a:pt x="644" y="2403"/>
                </a:cubicBezTo>
                <a:lnTo>
                  <a:pt x="652" y="2395"/>
                </a:lnTo>
                <a:close/>
                <a:moveTo>
                  <a:pt x="770" y="2176"/>
                </a:moveTo>
                <a:cubicBezTo>
                  <a:pt x="778" y="2176"/>
                  <a:pt x="778" y="2176"/>
                  <a:pt x="778" y="2176"/>
                </a:cubicBezTo>
                <a:cubicBezTo>
                  <a:pt x="770" y="2176"/>
                  <a:pt x="770" y="2176"/>
                  <a:pt x="770" y="2176"/>
                </a:cubicBezTo>
                <a:close/>
                <a:moveTo>
                  <a:pt x="778" y="2184"/>
                </a:moveTo>
                <a:cubicBezTo>
                  <a:pt x="778" y="2184"/>
                  <a:pt x="770" y="2176"/>
                  <a:pt x="770" y="2176"/>
                </a:cubicBezTo>
                <a:cubicBezTo>
                  <a:pt x="770" y="2176"/>
                  <a:pt x="770" y="2184"/>
                  <a:pt x="770" y="2184"/>
                </a:cubicBezTo>
                <a:cubicBezTo>
                  <a:pt x="770" y="2184"/>
                  <a:pt x="770" y="2184"/>
                  <a:pt x="778" y="2184"/>
                </a:cubicBezTo>
                <a:close/>
                <a:moveTo>
                  <a:pt x="770" y="2184"/>
                </a:moveTo>
                <a:cubicBezTo>
                  <a:pt x="770" y="2184"/>
                  <a:pt x="762" y="2192"/>
                  <a:pt x="770" y="2184"/>
                </a:cubicBezTo>
                <a:close/>
                <a:moveTo>
                  <a:pt x="762" y="2208"/>
                </a:moveTo>
                <a:cubicBezTo>
                  <a:pt x="762" y="2200"/>
                  <a:pt x="762" y="2200"/>
                  <a:pt x="762" y="2200"/>
                </a:cubicBezTo>
                <a:cubicBezTo>
                  <a:pt x="754" y="2208"/>
                  <a:pt x="754" y="2208"/>
                  <a:pt x="754" y="2208"/>
                </a:cubicBezTo>
                <a:lnTo>
                  <a:pt x="762" y="2208"/>
                </a:lnTo>
                <a:close/>
                <a:moveTo>
                  <a:pt x="676" y="2364"/>
                </a:moveTo>
                <a:cubicBezTo>
                  <a:pt x="676" y="2364"/>
                  <a:pt x="676" y="2364"/>
                  <a:pt x="676" y="2364"/>
                </a:cubicBezTo>
                <a:cubicBezTo>
                  <a:pt x="668" y="2364"/>
                  <a:pt x="668" y="2364"/>
                  <a:pt x="668" y="2372"/>
                </a:cubicBezTo>
                <a:cubicBezTo>
                  <a:pt x="676" y="2372"/>
                  <a:pt x="668" y="2372"/>
                  <a:pt x="676" y="2364"/>
                </a:cubicBezTo>
                <a:close/>
                <a:moveTo>
                  <a:pt x="676" y="2364"/>
                </a:moveTo>
                <a:cubicBezTo>
                  <a:pt x="676" y="2356"/>
                  <a:pt x="676" y="2356"/>
                  <a:pt x="676" y="2356"/>
                </a:cubicBezTo>
                <a:cubicBezTo>
                  <a:pt x="676" y="2356"/>
                  <a:pt x="676" y="2356"/>
                  <a:pt x="676" y="2356"/>
                </a:cubicBezTo>
                <a:cubicBezTo>
                  <a:pt x="676" y="2356"/>
                  <a:pt x="676" y="2364"/>
                  <a:pt x="676" y="2364"/>
                </a:cubicBezTo>
                <a:cubicBezTo>
                  <a:pt x="676" y="2364"/>
                  <a:pt x="676" y="2364"/>
                  <a:pt x="676" y="2364"/>
                </a:cubicBezTo>
                <a:close/>
                <a:moveTo>
                  <a:pt x="283" y="2341"/>
                </a:moveTo>
                <a:cubicBezTo>
                  <a:pt x="283" y="2341"/>
                  <a:pt x="283" y="2341"/>
                  <a:pt x="275" y="2341"/>
                </a:cubicBezTo>
                <a:cubicBezTo>
                  <a:pt x="283" y="2341"/>
                  <a:pt x="283" y="2341"/>
                  <a:pt x="283" y="2341"/>
                </a:cubicBezTo>
                <a:cubicBezTo>
                  <a:pt x="283" y="2341"/>
                  <a:pt x="283" y="2341"/>
                  <a:pt x="283" y="2341"/>
                </a:cubicBezTo>
                <a:close/>
                <a:moveTo>
                  <a:pt x="275" y="2325"/>
                </a:moveTo>
                <a:cubicBezTo>
                  <a:pt x="275" y="2325"/>
                  <a:pt x="275" y="2325"/>
                  <a:pt x="275" y="2325"/>
                </a:cubicBezTo>
                <a:cubicBezTo>
                  <a:pt x="267" y="2325"/>
                  <a:pt x="267" y="2325"/>
                  <a:pt x="267" y="2325"/>
                </a:cubicBezTo>
                <a:cubicBezTo>
                  <a:pt x="267" y="2325"/>
                  <a:pt x="267" y="2325"/>
                  <a:pt x="275" y="2333"/>
                </a:cubicBezTo>
                <a:cubicBezTo>
                  <a:pt x="275" y="2333"/>
                  <a:pt x="275" y="2333"/>
                  <a:pt x="275" y="2333"/>
                </a:cubicBezTo>
                <a:cubicBezTo>
                  <a:pt x="275" y="2333"/>
                  <a:pt x="275" y="2333"/>
                  <a:pt x="275" y="2333"/>
                </a:cubicBezTo>
                <a:cubicBezTo>
                  <a:pt x="275" y="2333"/>
                  <a:pt x="275" y="2341"/>
                  <a:pt x="275" y="2341"/>
                </a:cubicBezTo>
                <a:cubicBezTo>
                  <a:pt x="275" y="2341"/>
                  <a:pt x="275" y="2341"/>
                  <a:pt x="275" y="2341"/>
                </a:cubicBezTo>
                <a:cubicBezTo>
                  <a:pt x="275" y="2333"/>
                  <a:pt x="275" y="2333"/>
                  <a:pt x="275" y="2325"/>
                </a:cubicBezTo>
                <a:close/>
                <a:moveTo>
                  <a:pt x="291" y="2348"/>
                </a:moveTo>
                <a:cubicBezTo>
                  <a:pt x="291" y="2348"/>
                  <a:pt x="291" y="2348"/>
                  <a:pt x="291" y="2356"/>
                </a:cubicBezTo>
                <a:cubicBezTo>
                  <a:pt x="291" y="2341"/>
                  <a:pt x="291" y="2348"/>
                  <a:pt x="291" y="2348"/>
                </a:cubicBezTo>
                <a:close/>
                <a:moveTo>
                  <a:pt x="275" y="2341"/>
                </a:moveTo>
                <a:cubicBezTo>
                  <a:pt x="283" y="2341"/>
                  <a:pt x="275" y="2341"/>
                  <a:pt x="283" y="2341"/>
                </a:cubicBezTo>
                <a:cubicBezTo>
                  <a:pt x="283" y="2341"/>
                  <a:pt x="283" y="2341"/>
                  <a:pt x="283" y="2341"/>
                </a:cubicBezTo>
                <a:cubicBezTo>
                  <a:pt x="283" y="2341"/>
                  <a:pt x="283" y="2341"/>
                  <a:pt x="283" y="2341"/>
                </a:cubicBezTo>
                <a:cubicBezTo>
                  <a:pt x="283" y="2341"/>
                  <a:pt x="275" y="2341"/>
                  <a:pt x="275" y="2341"/>
                </a:cubicBezTo>
                <a:close/>
                <a:moveTo>
                  <a:pt x="291" y="2356"/>
                </a:moveTo>
                <a:cubicBezTo>
                  <a:pt x="291" y="2356"/>
                  <a:pt x="291" y="2356"/>
                  <a:pt x="291" y="2356"/>
                </a:cubicBezTo>
                <a:cubicBezTo>
                  <a:pt x="291" y="2356"/>
                  <a:pt x="291" y="2356"/>
                  <a:pt x="291" y="2356"/>
                </a:cubicBezTo>
                <a:cubicBezTo>
                  <a:pt x="291" y="2356"/>
                  <a:pt x="291" y="2356"/>
                  <a:pt x="291" y="2356"/>
                </a:cubicBezTo>
                <a:close/>
                <a:moveTo>
                  <a:pt x="252" y="2309"/>
                </a:moveTo>
                <a:cubicBezTo>
                  <a:pt x="244" y="2301"/>
                  <a:pt x="244" y="2301"/>
                  <a:pt x="244" y="2301"/>
                </a:cubicBezTo>
                <a:cubicBezTo>
                  <a:pt x="244" y="2294"/>
                  <a:pt x="236" y="2286"/>
                  <a:pt x="244" y="2286"/>
                </a:cubicBezTo>
                <a:cubicBezTo>
                  <a:pt x="244" y="2286"/>
                  <a:pt x="244" y="2286"/>
                  <a:pt x="228" y="2286"/>
                </a:cubicBezTo>
                <a:cubicBezTo>
                  <a:pt x="244" y="2301"/>
                  <a:pt x="252" y="2309"/>
                  <a:pt x="260" y="2317"/>
                </a:cubicBezTo>
                <a:cubicBezTo>
                  <a:pt x="260" y="2317"/>
                  <a:pt x="260" y="2309"/>
                  <a:pt x="260" y="2309"/>
                </a:cubicBezTo>
                <a:cubicBezTo>
                  <a:pt x="252" y="2301"/>
                  <a:pt x="252" y="2301"/>
                  <a:pt x="252" y="2309"/>
                </a:cubicBezTo>
                <a:close/>
                <a:moveTo>
                  <a:pt x="322" y="2380"/>
                </a:moveTo>
                <a:cubicBezTo>
                  <a:pt x="315" y="2372"/>
                  <a:pt x="322" y="2380"/>
                  <a:pt x="315" y="2372"/>
                </a:cubicBezTo>
                <a:cubicBezTo>
                  <a:pt x="315" y="2372"/>
                  <a:pt x="315" y="2372"/>
                  <a:pt x="315" y="2380"/>
                </a:cubicBezTo>
                <a:cubicBezTo>
                  <a:pt x="322" y="2388"/>
                  <a:pt x="322" y="2380"/>
                  <a:pt x="322" y="2388"/>
                </a:cubicBezTo>
                <a:cubicBezTo>
                  <a:pt x="322" y="2388"/>
                  <a:pt x="322" y="2388"/>
                  <a:pt x="322" y="2388"/>
                </a:cubicBezTo>
                <a:cubicBezTo>
                  <a:pt x="322" y="2388"/>
                  <a:pt x="322" y="2388"/>
                  <a:pt x="322" y="2380"/>
                </a:cubicBezTo>
                <a:close/>
                <a:moveTo>
                  <a:pt x="197" y="2231"/>
                </a:moveTo>
                <a:cubicBezTo>
                  <a:pt x="197" y="2231"/>
                  <a:pt x="197" y="2231"/>
                  <a:pt x="197" y="2231"/>
                </a:cubicBezTo>
                <a:cubicBezTo>
                  <a:pt x="197" y="2231"/>
                  <a:pt x="197" y="2231"/>
                  <a:pt x="197" y="2231"/>
                </a:cubicBezTo>
                <a:close/>
                <a:moveTo>
                  <a:pt x="197" y="2239"/>
                </a:moveTo>
                <a:cubicBezTo>
                  <a:pt x="197" y="2239"/>
                  <a:pt x="197" y="2239"/>
                  <a:pt x="197" y="2239"/>
                </a:cubicBezTo>
                <a:cubicBezTo>
                  <a:pt x="197" y="2239"/>
                  <a:pt x="197" y="2239"/>
                  <a:pt x="197" y="2239"/>
                </a:cubicBezTo>
                <a:cubicBezTo>
                  <a:pt x="197" y="2239"/>
                  <a:pt x="205" y="2239"/>
                  <a:pt x="205" y="2239"/>
                </a:cubicBezTo>
                <a:cubicBezTo>
                  <a:pt x="205" y="2239"/>
                  <a:pt x="205" y="2239"/>
                  <a:pt x="205" y="2239"/>
                </a:cubicBezTo>
                <a:cubicBezTo>
                  <a:pt x="197" y="2231"/>
                  <a:pt x="197" y="2231"/>
                  <a:pt x="197" y="2231"/>
                </a:cubicBezTo>
                <a:cubicBezTo>
                  <a:pt x="197" y="2231"/>
                  <a:pt x="197" y="2239"/>
                  <a:pt x="197" y="2239"/>
                </a:cubicBezTo>
                <a:close/>
                <a:moveTo>
                  <a:pt x="362" y="2427"/>
                </a:moveTo>
                <a:cubicBezTo>
                  <a:pt x="354" y="2419"/>
                  <a:pt x="354" y="2419"/>
                  <a:pt x="354" y="2419"/>
                </a:cubicBezTo>
                <a:cubicBezTo>
                  <a:pt x="354" y="2427"/>
                  <a:pt x="354" y="2427"/>
                  <a:pt x="354" y="2427"/>
                </a:cubicBezTo>
                <a:lnTo>
                  <a:pt x="362" y="2427"/>
                </a:lnTo>
                <a:close/>
                <a:moveTo>
                  <a:pt x="393" y="2474"/>
                </a:moveTo>
                <a:cubicBezTo>
                  <a:pt x="393" y="2474"/>
                  <a:pt x="393" y="2466"/>
                  <a:pt x="393" y="2466"/>
                </a:cubicBezTo>
                <a:cubicBezTo>
                  <a:pt x="393" y="2474"/>
                  <a:pt x="393" y="2474"/>
                  <a:pt x="393" y="2474"/>
                </a:cubicBezTo>
                <a:cubicBezTo>
                  <a:pt x="393" y="2474"/>
                  <a:pt x="393" y="2474"/>
                  <a:pt x="393" y="2474"/>
                </a:cubicBezTo>
                <a:close/>
                <a:moveTo>
                  <a:pt x="346" y="2411"/>
                </a:moveTo>
                <a:cubicBezTo>
                  <a:pt x="346" y="2411"/>
                  <a:pt x="346" y="2411"/>
                  <a:pt x="346" y="2411"/>
                </a:cubicBezTo>
                <a:cubicBezTo>
                  <a:pt x="346" y="2411"/>
                  <a:pt x="346" y="2411"/>
                  <a:pt x="346" y="2411"/>
                </a:cubicBezTo>
                <a:cubicBezTo>
                  <a:pt x="338" y="2403"/>
                  <a:pt x="338" y="2403"/>
                  <a:pt x="338" y="2403"/>
                </a:cubicBezTo>
                <a:cubicBezTo>
                  <a:pt x="338" y="2403"/>
                  <a:pt x="338" y="2403"/>
                  <a:pt x="330" y="2403"/>
                </a:cubicBezTo>
                <a:cubicBezTo>
                  <a:pt x="338" y="2403"/>
                  <a:pt x="338" y="2403"/>
                  <a:pt x="338" y="2403"/>
                </a:cubicBezTo>
                <a:cubicBezTo>
                  <a:pt x="322" y="2388"/>
                  <a:pt x="322" y="2388"/>
                  <a:pt x="322" y="2388"/>
                </a:cubicBezTo>
                <a:cubicBezTo>
                  <a:pt x="330" y="2395"/>
                  <a:pt x="330" y="2403"/>
                  <a:pt x="338" y="2411"/>
                </a:cubicBezTo>
                <a:cubicBezTo>
                  <a:pt x="338" y="2411"/>
                  <a:pt x="338" y="2411"/>
                  <a:pt x="346" y="2419"/>
                </a:cubicBezTo>
                <a:cubicBezTo>
                  <a:pt x="346" y="2411"/>
                  <a:pt x="346" y="2411"/>
                  <a:pt x="346" y="2419"/>
                </a:cubicBezTo>
                <a:cubicBezTo>
                  <a:pt x="346" y="2419"/>
                  <a:pt x="346" y="2419"/>
                  <a:pt x="346" y="2411"/>
                </a:cubicBezTo>
                <a:cubicBezTo>
                  <a:pt x="346" y="2411"/>
                  <a:pt x="346" y="2411"/>
                  <a:pt x="346" y="2411"/>
                </a:cubicBezTo>
                <a:close/>
                <a:moveTo>
                  <a:pt x="370" y="2442"/>
                </a:moveTo>
                <a:cubicBezTo>
                  <a:pt x="362" y="2435"/>
                  <a:pt x="362" y="2435"/>
                  <a:pt x="354" y="2427"/>
                </a:cubicBezTo>
                <a:cubicBezTo>
                  <a:pt x="354" y="2427"/>
                  <a:pt x="354" y="2427"/>
                  <a:pt x="354" y="2427"/>
                </a:cubicBezTo>
                <a:cubicBezTo>
                  <a:pt x="354" y="2427"/>
                  <a:pt x="354" y="2427"/>
                  <a:pt x="370" y="2442"/>
                </a:cubicBezTo>
                <a:close/>
                <a:moveTo>
                  <a:pt x="424" y="2505"/>
                </a:moveTo>
                <a:cubicBezTo>
                  <a:pt x="432" y="2513"/>
                  <a:pt x="432" y="2513"/>
                  <a:pt x="432" y="2513"/>
                </a:cubicBezTo>
                <a:cubicBezTo>
                  <a:pt x="440" y="2521"/>
                  <a:pt x="440" y="2521"/>
                  <a:pt x="440" y="2521"/>
                </a:cubicBezTo>
                <a:lnTo>
                  <a:pt x="424" y="2505"/>
                </a:lnTo>
                <a:close/>
                <a:moveTo>
                  <a:pt x="566" y="2521"/>
                </a:moveTo>
                <a:cubicBezTo>
                  <a:pt x="566" y="2521"/>
                  <a:pt x="566" y="2521"/>
                  <a:pt x="566" y="2521"/>
                </a:cubicBezTo>
                <a:cubicBezTo>
                  <a:pt x="558" y="2521"/>
                  <a:pt x="550" y="2521"/>
                  <a:pt x="566" y="2521"/>
                </a:cubicBezTo>
                <a:close/>
                <a:moveTo>
                  <a:pt x="566" y="2521"/>
                </a:moveTo>
                <a:cubicBezTo>
                  <a:pt x="566" y="2521"/>
                  <a:pt x="566" y="2521"/>
                  <a:pt x="566" y="2521"/>
                </a:cubicBezTo>
                <a:cubicBezTo>
                  <a:pt x="527" y="2521"/>
                  <a:pt x="487" y="2521"/>
                  <a:pt x="472" y="2521"/>
                </a:cubicBezTo>
                <a:cubicBezTo>
                  <a:pt x="527" y="2521"/>
                  <a:pt x="558" y="2521"/>
                  <a:pt x="566" y="2521"/>
                </a:cubicBezTo>
                <a:close/>
                <a:moveTo>
                  <a:pt x="566" y="2521"/>
                </a:moveTo>
                <a:cubicBezTo>
                  <a:pt x="566" y="2521"/>
                  <a:pt x="566" y="2521"/>
                  <a:pt x="566" y="2521"/>
                </a:cubicBezTo>
                <a:cubicBezTo>
                  <a:pt x="582" y="2521"/>
                  <a:pt x="589" y="2521"/>
                  <a:pt x="566" y="2521"/>
                </a:cubicBezTo>
                <a:close/>
                <a:moveTo>
                  <a:pt x="456" y="2521"/>
                </a:moveTo>
                <a:cubicBezTo>
                  <a:pt x="401" y="2528"/>
                  <a:pt x="456" y="2521"/>
                  <a:pt x="456" y="2521"/>
                </a:cubicBezTo>
                <a:close/>
                <a:moveTo>
                  <a:pt x="299" y="2364"/>
                </a:moveTo>
                <a:cubicBezTo>
                  <a:pt x="307" y="2372"/>
                  <a:pt x="307" y="2372"/>
                  <a:pt x="307" y="2372"/>
                </a:cubicBezTo>
                <a:cubicBezTo>
                  <a:pt x="299" y="2356"/>
                  <a:pt x="299" y="2364"/>
                  <a:pt x="299" y="2356"/>
                </a:cubicBezTo>
                <a:cubicBezTo>
                  <a:pt x="291" y="2356"/>
                  <a:pt x="291" y="2356"/>
                  <a:pt x="291" y="2356"/>
                </a:cubicBezTo>
                <a:cubicBezTo>
                  <a:pt x="299" y="2356"/>
                  <a:pt x="299" y="2364"/>
                  <a:pt x="299" y="2364"/>
                </a:cubicBezTo>
                <a:close/>
                <a:moveTo>
                  <a:pt x="354" y="2427"/>
                </a:moveTo>
                <a:cubicBezTo>
                  <a:pt x="354" y="2427"/>
                  <a:pt x="354" y="2427"/>
                  <a:pt x="354" y="2427"/>
                </a:cubicBezTo>
                <a:cubicBezTo>
                  <a:pt x="354" y="2427"/>
                  <a:pt x="354" y="2427"/>
                  <a:pt x="354" y="2427"/>
                </a:cubicBezTo>
                <a:close/>
                <a:moveTo>
                  <a:pt x="346" y="2427"/>
                </a:moveTo>
                <a:cubicBezTo>
                  <a:pt x="354" y="2427"/>
                  <a:pt x="354" y="2427"/>
                  <a:pt x="354" y="2427"/>
                </a:cubicBezTo>
                <a:cubicBezTo>
                  <a:pt x="346" y="2419"/>
                  <a:pt x="346" y="2419"/>
                  <a:pt x="346" y="2419"/>
                </a:cubicBezTo>
                <a:lnTo>
                  <a:pt x="346" y="2427"/>
                </a:lnTo>
                <a:close/>
                <a:moveTo>
                  <a:pt x="315" y="2380"/>
                </a:moveTo>
                <a:cubicBezTo>
                  <a:pt x="315" y="2380"/>
                  <a:pt x="315" y="2380"/>
                  <a:pt x="307" y="2372"/>
                </a:cubicBezTo>
                <a:cubicBezTo>
                  <a:pt x="307" y="2372"/>
                  <a:pt x="315" y="2380"/>
                  <a:pt x="315" y="2380"/>
                </a:cubicBezTo>
                <a:close/>
                <a:moveTo>
                  <a:pt x="260" y="2309"/>
                </a:moveTo>
                <a:cubicBezTo>
                  <a:pt x="260" y="2325"/>
                  <a:pt x="260" y="2325"/>
                  <a:pt x="260" y="2325"/>
                </a:cubicBezTo>
                <a:cubicBezTo>
                  <a:pt x="260" y="2317"/>
                  <a:pt x="260" y="2317"/>
                  <a:pt x="260" y="2317"/>
                </a:cubicBezTo>
                <a:lnTo>
                  <a:pt x="260" y="2309"/>
                </a:lnTo>
                <a:close/>
                <a:moveTo>
                  <a:pt x="417" y="2505"/>
                </a:moveTo>
                <a:cubicBezTo>
                  <a:pt x="417" y="2497"/>
                  <a:pt x="417" y="2497"/>
                  <a:pt x="417" y="2497"/>
                </a:cubicBezTo>
                <a:cubicBezTo>
                  <a:pt x="409" y="2489"/>
                  <a:pt x="409" y="2489"/>
                  <a:pt x="409" y="2489"/>
                </a:cubicBezTo>
                <a:lnTo>
                  <a:pt x="417" y="2505"/>
                </a:lnTo>
                <a:close/>
                <a:moveTo>
                  <a:pt x="260" y="2317"/>
                </a:moveTo>
                <a:cubicBezTo>
                  <a:pt x="260" y="2325"/>
                  <a:pt x="267" y="2325"/>
                  <a:pt x="260" y="2325"/>
                </a:cubicBezTo>
                <a:cubicBezTo>
                  <a:pt x="260" y="2325"/>
                  <a:pt x="260" y="2325"/>
                  <a:pt x="260" y="2317"/>
                </a:cubicBezTo>
                <a:close/>
                <a:moveTo>
                  <a:pt x="432" y="501"/>
                </a:moveTo>
                <a:cubicBezTo>
                  <a:pt x="432" y="501"/>
                  <a:pt x="440" y="501"/>
                  <a:pt x="440" y="517"/>
                </a:cubicBezTo>
                <a:cubicBezTo>
                  <a:pt x="440" y="501"/>
                  <a:pt x="440" y="501"/>
                  <a:pt x="448" y="501"/>
                </a:cubicBezTo>
                <a:cubicBezTo>
                  <a:pt x="448" y="501"/>
                  <a:pt x="448" y="501"/>
                  <a:pt x="432" y="501"/>
                </a:cubicBezTo>
                <a:close/>
                <a:moveTo>
                  <a:pt x="424" y="501"/>
                </a:moveTo>
                <a:cubicBezTo>
                  <a:pt x="432" y="501"/>
                  <a:pt x="432" y="501"/>
                  <a:pt x="432" y="501"/>
                </a:cubicBezTo>
                <a:cubicBezTo>
                  <a:pt x="432" y="501"/>
                  <a:pt x="424" y="501"/>
                  <a:pt x="424" y="501"/>
                </a:cubicBezTo>
                <a:close/>
                <a:moveTo>
                  <a:pt x="456" y="619"/>
                </a:moveTo>
                <a:cubicBezTo>
                  <a:pt x="464" y="627"/>
                  <a:pt x="464" y="627"/>
                  <a:pt x="464" y="627"/>
                </a:cubicBezTo>
                <a:cubicBezTo>
                  <a:pt x="464" y="627"/>
                  <a:pt x="464" y="627"/>
                  <a:pt x="464" y="619"/>
                </a:cubicBezTo>
                <a:cubicBezTo>
                  <a:pt x="464" y="619"/>
                  <a:pt x="464" y="619"/>
                  <a:pt x="464" y="611"/>
                </a:cubicBezTo>
                <a:cubicBezTo>
                  <a:pt x="456" y="611"/>
                  <a:pt x="456" y="611"/>
                  <a:pt x="456" y="611"/>
                </a:cubicBezTo>
                <a:cubicBezTo>
                  <a:pt x="456" y="611"/>
                  <a:pt x="456" y="611"/>
                  <a:pt x="456" y="619"/>
                </a:cubicBezTo>
                <a:cubicBezTo>
                  <a:pt x="456" y="619"/>
                  <a:pt x="456" y="619"/>
                  <a:pt x="456" y="619"/>
                </a:cubicBezTo>
                <a:cubicBezTo>
                  <a:pt x="456" y="619"/>
                  <a:pt x="456" y="619"/>
                  <a:pt x="456" y="619"/>
                </a:cubicBezTo>
                <a:cubicBezTo>
                  <a:pt x="456" y="619"/>
                  <a:pt x="456" y="619"/>
                  <a:pt x="456" y="627"/>
                </a:cubicBezTo>
                <a:cubicBezTo>
                  <a:pt x="456" y="627"/>
                  <a:pt x="456" y="627"/>
                  <a:pt x="456" y="627"/>
                </a:cubicBezTo>
                <a:cubicBezTo>
                  <a:pt x="456" y="634"/>
                  <a:pt x="456" y="634"/>
                  <a:pt x="456" y="627"/>
                </a:cubicBezTo>
                <a:cubicBezTo>
                  <a:pt x="456" y="627"/>
                  <a:pt x="456" y="627"/>
                  <a:pt x="456" y="634"/>
                </a:cubicBezTo>
                <a:cubicBezTo>
                  <a:pt x="456" y="627"/>
                  <a:pt x="456" y="627"/>
                  <a:pt x="456" y="619"/>
                </a:cubicBezTo>
                <a:cubicBezTo>
                  <a:pt x="456" y="619"/>
                  <a:pt x="456" y="619"/>
                  <a:pt x="456" y="619"/>
                </a:cubicBezTo>
                <a:close/>
                <a:moveTo>
                  <a:pt x="464" y="658"/>
                </a:moveTo>
                <a:cubicBezTo>
                  <a:pt x="464" y="650"/>
                  <a:pt x="464" y="650"/>
                  <a:pt x="464" y="634"/>
                </a:cubicBezTo>
                <a:cubicBezTo>
                  <a:pt x="464" y="634"/>
                  <a:pt x="456" y="634"/>
                  <a:pt x="456" y="634"/>
                </a:cubicBezTo>
                <a:cubicBezTo>
                  <a:pt x="464" y="650"/>
                  <a:pt x="464" y="658"/>
                  <a:pt x="464" y="674"/>
                </a:cubicBezTo>
                <a:cubicBezTo>
                  <a:pt x="464" y="674"/>
                  <a:pt x="464" y="674"/>
                  <a:pt x="464" y="666"/>
                </a:cubicBezTo>
                <a:cubicBezTo>
                  <a:pt x="464" y="666"/>
                  <a:pt x="464" y="666"/>
                  <a:pt x="464" y="658"/>
                </a:cubicBezTo>
                <a:close/>
                <a:moveTo>
                  <a:pt x="464" y="674"/>
                </a:moveTo>
                <a:cubicBezTo>
                  <a:pt x="464" y="674"/>
                  <a:pt x="464" y="681"/>
                  <a:pt x="464" y="681"/>
                </a:cubicBezTo>
                <a:cubicBezTo>
                  <a:pt x="464" y="697"/>
                  <a:pt x="464" y="697"/>
                  <a:pt x="464" y="697"/>
                </a:cubicBezTo>
                <a:cubicBezTo>
                  <a:pt x="464" y="697"/>
                  <a:pt x="464" y="697"/>
                  <a:pt x="464" y="697"/>
                </a:cubicBezTo>
                <a:cubicBezTo>
                  <a:pt x="464" y="697"/>
                  <a:pt x="464" y="697"/>
                  <a:pt x="464" y="697"/>
                </a:cubicBezTo>
                <a:cubicBezTo>
                  <a:pt x="464" y="697"/>
                  <a:pt x="464" y="697"/>
                  <a:pt x="464" y="697"/>
                </a:cubicBezTo>
                <a:cubicBezTo>
                  <a:pt x="464" y="705"/>
                  <a:pt x="464" y="697"/>
                  <a:pt x="464" y="705"/>
                </a:cubicBezTo>
                <a:cubicBezTo>
                  <a:pt x="464" y="705"/>
                  <a:pt x="464" y="705"/>
                  <a:pt x="464" y="713"/>
                </a:cubicBezTo>
                <a:cubicBezTo>
                  <a:pt x="464" y="728"/>
                  <a:pt x="472" y="744"/>
                  <a:pt x="472" y="767"/>
                </a:cubicBezTo>
                <a:cubicBezTo>
                  <a:pt x="472" y="767"/>
                  <a:pt x="472" y="760"/>
                  <a:pt x="472" y="752"/>
                </a:cubicBezTo>
                <a:cubicBezTo>
                  <a:pt x="472" y="752"/>
                  <a:pt x="472" y="752"/>
                  <a:pt x="472" y="744"/>
                </a:cubicBezTo>
                <a:cubicBezTo>
                  <a:pt x="464" y="736"/>
                  <a:pt x="464" y="736"/>
                  <a:pt x="464" y="721"/>
                </a:cubicBezTo>
                <a:cubicBezTo>
                  <a:pt x="464" y="721"/>
                  <a:pt x="464" y="721"/>
                  <a:pt x="464" y="713"/>
                </a:cubicBezTo>
                <a:cubicBezTo>
                  <a:pt x="464" y="713"/>
                  <a:pt x="464" y="713"/>
                  <a:pt x="464" y="713"/>
                </a:cubicBezTo>
                <a:cubicBezTo>
                  <a:pt x="464" y="705"/>
                  <a:pt x="464" y="705"/>
                  <a:pt x="464" y="697"/>
                </a:cubicBezTo>
                <a:cubicBezTo>
                  <a:pt x="464" y="697"/>
                  <a:pt x="464" y="697"/>
                  <a:pt x="464" y="697"/>
                </a:cubicBezTo>
                <a:cubicBezTo>
                  <a:pt x="464" y="689"/>
                  <a:pt x="464" y="689"/>
                  <a:pt x="464" y="681"/>
                </a:cubicBezTo>
                <a:cubicBezTo>
                  <a:pt x="464" y="681"/>
                  <a:pt x="464" y="681"/>
                  <a:pt x="464" y="666"/>
                </a:cubicBezTo>
                <a:cubicBezTo>
                  <a:pt x="464" y="666"/>
                  <a:pt x="464" y="666"/>
                  <a:pt x="464" y="674"/>
                </a:cubicBezTo>
                <a:close/>
                <a:moveTo>
                  <a:pt x="472" y="924"/>
                </a:moveTo>
                <a:cubicBezTo>
                  <a:pt x="472" y="924"/>
                  <a:pt x="472" y="924"/>
                  <a:pt x="464" y="924"/>
                </a:cubicBezTo>
                <a:cubicBezTo>
                  <a:pt x="472" y="932"/>
                  <a:pt x="472" y="932"/>
                  <a:pt x="472" y="932"/>
                </a:cubicBezTo>
                <a:cubicBezTo>
                  <a:pt x="472" y="932"/>
                  <a:pt x="472" y="924"/>
                  <a:pt x="472" y="924"/>
                </a:cubicBezTo>
                <a:close/>
                <a:moveTo>
                  <a:pt x="464" y="1644"/>
                </a:moveTo>
                <a:cubicBezTo>
                  <a:pt x="464" y="1644"/>
                  <a:pt x="464" y="1644"/>
                  <a:pt x="464" y="1668"/>
                </a:cubicBezTo>
                <a:cubicBezTo>
                  <a:pt x="464" y="1691"/>
                  <a:pt x="464" y="1691"/>
                  <a:pt x="464" y="1691"/>
                </a:cubicBezTo>
                <a:cubicBezTo>
                  <a:pt x="464" y="1714"/>
                  <a:pt x="464" y="1730"/>
                  <a:pt x="464" y="1761"/>
                </a:cubicBezTo>
                <a:cubicBezTo>
                  <a:pt x="464" y="1761"/>
                  <a:pt x="464" y="1761"/>
                  <a:pt x="464" y="1761"/>
                </a:cubicBezTo>
                <a:cubicBezTo>
                  <a:pt x="464" y="1761"/>
                  <a:pt x="464" y="1761"/>
                  <a:pt x="464" y="1761"/>
                </a:cubicBezTo>
                <a:cubicBezTo>
                  <a:pt x="464" y="1769"/>
                  <a:pt x="464" y="1777"/>
                  <a:pt x="464" y="1793"/>
                </a:cubicBezTo>
                <a:cubicBezTo>
                  <a:pt x="464" y="1785"/>
                  <a:pt x="464" y="1769"/>
                  <a:pt x="464" y="1754"/>
                </a:cubicBezTo>
                <a:cubicBezTo>
                  <a:pt x="464" y="1754"/>
                  <a:pt x="464" y="1754"/>
                  <a:pt x="464" y="1754"/>
                </a:cubicBezTo>
                <a:cubicBezTo>
                  <a:pt x="464" y="1754"/>
                  <a:pt x="464" y="1754"/>
                  <a:pt x="464" y="1754"/>
                </a:cubicBezTo>
                <a:cubicBezTo>
                  <a:pt x="464" y="1754"/>
                  <a:pt x="464" y="1746"/>
                  <a:pt x="464" y="1746"/>
                </a:cubicBezTo>
                <a:cubicBezTo>
                  <a:pt x="464" y="1746"/>
                  <a:pt x="464" y="1746"/>
                  <a:pt x="472" y="1707"/>
                </a:cubicBezTo>
                <a:cubicBezTo>
                  <a:pt x="472" y="1707"/>
                  <a:pt x="472" y="1707"/>
                  <a:pt x="472" y="1691"/>
                </a:cubicBezTo>
                <a:cubicBezTo>
                  <a:pt x="472" y="1691"/>
                  <a:pt x="472" y="1691"/>
                  <a:pt x="472" y="1707"/>
                </a:cubicBezTo>
                <a:cubicBezTo>
                  <a:pt x="472" y="1691"/>
                  <a:pt x="472" y="1668"/>
                  <a:pt x="472" y="1660"/>
                </a:cubicBezTo>
                <a:cubicBezTo>
                  <a:pt x="472" y="1660"/>
                  <a:pt x="472" y="1660"/>
                  <a:pt x="464" y="1644"/>
                </a:cubicBezTo>
                <a:close/>
                <a:moveTo>
                  <a:pt x="464" y="2067"/>
                </a:moveTo>
                <a:cubicBezTo>
                  <a:pt x="472" y="2067"/>
                  <a:pt x="472" y="2067"/>
                  <a:pt x="472" y="2067"/>
                </a:cubicBezTo>
                <a:cubicBezTo>
                  <a:pt x="464" y="2059"/>
                  <a:pt x="472" y="2067"/>
                  <a:pt x="464" y="2067"/>
                </a:cubicBezTo>
                <a:close/>
                <a:moveTo>
                  <a:pt x="472" y="1785"/>
                </a:moveTo>
                <a:cubicBezTo>
                  <a:pt x="472" y="1793"/>
                  <a:pt x="472" y="1793"/>
                  <a:pt x="472" y="1801"/>
                </a:cubicBezTo>
                <a:cubicBezTo>
                  <a:pt x="472" y="1793"/>
                  <a:pt x="472" y="1793"/>
                  <a:pt x="472" y="1785"/>
                </a:cubicBezTo>
                <a:close/>
                <a:moveTo>
                  <a:pt x="479" y="2137"/>
                </a:moveTo>
                <a:cubicBezTo>
                  <a:pt x="479" y="2137"/>
                  <a:pt x="479" y="2137"/>
                  <a:pt x="479" y="2137"/>
                </a:cubicBezTo>
                <a:cubicBezTo>
                  <a:pt x="479" y="2137"/>
                  <a:pt x="479" y="2137"/>
                  <a:pt x="479" y="2121"/>
                </a:cubicBezTo>
                <a:cubicBezTo>
                  <a:pt x="479" y="2121"/>
                  <a:pt x="479" y="2121"/>
                  <a:pt x="479" y="2145"/>
                </a:cubicBezTo>
                <a:cubicBezTo>
                  <a:pt x="479" y="2137"/>
                  <a:pt x="479" y="2137"/>
                  <a:pt x="479" y="2137"/>
                </a:cubicBezTo>
                <a:cubicBezTo>
                  <a:pt x="479" y="2137"/>
                  <a:pt x="479" y="2137"/>
                  <a:pt x="479" y="2137"/>
                </a:cubicBezTo>
                <a:close/>
                <a:moveTo>
                  <a:pt x="464" y="2028"/>
                </a:moveTo>
                <a:cubicBezTo>
                  <a:pt x="464" y="2028"/>
                  <a:pt x="464" y="2035"/>
                  <a:pt x="464" y="2035"/>
                </a:cubicBezTo>
                <a:cubicBezTo>
                  <a:pt x="464" y="2035"/>
                  <a:pt x="464" y="2035"/>
                  <a:pt x="472" y="2067"/>
                </a:cubicBezTo>
                <a:cubicBezTo>
                  <a:pt x="479" y="2075"/>
                  <a:pt x="479" y="2075"/>
                  <a:pt x="479" y="2075"/>
                </a:cubicBezTo>
                <a:cubicBezTo>
                  <a:pt x="479" y="2075"/>
                  <a:pt x="479" y="2075"/>
                  <a:pt x="472" y="2059"/>
                </a:cubicBezTo>
                <a:cubicBezTo>
                  <a:pt x="472" y="2043"/>
                  <a:pt x="472" y="2035"/>
                  <a:pt x="464" y="2028"/>
                </a:cubicBezTo>
                <a:close/>
                <a:moveTo>
                  <a:pt x="464" y="1988"/>
                </a:moveTo>
                <a:cubicBezTo>
                  <a:pt x="464" y="2004"/>
                  <a:pt x="464" y="2012"/>
                  <a:pt x="464" y="2028"/>
                </a:cubicBezTo>
                <a:cubicBezTo>
                  <a:pt x="464" y="2020"/>
                  <a:pt x="464" y="2012"/>
                  <a:pt x="464" y="2012"/>
                </a:cubicBezTo>
                <a:cubicBezTo>
                  <a:pt x="464" y="1988"/>
                  <a:pt x="464" y="1988"/>
                  <a:pt x="464" y="1988"/>
                </a:cubicBezTo>
                <a:close/>
                <a:moveTo>
                  <a:pt x="479" y="1315"/>
                </a:moveTo>
                <a:cubicBezTo>
                  <a:pt x="479" y="1323"/>
                  <a:pt x="479" y="1323"/>
                  <a:pt x="472" y="1331"/>
                </a:cubicBezTo>
                <a:cubicBezTo>
                  <a:pt x="479" y="1354"/>
                  <a:pt x="479" y="1354"/>
                  <a:pt x="479" y="1354"/>
                </a:cubicBezTo>
                <a:cubicBezTo>
                  <a:pt x="479" y="1347"/>
                  <a:pt x="479" y="1339"/>
                  <a:pt x="479" y="1315"/>
                </a:cubicBezTo>
                <a:close/>
                <a:moveTo>
                  <a:pt x="487" y="2153"/>
                </a:moveTo>
                <a:cubicBezTo>
                  <a:pt x="479" y="2145"/>
                  <a:pt x="479" y="2145"/>
                  <a:pt x="479" y="2145"/>
                </a:cubicBezTo>
                <a:cubicBezTo>
                  <a:pt x="487" y="2161"/>
                  <a:pt x="487" y="2161"/>
                  <a:pt x="487" y="2161"/>
                </a:cubicBezTo>
                <a:lnTo>
                  <a:pt x="487" y="2153"/>
                </a:lnTo>
                <a:close/>
                <a:moveTo>
                  <a:pt x="464" y="814"/>
                </a:moveTo>
                <a:cubicBezTo>
                  <a:pt x="464" y="846"/>
                  <a:pt x="464" y="846"/>
                  <a:pt x="464" y="861"/>
                </a:cubicBezTo>
                <a:cubicBezTo>
                  <a:pt x="464" y="877"/>
                  <a:pt x="464" y="877"/>
                  <a:pt x="464" y="877"/>
                </a:cubicBezTo>
                <a:cubicBezTo>
                  <a:pt x="464" y="846"/>
                  <a:pt x="464" y="830"/>
                  <a:pt x="464" y="830"/>
                </a:cubicBezTo>
                <a:cubicBezTo>
                  <a:pt x="464" y="814"/>
                  <a:pt x="464" y="822"/>
                  <a:pt x="464" y="814"/>
                </a:cubicBezTo>
                <a:close/>
                <a:moveTo>
                  <a:pt x="472" y="1597"/>
                </a:moveTo>
                <a:cubicBezTo>
                  <a:pt x="472" y="1605"/>
                  <a:pt x="472" y="1613"/>
                  <a:pt x="472" y="1613"/>
                </a:cubicBezTo>
                <a:cubicBezTo>
                  <a:pt x="472" y="1621"/>
                  <a:pt x="472" y="1621"/>
                  <a:pt x="472" y="1628"/>
                </a:cubicBezTo>
                <a:cubicBezTo>
                  <a:pt x="472" y="1636"/>
                  <a:pt x="472" y="1636"/>
                  <a:pt x="472" y="1636"/>
                </a:cubicBezTo>
                <a:cubicBezTo>
                  <a:pt x="472" y="1636"/>
                  <a:pt x="472" y="1636"/>
                  <a:pt x="472" y="1644"/>
                </a:cubicBezTo>
                <a:cubicBezTo>
                  <a:pt x="472" y="1621"/>
                  <a:pt x="472" y="1621"/>
                  <a:pt x="479" y="1605"/>
                </a:cubicBezTo>
                <a:cubicBezTo>
                  <a:pt x="479" y="1597"/>
                  <a:pt x="479" y="1597"/>
                  <a:pt x="472" y="1597"/>
                </a:cubicBezTo>
                <a:close/>
                <a:moveTo>
                  <a:pt x="464" y="1973"/>
                </a:moveTo>
                <a:cubicBezTo>
                  <a:pt x="464" y="1965"/>
                  <a:pt x="464" y="1965"/>
                  <a:pt x="464" y="1965"/>
                </a:cubicBezTo>
                <a:cubicBezTo>
                  <a:pt x="464" y="1973"/>
                  <a:pt x="464" y="1973"/>
                  <a:pt x="464" y="1973"/>
                </a:cubicBezTo>
                <a:close/>
                <a:moveTo>
                  <a:pt x="464" y="1761"/>
                </a:moveTo>
                <a:cubicBezTo>
                  <a:pt x="464" y="1754"/>
                  <a:pt x="464" y="1746"/>
                  <a:pt x="472" y="1738"/>
                </a:cubicBezTo>
                <a:cubicBezTo>
                  <a:pt x="472" y="1730"/>
                  <a:pt x="472" y="1730"/>
                  <a:pt x="464" y="1746"/>
                </a:cubicBezTo>
                <a:cubicBezTo>
                  <a:pt x="464" y="1746"/>
                  <a:pt x="464" y="1754"/>
                  <a:pt x="464" y="1754"/>
                </a:cubicBezTo>
                <a:cubicBezTo>
                  <a:pt x="464" y="1754"/>
                  <a:pt x="464" y="1761"/>
                  <a:pt x="464" y="1761"/>
                </a:cubicBezTo>
                <a:close/>
                <a:moveTo>
                  <a:pt x="464" y="767"/>
                </a:moveTo>
                <a:cubicBezTo>
                  <a:pt x="464" y="767"/>
                  <a:pt x="464" y="767"/>
                  <a:pt x="464" y="767"/>
                </a:cubicBezTo>
                <a:cubicBezTo>
                  <a:pt x="464" y="767"/>
                  <a:pt x="464" y="767"/>
                  <a:pt x="464" y="767"/>
                </a:cubicBezTo>
                <a:cubicBezTo>
                  <a:pt x="464" y="752"/>
                  <a:pt x="464" y="752"/>
                  <a:pt x="464" y="744"/>
                </a:cubicBezTo>
                <a:cubicBezTo>
                  <a:pt x="464" y="744"/>
                  <a:pt x="464" y="744"/>
                  <a:pt x="464" y="736"/>
                </a:cubicBezTo>
                <a:cubicBezTo>
                  <a:pt x="464" y="736"/>
                  <a:pt x="464" y="736"/>
                  <a:pt x="464" y="736"/>
                </a:cubicBezTo>
                <a:cubicBezTo>
                  <a:pt x="464" y="736"/>
                  <a:pt x="464" y="736"/>
                  <a:pt x="464" y="736"/>
                </a:cubicBezTo>
                <a:cubicBezTo>
                  <a:pt x="464" y="736"/>
                  <a:pt x="464" y="736"/>
                  <a:pt x="464" y="736"/>
                </a:cubicBezTo>
                <a:cubicBezTo>
                  <a:pt x="464" y="736"/>
                  <a:pt x="464" y="736"/>
                  <a:pt x="456" y="713"/>
                </a:cubicBezTo>
                <a:cubicBezTo>
                  <a:pt x="456" y="713"/>
                  <a:pt x="456" y="713"/>
                  <a:pt x="456" y="728"/>
                </a:cubicBezTo>
                <a:cubicBezTo>
                  <a:pt x="464" y="736"/>
                  <a:pt x="464" y="752"/>
                  <a:pt x="464" y="775"/>
                </a:cubicBezTo>
                <a:cubicBezTo>
                  <a:pt x="464" y="775"/>
                  <a:pt x="464" y="775"/>
                  <a:pt x="464" y="767"/>
                </a:cubicBezTo>
                <a:close/>
                <a:moveTo>
                  <a:pt x="456" y="642"/>
                </a:moveTo>
                <a:cubicBezTo>
                  <a:pt x="456" y="642"/>
                  <a:pt x="456" y="650"/>
                  <a:pt x="456" y="658"/>
                </a:cubicBezTo>
                <a:cubicBezTo>
                  <a:pt x="456" y="666"/>
                  <a:pt x="456" y="666"/>
                  <a:pt x="456" y="666"/>
                </a:cubicBezTo>
                <a:cubicBezTo>
                  <a:pt x="456" y="666"/>
                  <a:pt x="456" y="666"/>
                  <a:pt x="456" y="674"/>
                </a:cubicBezTo>
                <a:cubicBezTo>
                  <a:pt x="456" y="658"/>
                  <a:pt x="456" y="650"/>
                  <a:pt x="456" y="642"/>
                </a:cubicBezTo>
                <a:close/>
                <a:moveTo>
                  <a:pt x="456" y="666"/>
                </a:moveTo>
                <a:cubicBezTo>
                  <a:pt x="456" y="674"/>
                  <a:pt x="456" y="674"/>
                  <a:pt x="456" y="674"/>
                </a:cubicBezTo>
                <a:cubicBezTo>
                  <a:pt x="456" y="674"/>
                  <a:pt x="456" y="674"/>
                  <a:pt x="456" y="681"/>
                </a:cubicBezTo>
                <a:cubicBezTo>
                  <a:pt x="456" y="681"/>
                  <a:pt x="456" y="681"/>
                  <a:pt x="456" y="666"/>
                </a:cubicBezTo>
                <a:close/>
                <a:moveTo>
                  <a:pt x="448" y="580"/>
                </a:moveTo>
                <a:cubicBezTo>
                  <a:pt x="448" y="572"/>
                  <a:pt x="448" y="572"/>
                  <a:pt x="448" y="572"/>
                </a:cubicBezTo>
                <a:cubicBezTo>
                  <a:pt x="448" y="564"/>
                  <a:pt x="448" y="564"/>
                  <a:pt x="448" y="564"/>
                </a:cubicBezTo>
                <a:cubicBezTo>
                  <a:pt x="440" y="564"/>
                  <a:pt x="440" y="564"/>
                  <a:pt x="440" y="564"/>
                </a:cubicBezTo>
                <a:lnTo>
                  <a:pt x="448" y="580"/>
                </a:lnTo>
                <a:close/>
                <a:moveTo>
                  <a:pt x="464" y="791"/>
                </a:moveTo>
                <a:cubicBezTo>
                  <a:pt x="464" y="791"/>
                  <a:pt x="464" y="791"/>
                  <a:pt x="464" y="799"/>
                </a:cubicBezTo>
                <a:cubicBezTo>
                  <a:pt x="464" y="799"/>
                  <a:pt x="464" y="799"/>
                  <a:pt x="464" y="799"/>
                </a:cubicBezTo>
                <a:cubicBezTo>
                  <a:pt x="464" y="799"/>
                  <a:pt x="464" y="799"/>
                  <a:pt x="464" y="783"/>
                </a:cubicBezTo>
                <a:cubicBezTo>
                  <a:pt x="464" y="783"/>
                  <a:pt x="464" y="783"/>
                  <a:pt x="464" y="783"/>
                </a:cubicBezTo>
                <a:cubicBezTo>
                  <a:pt x="464" y="783"/>
                  <a:pt x="464" y="783"/>
                  <a:pt x="464" y="775"/>
                </a:cubicBezTo>
                <a:cubicBezTo>
                  <a:pt x="464" y="783"/>
                  <a:pt x="464" y="783"/>
                  <a:pt x="464" y="783"/>
                </a:cubicBezTo>
                <a:cubicBezTo>
                  <a:pt x="464" y="783"/>
                  <a:pt x="464" y="783"/>
                  <a:pt x="464" y="791"/>
                </a:cubicBezTo>
                <a:close/>
                <a:moveTo>
                  <a:pt x="464" y="1808"/>
                </a:moveTo>
                <a:cubicBezTo>
                  <a:pt x="464" y="1808"/>
                  <a:pt x="464" y="1808"/>
                  <a:pt x="472" y="1801"/>
                </a:cubicBezTo>
                <a:cubicBezTo>
                  <a:pt x="472" y="1801"/>
                  <a:pt x="472" y="1801"/>
                  <a:pt x="464" y="1793"/>
                </a:cubicBezTo>
                <a:cubicBezTo>
                  <a:pt x="464" y="1801"/>
                  <a:pt x="464" y="1801"/>
                  <a:pt x="464" y="1808"/>
                </a:cubicBezTo>
                <a:close/>
                <a:moveTo>
                  <a:pt x="456" y="650"/>
                </a:moveTo>
                <a:cubicBezTo>
                  <a:pt x="456" y="642"/>
                  <a:pt x="456" y="642"/>
                  <a:pt x="456" y="642"/>
                </a:cubicBezTo>
                <a:cubicBezTo>
                  <a:pt x="456" y="658"/>
                  <a:pt x="456" y="658"/>
                  <a:pt x="456" y="658"/>
                </a:cubicBezTo>
                <a:cubicBezTo>
                  <a:pt x="456" y="650"/>
                  <a:pt x="456" y="650"/>
                  <a:pt x="456" y="650"/>
                </a:cubicBezTo>
                <a:close/>
                <a:moveTo>
                  <a:pt x="456" y="634"/>
                </a:moveTo>
                <a:cubicBezTo>
                  <a:pt x="456" y="642"/>
                  <a:pt x="456" y="642"/>
                  <a:pt x="456" y="642"/>
                </a:cubicBezTo>
                <a:cubicBezTo>
                  <a:pt x="456" y="642"/>
                  <a:pt x="456" y="642"/>
                  <a:pt x="456" y="634"/>
                </a:cubicBezTo>
                <a:close/>
                <a:moveTo>
                  <a:pt x="487" y="2129"/>
                </a:moveTo>
                <a:cubicBezTo>
                  <a:pt x="479" y="2114"/>
                  <a:pt x="479" y="2106"/>
                  <a:pt x="479" y="2106"/>
                </a:cubicBezTo>
                <a:cubicBezTo>
                  <a:pt x="479" y="2121"/>
                  <a:pt x="479" y="2121"/>
                  <a:pt x="487" y="2129"/>
                </a:cubicBezTo>
                <a:close/>
                <a:moveTo>
                  <a:pt x="440" y="533"/>
                </a:moveTo>
                <a:cubicBezTo>
                  <a:pt x="448" y="541"/>
                  <a:pt x="440" y="533"/>
                  <a:pt x="448" y="541"/>
                </a:cubicBezTo>
                <a:cubicBezTo>
                  <a:pt x="440" y="541"/>
                  <a:pt x="440" y="533"/>
                  <a:pt x="440" y="533"/>
                </a:cubicBezTo>
                <a:close/>
                <a:moveTo>
                  <a:pt x="487" y="2137"/>
                </a:moveTo>
                <a:cubicBezTo>
                  <a:pt x="487" y="2129"/>
                  <a:pt x="487" y="2129"/>
                  <a:pt x="487" y="2129"/>
                </a:cubicBezTo>
                <a:cubicBezTo>
                  <a:pt x="487" y="2129"/>
                  <a:pt x="487" y="2129"/>
                  <a:pt x="487" y="2137"/>
                </a:cubicBezTo>
                <a:close/>
                <a:moveTo>
                  <a:pt x="479" y="1691"/>
                </a:moveTo>
                <a:cubicBezTo>
                  <a:pt x="472" y="1707"/>
                  <a:pt x="472" y="1707"/>
                  <a:pt x="472" y="1707"/>
                </a:cubicBezTo>
                <a:cubicBezTo>
                  <a:pt x="479" y="1699"/>
                  <a:pt x="479" y="1691"/>
                  <a:pt x="479" y="1691"/>
                </a:cubicBezTo>
                <a:close/>
                <a:moveTo>
                  <a:pt x="472" y="2035"/>
                </a:moveTo>
                <a:cubicBezTo>
                  <a:pt x="479" y="2051"/>
                  <a:pt x="479" y="2059"/>
                  <a:pt x="479" y="2075"/>
                </a:cubicBezTo>
                <a:cubicBezTo>
                  <a:pt x="479" y="2075"/>
                  <a:pt x="479" y="2075"/>
                  <a:pt x="479" y="2075"/>
                </a:cubicBezTo>
                <a:cubicBezTo>
                  <a:pt x="479" y="2059"/>
                  <a:pt x="479" y="2059"/>
                  <a:pt x="479" y="2035"/>
                </a:cubicBezTo>
                <a:cubicBezTo>
                  <a:pt x="479" y="2035"/>
                  <a:pt x="479" y="2035"/>
                  <a:pt x="472" y="2035"/>
                </a:cubicBezTo>
                <a:close/>
                <a:moveTo>
                  <a:pt x="495" y="2145"/>
                </a:moveTo>
                <a:cubicBezTo>
                  <a:pt x="487" y="2137"/>
                  <a:pt x="487" y="2137"/>
                  <a:pt x="487" y="2137"/>
                </a:cubicBezTo>
                <a:cubicBezTo>
                  <a:pt x="487" y="2137"/>
                  <a:pt x="487" y="2145"/>
                  <a:pt x="495" y="2161"/>
                </a:cubicBezTo>
                <a:cubicBezTo>
                  <a:pt x="495" y="2161"/>
                  <a:pt x="495" y="2161"/>
                  <a:pt x="495" y="2161"/>
                </a:cubicBezTo>
                <a:cubicBezTo>
                  <a:pt x="495" y="2153"/>
                  <a:pt x="495" y="2153"/>
                  <a:pt x="495" y="2145"/>
                </a:cubicBezTo>
                <a:cubicBezTo>
                  <a:pt x="495" y="2153"/>
                  <a:pt x="495" y="2153"/>
                  <a:pt x="495" y="2153"/>
                </a:cubicBezTo>
                <a:cubicBezTo>
                  <a:pt x="495" y="2153"/>
                  <a:pt x="495" y="2161"/>
                  <a:pt x="495" y="2161"/>
                </a:cubicBezTo>
                <a:cubicBezTo>
                  <a:pt x="495" y="2161"/>
                  <a:pt x="495" y="2153"/>
                  <a:pt x="495" y="2153"/>
                </a:cubicBezTo>
                <a:cubicBezTo>
                  <a:pt x="495" y="2153"/>
                  <a:pt x="495" y="2153"/>
                  <a:pt x="495" y="2153"/>
                </a:cubicBezTo>
                <a:cubicBezTo>
                  <a:pt x="495" y="2145"/>
                  <a:pt x="495" y="2145"/>
                  <a:pt x="495" y="2145"/>
                </a:cubicBezTo>
                <a:cubicBezTo>
                  <a:pt x="495" y="2145"/>
                  <a:pt x="495" y="2137"/>
                  <a:pt x="495" y="2129"/>
                </a:cubicBezTo>
                <a:cubicBezTo>
                  <a:pt x="487" y="2129"/>
                  <a:pt x="487" y="2129"/>
                  <a:pt x="495" y="2145"/>
                </a:cubicBezTo>
                <a:close/>
                <a:moveTo>
                  <a:pt x="495" y="2129"/>
                </a:moveTo>
                <a:cubicBezTo>
                  <a:pt x="495" y="2129"/>
                  <a:pt x="495" y="2129"/>
                  <a:pt x="495" y="2129"/>
                </a:cubicBezTo>
                <a:cubicBezTo>
                  <a:pt x="495" y="2129"/>
                  <a:pt x="495" y="2129"/>
                  <a:pt x="487" y="2121"/>
                </a:cubicBezTo>
                <a:cubicBezTo>
                  <a:pt x="487" y="2129"/>
                  <a:pt x="495" y="2129"/>
                  <a:pt x="495" y="2129"/>
                </a:cubicBezTo>
                <a:close/>
                <a:moveTo>
                  <a:pt x="495" y="2176"/>
                </a:moveTo>
                <a:cubicBezTo>
                  <a:pt x="503" y="2192"/>
                  <a:pt x="503" y="2184"/>
                  <a:pt x="503" y="2192"/>
                </a:cubicBezTo>
                <a:cubicBezTo>
                  <a:pt x="503" y="2192"/>
                  <a:pt x="503" y="2192"/>
                  <a:pt x="503" y="2192"/>
                </a:cubicBezTo>
                <a:cubicBezTo>
                  <a:pt x="503" y="2184"/>
                  <a:pt x="503" y="2184"/>
                  <a:pt x="503" y="2184"/>
                </a:cubicBezTo>
                <a:cubicBezTo>
                  <a:pt x="503" y="2184"/>
                  <a:pt x="503" y="2184"/>
                  <a:pt x="503" y="2176"/>
                </a:cubicBezTo>
                <a:cubicBezTo>
                  <a:pt x="495" y="2176"/>
                  <a:pt x="495" y="2176"/>
                  <a:pt x="495" y="2176"/>
                </a:cubicBezTo>
                <a:close/>
                <a:moveTo>
                  <a:pt x="495" y="2161"/>
                </a:moveTo>
                <a:cubicBezTo>
                  <a:pt x="495" y="2161"/>
                  <a:pt x="503" y="2168"/>
                  <a:pt x="503" y="2168"/>
                </a:cubicBezTo>
                <a:cubicBezTo>
                  <a:pt x="503" y="2168"/>
                  <a:pt x="495" y="2161"/>
                  <a:pt x="495" y="2161"/>
                </a:cubicBezTo>
                <a:close/>
                <a:moveTo>
                  <a:pt x="503" y="2176"/>
                </a:moveTo>
                <a:cubicBezTo>
                  <a:pt x="503" y="2176"/>
                  <a:pt x="503" y="2176"/>
                  <a:pt x="503" y="2168"/>
                </a:cubicBezTo>
                <a:cubicBezTo>
                  <a:pt x="503" y="2176"/>
                  <a:pt x="503" y="2176"/>
                  <a:pt x="503" y="2176"/>
                </a:cubicBezTo>
                <a:cubicBezTo>
                  <a:pt x="503" y="2176"/>
                  <a:pt x="503" y="2176"/>
                  <a:pt x="503" y="2176"/>
                </a:cubicBezTo>
                <a:close/>
                <a:moveTo>
                  <a:pt x="487" y="2121"/>
                </a:moveTo>
                <a:cubicBezTo>
                  <a:pt x="487" y="2121"/>
                  <a:pt x="487" y="2121"/>
                  <a:pt x="487" y="2121"/>
                </a:cubicBezTo>
                <a:cubicBezTo>
                  <a:pt x="487" y="2121"/>
                  <a:pt x="495" y="2129"/>
                  <a:pt x="495" y="2129"/>
                </a:cubicBezTo>
                <a:cubicBezTo>
                  <a:pt x="487" y="2121"/>
                  <a:pt x="487" y="2121"/>
                  <a:pt x="487" y="2121"/>
                </a:cubicBezTo>
                <a:cubicBezTo>
                  <a:pt x="487" y="2114"/>
                  <a:pt x="487" y="2114"/>
                  <a:pt x="487" y="2114"/>
                </a:cubicBezTo>
                <a:cubicBezTo>
                  <a:pt x="487" y="2114"/>
                  <a:pt x="487" y="2114"/>
                  <a:pt x="487" y="2121"/>
                </a:cubicBezTo>
                <a:cubicBezTo>
                  <a:pt x="487" y="2121"/>
                  <a:pt x="487" y="2121"/>
                  <a:pt x="487" y="2121"/>
                </a:cubicBezTo>
                <a:cubicBezTo>
                  <a:pt x="487" y="2121"/>
                  <a:pt x="487" y="2121"/>
                  <a:pt x="487" y="2121"/>
                </a:cubicBezTo>
                <a:cubicBezTo>
                  <a:pt x="487" y="2121"/>
                  <a:pt x="487" y="2121"/>
                  <a:pt x="487" y="2121"/>
                </a:cubicBezTo>
                <a:close/>
                <a:moveTo>
                  <a:pt x="472" y="1848"/>
                </a:moveTo>
                <a:cubicBezTo>
                  <a:pt x="472" y="1848"/>
                  <a:pt x="472" y="1855"/>
                  <a:pt x="472" y="1863"/>
                </a:cubicBezTo>
                <a:cubicBezTo>
                  <a:pt x="472" y="1863"/>
                  <a:pt x="472" y="1871"/>
                  <a:pt x="472" y="1871"/>
                </a:cubicBezTo>
                <a:cubicBezTo>
                  <a:pt x="472" y="1871"/>
                  <a:pt x="472" y="1855"/>
                  <a:pt x="479" y="1840"/>
                </a:cubicBezTo>
                <a:cubicBezTo>
                  <a:pt x="472" y="1840"/>
                  <a:pt x="472" y="1840"/>
                  <a:pt x="472" y="1848"/>
                </a:cubicBezTo>
                <a:close/>
                <a:moveTo>
                  <a:pt x="479" y="2082"/>
                </a:moveTo>
                <a:cubicBezTo>
                  <a:pt x="479" y="2090"/>
                  <a:pt x="479" y="2090"/>
                  <a:pt x="479" y="2090"/>
                </a:cubicBezTo>
                <a:cubicBezTo>
                  <a:pt x="479" y="2090"/>
                  <a:pt x="479" y="2090"/>
                  <a:pt x="479" y="2090"/>
                </a:cubicBezTo>
                <a:cubicBezTo>
                  <a:pt x="487" y="2098"/>
                  <a:pt x="487" y="2098"/>
                  <a:pt x="487" y="2098"/>
                </a:cubicBezTo>
                <a:cubicBezTo>
                  <a:pt x="487" y="2090"/>
                  <a:pt x="487" y="2082"/>
                  <a:pt x="479" y="2067"/>
                </a:cubicBezTo>
                <a:cubicBezTo>
                  <a:pt x="479" y="2075"/>
                  <a:pt x="479" y="2075"/>
                  <a:pt x="479" y="2075"/>
                </a:cubicBezTo>
                <a:cubicBezTo>
                  <a:pt x="479" y="2082"/>
                  <a:pt x="479" y="2082"/>
                  <a:pt x="479" y="2082"/>
                </a:cubicBezTo>
                <a:close/>
                <a:moveTo>
                  <a:pt x="487" y="2098"/>
                </a:moveTo>
                <a:cubicBezTo>
                  <a:pt x="487" y="2106"/>
                  <a:pt x="487" y="2114"/>
                  <a:pt x="487" y="2121"/>
                </a:cubicBezTo>
                <a:cubicBezTo>
                  <a:pt x="487" y="2106"/>
                  <a:pt x="487" y="2106"/>
                  <a:pt x="487" y="2098"/>
                </a:cubicBezTo>
                <a:close/>
                <a:moveTo>
                  <a:pt x="479" y="2067"/>
                </a:moveTo>
                <a:cubicBezTo>
                  <a:pt x="479" y="2067"/>
                  <a:pt x="479" y="2067"/>
                  <a:pt x="479" y="2059"/>
                </a:cubicBezTo>
                <a:cubicBezTo>
                  <a:pt x="479" y="2059"/>
                  <a:pt x="479" y="2059"/>
                  <a:pt x="479" y="2059"/>
                </a:cubicBezTo>
                <a:cubicBezTo>
                  <a:pt x="479" y="2059"/>
                  <a:pt x="479" y="2067"/>
                  <a:pt x="479" y="2067"/>
                </a:cubicBezTo>
                <a:cubicBezTo>
                  <a:pt x="479" y="2067"/>
                  <a:pt x="479" y="2067"/>
                  <a:pt x="479" y="2067"/>
                </a:cubicBezTo>
                <a:close/>
                <a:moveTo>
                  <a:pt x="448" y="525"/>
                </a:moveTo>
                <a:cubicBezTo>
                  <a:pt x="448" y="525"/>
                  <a:pt x="448" y="533"/>
                  <a:pt x="448" y="533"/>
                </a:cubicBezTo>
                <a:cubicBezTo>
                  <a:pt x="456" y="548"/>
                  <a:pt x="456" y="548"/>
                  <a:pt x="456" y="548"/>
                </a:cubicBezTo>
                <a:cubicBezTo>
                  <a:pt x="448" y="533"/>
                  <a:pt x="448" y="525"/>
                  <a:pt x="448" y="525"/>
                </a:cubicBezTo>
                <a:close/>
                <a:moveTo>
                  <a:pt x="456" y="580"/>
                </a:moveTo>
                <a:cubicBezTo>
                  <a:pt x="456" y="580"/>
                  <a:pt x="456" y="580"/>
                  <a:pt x="456" y="595"/>
                </a:cubicBezTo>
                <a:cubicBezTo>
                  <a:pt x="456" y="587"/>
                  <a:pt x="456" y="587"/>
                  <a:pt x="456" y="587"/>
                </a:cubicBezTo>
                <a:cubicBezTo>
                  <a:pt x="456" y="587"/>
                  <a:pt x="456" y="587"/>
                  <a:pt x="456" y="580"/>
                </a:cubicBezTo>
                <a:close/>
                <a:moveTo>
                  <a:pt x="550" y="1934"/>
                </a:moveTo>
                <a:cubicBezTo>
                  <a:pt x="550" y="1934"/>
                  <a:pt x="550" y="1941"/>
                  <a:pt x="550" y="1949"/>
                </a:cubicBezTo>
                <a:cubicBezTo>
                  <a:pt x="550" y="1949"/>
                  <a:pt x="550" y="1949"/>
                  <a:pt x="550" y="1965"/>
                </a:cubicBezTo>
                <a:cubicBezTo>
                  <a:pt x="550" y="1949"/>
                  <a:pt x="550" y="1926"/>
                  <a:pt x="550" y="1918"/>
                </a:cubicBezTo>
                <a:cubicBezTo>
                  <a:pt x="550" y="1918"/>
                  <a:pt x="550" y="1918"/>
                  <a:pt x="550" y="1926"/>
                </a:cubicBezTo>
                <a:cubicBezTo>
                  <a:pt x="550" y="1926"/>
                  <a:pt x="550" y="1934"/>
                  <a:pt x="550" y="1934"/>
                </a:cubicBezTo>
                <a:close/>
                <a:moveTo>
                  <a:pt x="456" y="541"/>
                </a:moveTo>
                <a:cubicBezTo>
                  <a:pt x="456" y="548"/>
                  <a:pt x="456" y="548"/>
                  <a:pt x="464" y="556"/>
                </a:cubicBezTo>
                <a:cubicBezTo>
                  <a:pt x="464" y="548"/>
                  <a:pt x="456" y="548"/>
                  <a:pt x="456" y="541"/>
                </a:cubicBezTo>
                <a:close/>
                <a:moveTo>
                  <a:pt x="448" y="423"/>
                </a:moveTo>
                <a:cubicBezTo>
                  <a:pt x="448" y="423"/>
                  <a:pt x="448" y="423"/>
                  <a:pt x="448" y="415"/>
                </a:cubicBezTo>
                <a:cubicBezTo>
                  <a:pt x="448" y="415"/>
                  <a:pt x="448" y="423"/>
                  <a:pt x="448" y="415"/>
                </a:cubicBezTo>
                <a:cubicBezTo>
                  <a:pt x="448" y="423"/>
                  <a:pt x="448" y="423"/>
                  <a:pt x="448" y="423"/>
                </a:cubicBezTo>
                <a:cubicBezTo>
                  <a:pt x="448" y="423"/>
                  <a:pt x="448" y="423"/>
                  <a:pt x="448" y="423"/>
                </a:cubicBezTo>
                <a:close/>
                <a:moveTo>
                  <a:pt x="542" y="2059"/>
                </a:moveTo>
                <a:cubicBezTo>
                  <a:pt x="542" y="2051"/>
                  <a:pt x="542" y="2043"/>
                  <a:pt x="542" y="2043"/>
                </a:cubicBezTo>
                <a:cubicBezTo>
                  <a:pt x="542" y="2043"/>
                  <a:pt x="542" y="2043"/>
                  <a:pt x="542" y="2043"/>
                </a:cubicBezTo>
                <a:cubicBezTo>
                  <a:pt x="542" y="2059"/>
                  <a:pt x="542" y="2059"/>
                  <a:pt x="542" y="2059"/>
                </a:cubicBezTo>
                <a:close/>
                <a:moveTo>
                  <a:pt x="487" y="893"/>
                </a:moveTo>
                <a:cubicBezTo>
                  <a:pt x="487" y="901"/>
                  <a:pt x="487" y="901"/>
                  <a:pt x="487" y="901"/>
                </a:cubicBezTo>
                <a:cubicBezTo>
                  <a:pt x="487" y="885"/>
                  <a:pt x="487" y="885"/>
                  <a:pt x="487" y="885"/>
                </a:cubicBezTo>
                <a:cubicBezTo>
                  <a:pt x="487" y="893"/>
                  <a:pt x="487" y="893"/>
                  <a:pt x="487" y="893"/>
                </a:cubicBezTo>
                <a:close/>
                <a:moveTo>
                  <a:pt x="542" y="2082"/>
                </a:moveTo>
                <a:cubicBezTo>
                  <a:pt x="542" y="2082"/>
                  <a:pt x="550" y="2090"/>
                  <a:pt x="550" y="2090"/>
                </a:cubicBezTo>
                <a:cubicBezTo>
                  <a:pt x="550" y="2082"/>
                  <a:pt x="542" y="2051"/>
                  <a:pt x="542" y="2051"/>
                </a:cubicBezTo>
                <a:cubicBezTo>
                  <a:pt x="542" y="2059"/>
                  <a:pt x="542" y="2059"/>
                  <a:pt x="542" y="2059"/>
                </a:cubicBezTo>
                <a:cubicBezTo>
                  <a:pt x="542" y="2059"/>
                  <a:pt x="542" y="2059"/>
                  <a:pt x="542" y="2059"/>
                </a:cubicBezTo>
                <a:cubicBezTo>
                  <a:pt x="542" y="2067"/>
                  <a:pt x="542" y="2067"/>
                  <a:pt x="542" y="2075"/>
                </a:cubicBezTo>
                <a:cubicBezTo>
                  <a:pt x="542" y="2082"/>
                  <a:pt x="542" y="2075"/>
                  <a:pt x="542" y="2082"/>
                </a:cubicBezTo>
                <a:close/>
                <a:moveTo>
                  <a:pt x="479" y="220"/>
                </a:moveTo>
                <a:cubicBezTo>
                  <a:pt x="479" y="220"/>
                  <a:pt x="479" y="220"/>
                  <a:pt x="479" y="220"/>
                </a:cubicBezTo>
                <a:cubicBezTo>
                  <a:pt x="479" y="220"/>
                  <a:pt x="479" y="220"/>
                  <a:pt x="479" y="212"/>
                </a:cubicBezTo>
                <a:cubicBezTo>
                  <a:pt x="479" y="220"/>
                  <a:pt x="479" y="220"/>
                  <a:pt x="479" y="220"/>
                </a:cubicBezTo>
                <a:close/>
                <a:moveTo>
                  <a:pt x="472" y="173"/>
                </a:moveTo>
                <a:cubicBezTo>
                  <a:pt x="472" y="180"/>
                  <a:pt x="472" y="180"/>
                  <a:pt x="472" y="180"/>
                </a:cubicBezTo>
                <a:cubicBezTo>
                  <a:pt x="472" y="180"/>
                  <a:pt x="472" y="180"/>
                  <a:pt x="472" y="188"/>
                </a:cubicBezTo>
                <a:cubicBezTo>
                  <a:pt x="479" y="188"/>
                  <a:pt x="479" y="188"/>
                  <a:pt x="479" y="188"/>
                </a:cubicBezTo>
                <a:cubicBezTo>
                  <a:pt x="472" y="180"/>
                  <a:pt x="472" y="180"/>
                  <a:pt x="472" y="173"/>
                </a:cubicBezTo>
                <a:close/>
                <a:moveTo>
                  <a:pt x="409" y="24"/>
                </a:moveTo>
                <a:cubicBezTo>
                  <a:pt x="409" y="24"/>
                  <a:pt x="409" y="24"/>
                  <a:pt x="409" y="24"/>
                </a:cubicBezTo>
                <a:cubicBezTo>
                  <a:pt x="409" y="24"/>
                  <a:pt x="409" y="24"/>
                  <a:pt x="409" y="32"/>
                </a:cubicBezTo>
                <a:cubicBezTo>
                  <a:pt x="409" y="24"/>
                  <a:pt x="409" y="24"/>
                  <a:pt x="409" y="24"/>
                </a:cubicBezTo>
                <a:close/>
                <a:moveTo>
                  <a:pt x="542" y="564"/>
                </a:moveTo>
                <a:cubicBezTo>
                  <a:pt x="542" y="564"/>
                  <a:pt x="542" y="564"/>
                  <a:pt x="542" y="548"/>
                </a:cubicBezTo>
                <a:cubicBezTo>
                  <a:pt x="542" y="548"/>
                  <a:pt x="542" y="548"/>
                  <a:pt x="534" y="548"/>
                </a:cubicBezTo>
                <a:cubicBezTo>
                  <a:pt x="534" y="548"/>
                  <a:pt x="534" y="548"/>
                  <a:pt x="542" y="564"/>
                </a:cubicBezTo>
                <a:cubicBezTo>
                  <a:pt x="542" y="564"/>
                  <a:pt x="542" y="564"/>
                  <a:pt x="542" y="564"/>
                </a:cubicBezTo>
                <a:close/>
                <a:moveTo>
                  <a:pt x="409" y="16"/>
                </a:moveTo>
                <a:cubicBezTo>
                  <a:pt x="409" y="16"/>
                  <a:pt x="409" y="16"/>
                  <a:pt x="409" y="16"/>
                </a:cubicBezTo>
                <a:cubicBezTo>
                  <a:pt x="409" y="16"/>
                  <a:pt x="409" y="16"/>
                  <a:pt x="409" y="24"/>
                </a:cubicBezTo>
                <a:cubicBezTo>
                  <a:pt x="409" y="16"/>
                  <a:pt x="409" y="16"/>
                  <a:pt x="409" y="16"/>
                </a:cubicBezTo>
                <a:close/>
                <a:moveTo>
                  <a:pt x="487" y="1057"/>
                </a:moveTo>
                <a:cubicBezTo>
                  <a:pt x="487" y="1057"/>
                  <a:pt x="487" y="1057"/>
                  <a:pt x="487" y="1057"/>
                </a:cubicBezTo>
                <a:cubicBezTo>
                  <a:pt x="487" y="1057"/>
                  <a:pt x="487" y="1065"/>
                  <a:pt x="487" y="1065"/>
                </a:cubicBezTo>
                <a:cubicBezTo>
                  <a:pt x="487" y="1065"/>
                  <a:pt x="487" y="1065"/>
                  <a:pt x="495" y="1065"/>
                </a:cubicBezTo>
                <a:cubicBezTo>
                  <a:pt x="487" y="1049"/>
                  <a:pt x="495" y="1057"/>
                  <a:pt x="487" y="1049"/>
                </a:cubicBezTo>
                <a:cubicBezTo>
                  <a:pt x="487" y="1057"/>
                  <a:pt x="487" y="1057"/>
                  <a:pt x="487" y="1057"/>
                </a:cubicBezTo>
                <a:close/>
                <a:moveTo>
                  <a:pt x="519" y="431"/>
                </a:moveTo>
                <a:cubicBezTo>
                  <a:pt x="519" y="431"/>
                  <a:pt x="519" y="431"/>
                  <a:pt x="519" y="423"/>
                </a:cubicBezTo>
                <a:cubicBezTo>
                  <a:pt x="519" y="431"/>
                  <a:pt x="519" y="447"/>
                  <a:pt x="511" y="431"/>
                </a:cubicBezTo>
                <a:cubicBezTo>
                  <a:pt x="511" y="431"/>
                  <a:pt x="511" y="431"/>
                  <a:pt x="519" y="447"/>
                </a:cubicBezTo>
                <a:cubicBezTo>
                  <a:pt x="519" y="431"/>
                  <a:pt x="519" y="439"/>
                  <a:pt x="519" y="431"/>
                </a:cubicBezTo>
                <a:close/>
                <a:moveTo>
                  <a:pt x="511" y="2184"/>
                </a:moveTo>
                <a:cubicBezTo>
                  <a:pt x="511" y="2184"/>
                  <a:pt x="511" y="2184"/>
                  <a:pt x="511" y="2192"/>
                </a:cubicBezTo>
                <a:cubicBezTo>
                  <a:pt x="511" y="2192"/>
                  <a:pt x="511" y="2192"/>
                  <a:pt x="511" y="2192"/>
                </a:cubicBezTo>
                <a:cubicBezTo>
                  <a:pt x="511" y="2184"/>
                  <a:pt x="511" y="2184"/>
                  <a:pt x="511" y="2176"/>
                </a:cubicBezTo>
                <a:cubicBezTo>
                  <a:pt x="511" y="2192"/>
                  <a:pt x="511" y="2184"/>
                  <a:pt x="511" y="2184"/>
                </a:cubicBezTo>
                <a:close/>
                <a:moveTo>
                  <a:pt x="527" y="2121"/>
                </a:moveTo>
                <a:cubicBezTo>
                  <a:pt x="527" y="2121"/>
                  <a:pt x="527" y="2121"/>
                  <a:pt x="527" y="2121"/>
                </a:cubicBezTo>
                <a:cubicBezTo>
                  <a:pt x="527" y="2121"/>
                  <a:pt x="527" y="2121"/>
                  <a:pt x="527" y="2129"/>
                </a:cubicBezTo>
                <a:cubicBezTo>
                  <a:pt x="527" y="2129"/>
                  <a:pt x="527" y="2129"/>
                  <a:pt x="527" y="2137"/>
                </a:cubicBezTo>
                <a:cubicBezTo>
                  <a:pt x="527" y="2137"/>
                  <a:pt x="527" y="2137"/>
                  <a:pt x="527" y="2137"/>
                </a:cubicBezTo>
                <a:cubicBezTo>
                  <a:pt x="527" y="2129"/>
                  <a:pt x="527" y="2129"/>
                  <a:pt x="527" y="2121"/>
                </a:cubicBezTo>
                <a:cubicBezTo>
                  <a:pt x="527" y="2129"/>
                  <a:pt x="527" y="2129"/>
                  <a:pt x="527" y="2129"/>
                </a:cubicBezTo>
                <a:cubicBezTo>
                  <a:pt x="527" y="2129"/>
                  <a:pt x="527" y="2121"/>
                  <a:pt x="527" y="2121"/>
                </a:cubicBezTo>
                <a:cubicBezTo>
                  <a:pt x="527" y="2121"/>
                  <a:pt x="527" y="2114"/>
                  <a:pt x="527" y="2114"/>
                </a:cubicBezTo>
                <a:cubicBezTo>
                  <a:pt x="527" y="2114"/>
                  <a:pt x="527" y="2121"/>
                  <a:pt x="527" y="2121"/>
                </a:cubicBezTo>
                <a:close/>
                <a:moveTo>
                  <a:pt x="464" y="611"/>
                </a:moveTo>
                <a:cubicBezTo>
                  <a:pt x="464" y="611"/>
                  <a:pt x="464" y="611"/>
                  <a:pt x="464" y="603"/>
                </a:cubicBezTo>
                <a:cubicBezTo>
                  <a:pt x="464" y="611"/>
                  <a:pt x="464" y="611"/>
                  <a:pt x="464" y="619"/>
                </a:cubicBezTo>
                <a:cubicBezTo>
                  <a:pt x="464" y="619"/>
                  <a:pt x="464" y="611"/>
                  <a:pt x="464" y="611"/>
                </a:cubicBezTo>
                <a:close/>
                <a:moveTo>
                  <a:pt x="503" y="2059"/>
                </a:moveTo>
                <a:cubicBezTo>
                  <a:pt x="503" y="2059"/>
                  <a:pt x="503" y="2059"/>
                  <a:pt x="503" y="2059"/>
                </a:cubicBezTo>
                <a:cubicBezTo>
                  <a:pt x="503" y="2059"/>
                  <a:pt x="503" y="2067"/>
                  <a:pt x="503" y="2067"/>
                </a:cubicBezTo>
                <a:cubicBezTo>
                  <a:pt x="503" y="2067"/>
                  <a:pt x="503" y="2067"/>
                  <a:pt x="503" y="2067"/>
                </a:cubicBezTo>
                <a:cubicBezTo>
                  <a:pt x="503" y="2059"/>
                  <a:pt x="503" y="2059"/>
                  <a:pt x="503" y="2051"/>
                </a:cubicBezTo>
                <a:cubicBezTo>
                  <a:pt x="503" y="2051"/>
                  <a:pt x="503" y="2059"/>
                  <a:pt x="503" y="2059"/>
                </a:cubicBezTo>
                <a:close/>
                <a:moveTo>
                  <a:pt x="448" y="415"/>
                </a:moveTo>
                <a:cubicBezTo>
                  <a:pt x="448" y="415"/>
                  <a:pt x="448" y="415"/>
                  <a:pt x="448" y="415"/>
                </a:cubicBezTo>
                <a:cubicBezTo>
                  <a:pt x="448" y="415"/>
                  <a:pt x="448" y="415"/>
                  <a:pt x="448" y="415"/>
                </a:cubicBezTo>
                <a:cubicBezTo>
                  <a:pt x="448" y="415"/>
                  <a:pt x="440" y="407"/>
                  <a:pt x="440" y="407"/>
                </a:cubicBezTo>
                <a:cubicBezTo>
                  <a:pt x="440" y="407"/>
                  <a:pt x="440" y="407"/>
                  <a:pt x="440" y="407"/>
                </a:cubicBezTo>
                <a:cubicBezTo>
                  <a:pt x="440" y="407"/>
                  <a:pt x="440" y="400"/>
                  <a:pt x="440" y="400"/>
                </a:cubicBezTo>
                <a:cubicBezTo>
                  <a:pt x="440" y="400"/>
                  <a:pt x="440" y="400"/>
                  <a:pt x="440" y="400"/>
                </a:cubicBezTo>
                <a:cubicBezTo>
                  <a:pt x="440" y="400"/>
                  <a:pt x="440" y="400"/>
                  <a:pt x="440" y="400"/>
                </a:cubicBezTo>
                <a:cubicBezTo>
                  <a:pt x="440" y="400"/>
                  <a:pt x="440" y="400"/>
                  <a:pt x="440" y="400"/>
                </a:cubicBezTo>
                <a:cubicBezTo>
                  <a:pt x="440" y="400"/>
                  <a:pt x="440" y="400"/>
                  <a:pt x="448" y="400"/>
                </a:cubicBezTo>
                <a:cubicBezTo>
                  <a:pt x="448" y="392"/>
                  <a:pt x="440" y="384"/>
                  <a:pt x="440" y="376"/>
                </a:cubicBezTo>
                <a:cubicBezTo>
                  <a:pt x="440" y="384"/>
                  <a:pt x="448" y="384"/>
                  <a:pt x="448" y="384"/>
                </a:cubicBezTo>
                <a:cubicBezTo>
                  <a:pt x="448" y="376"/>
                  <a:pt x="448" y="376"/>
                  <a:pt x="440" y="360"/>
                </a:cubicBezTo>
                <a:cubicBezTo>
                  <a:pt x="440" y="368"/>
                  <a:pt x="440" y="368"/>
                  <a:pt x="440" y="368"/>
                </a:cubicBezTo>
                <a:cubicBezTo>
                  <a:pt x="440" y="360"/>
                  <a:pt x="440" y="353"/>
                  <a:pt x="440" y="337"/>
                </a:cubicBezTo>
                <a:cubicBezTo>
                  <a:pt x="440" y="337"/>
                  <a:pt x="440" y="337"/>
                  <a:pt x="432" y="337"/>
                </a:cubicBezTo>
                <a:cubicBezTo>
                  <a:pt x="432" y="337"/>
                  <a:pt x="432" y="337"/>
                  <a:pt x="440" y="376"/>
                </a:cubicBezTo>
                <a:cubicBezTo>
                  <a:pt x="440" y="376"/>
                  <a:pt x="440" y="384"/>
                  <a:pt x="440" y="384"/>
                </a:cubicBezTo>
                <a:cubicBezTo>
                  <a:pt x="440" y="392"/>
                  <a:pt x="440" y="400"/>
                  <a:pt x="440" y="407"/>
                </a:cubicBezTo>
                <a:cubicBezTo>
                  <a:pt x="440" y="407"/>
                  <a:pt x="440" y="407"/>
                  <a:pt x="440" y="407"/>
                </a:cubicBezTo>
                <a:cubicBezTo>
                  <a:pt x="440" y="407"/>
                  <a:pt x="440" y="415"/>
                  <a:pt x="448" y="415"/>
                </a:cubicBezTo>
                <a:cubicBezTo>
                  <a:pt x="448" y="415"/>
                  <a:pt x="448" y="423"/>
                  <a:pt x="448" y="431"/>
                </a:cubicBezTo>
                <a:cubicBezTo>
                  <a:pt x="448" y="423"/>
                  <a:pt x="448" y="423"/>
                  <a:pt x="448" y="423"/>
                </a:cubicBezTo>
                <a:cubicBezTo>
                  <a:pt x="448" y="423"/>
                  <a:pt x="448" y="423"/>
                  <a:pt x="448" y="415"/>
                </a:cubicBezTo>
                <a:close/>
                <a:moveTo>
                  <a:pt x="503" y="2161"/>
                </a:moveTo>
                <a:cubicBezTo>
                  <a:pt x="503" y="2161"/>
                  <a:pt x="503" y="2161"/>
                  <a:pt x="503" y="2168"/>
                </a:cubicBezTo>
                <a:cubicBezTo>
                  <a:pt x="503" y="2168"/>
                  <a:pt x="511" y="2168"/>
                  <a:pt x="511" y="2176"/>
                </a:cubicBezTo>
                <a:cubicBezTo>
                  <a:pt x="511" y="2176"/>
                  <a:pt x="511" y="2176"/>
                  <a:pt x="511" y="2184"/>
                </a:cubicBezTo>
                <a:cubicBezTo>
                  <a:pt x="511" y="2176"/>
                  <a:pt x="503" y="2145"/>
                  <a:pt x="495" y="2129"/>
                </a:cubicBezTo>
                <a:cubicBezTo>
                  <a:pt x="495" y="2129"/>
                  <a:pt x="495" y="2129"/>
                  <a:pt x="503" y="2153"/>
                </a:cubicBezTo>
                <a:cubicBezTo>
                  <a:pt x="503" y="2161"/>
                  <a:pt x="503" y="2153"/>
                  <a:pt x="503" y="2161"/>
                </a:cubicBezTo>
                <a:close/>
                <a:moveTo>
                  <a:pt x="424" y="251"/>
                </a:moveTo>
                <a:cubicBezTo>
                  <a:pt x="424" y="251"/>
                  <a:pt x="424" y="251"/>
                  <a:pt x="424" y="251"/>
                </a:cubicBezTo>
                <a:cubicBezTo>
                  <a:pt x="424" y="251"/>
                  <a:pt x="424" y="251"/>
                  <a:pt x="424" y="259"/>
                </a:cubicBezTo>
                <a:cubicBezTo>
                  <a:pt x="424" y="259"/>
                  <a:pt x="424" y="259"/>
                  <a:pt x="424" y="259"/>
                </a:cubicBezTo>
                <a:cubicBezTo>
                  <a:pt x="424" y="251"/>
                  <a:pt x="424" y="251"/>
                  <a:pt x="424" y="251"/>
                </a:cubicBezTo>
                <a:close/>
                <a:moveTo>
                  <a:pt x="448" y="431"/>
                </a:moveTo>
                <a:cubicBezTo>
                  <a:pt x="448" y="431"/>
                  <a:pt x="448" y="431"/>
                  <a:pt x="448" y="431"/>
                </a:cubicBezTo>
                <a:cubicBezTo>
                  <a:pt x="448" y="439"/>
                  <a:pt x="448" y="439"/>
                  <a:pt x="448" y="447"/>
                </a:cubicBezTo>
                <a:cubicBezTo>
                  <a:pt x="448" y="447"/>
                  <a:pt x="448" y="447"/>
                  <a:pt x="448" y="454"/>
                </a:cubicBezTo>
                <a:cubicBezTo>
                  <a:pt x="448" y="447"/>
                  <a:pt x="448" y="439"/>
                  <a:pt x="448" y="423"/>
                </a:cubicBezTo>
                <a:cubicBezTo>
                  <a:pt x="448" y="423"/>
                  <a:pt x="448" y="431"/>
                  <a:pt x="448" y="431"/>
                </a:cubicBezTo>
                <a:close/>
                <a:moveTo>
                  <a:pt x="448" y="454"/>
                </a:moveTo>
                <a:cubicBezTo>
                  <a:pt x="448" y="454"/>
                  <a:pt x="448" y="462"/>
                  <a:pt x="456" y="462"/>
                </a:cubicBezTo>
                <a:cubicBezTo>
                  <a:pt x="456" y="462"/>
                  <a:pt x="456" y="462"/>
                  <a:pt x="456" y="454"/>
                </a:cubicBezTo>
                <a:cubicBezTo>
                  <a:pt x="448" y="454"/>
                  <a:pt x="448" y="454"/>
                  <a:pt x="448" y="454"/>
                </a:cubicBezTo>
                <a:close/>
                <a:moveTo>
                  <a:pt x="409" y="149"/>
                </a:moveTo>
                <a:cubicBezTo>
                  <a:pt x="409" y="149"/>
                  <a:pt x="409" y="149"/>
                  <a:pt x="409" y="149"/>
                </a:cubicBezTo>
                <a:cubicBezTo>
                  <a:pt x="409" y="134"/>
                  <a:pt x="409" y="141"/>
                  <a:pt x="401" y="134"/>
                </a:cubicBezTo>
                <a:cubicBezTo>
                  <a:pt x="401" y="134"/>
                  <a:pt x="401" y="134"/>
                  <a:pt x="409" y="165"/>
                </a:cubicBezTo>
                <a:cubicBezTo>
                  <a:pt x="409" y="157"/>
                  <a:pt x="409" y="157"/>
                  <a:pt x="409" y="157"/>
                </a:cubicBezTo>
                <a:cubicBezTo>
                  <a:pt x="409" y="165"/>
                  <a:pt x="409" y="173"/>
                  <a:pt x="409" y="180"/>
                </a:cubicBezTo>
                <a:cubicBezTo>
                  <a:pt x="409" y="188"/>
                  <a:pt x="409" y="188"/>
                  <a:pt x="417" y="196"/>
                </a:cubicBezTo>
                <a:cubicBezTo>
                  <a:pt x="417" y="188"/>
                  <a:pt x="409" y="180"/>
                  <a:pt x="409" y="173"/>
                </a:cubicBezTo>
                <a:cubicBezTo>
                  <a:pt x="409" y="173"/>
                  <a:pt x="409" y="173"/>
                  <a:pt x="409" y="165"/>
                </a:cubicBezTo>
                <a:cubicBezTo>
                  <a:pt x="409" y="165"/>
                  <a:pt x="409" y="165"/>
                  <a:pt x="417" y="196"/>
                </a:cubicBezTo>
                <a:cubicBezTo>
                  <a:pt x="417" y="196"/>
                  <a:pt x="417" y="196"/>
                  <a:pt x="424" y="204"/>
                </a:cubicBezTo>
                <a:cubicBezTo>
                  <a:pt x="424" y="204"/>
                  <a:pt x="424" y="204"/>
                  <a:pt x="417" y="204"/>
                </a:cubicBezTo>
                <a:cubicBezTo>
                  <a:pt x="424" y="220"/>
                  <a:pt x="424" y="227"/>
                  <a:pt x="424" y="251"/>
                </a:cubicBezTo>
                <a:cubicBezTo>
                  <a:pt x="424" y="251"/>
                  <a:pt x="424" y="251"/>
                  <a:pt x="424" y="251"/>
                </a:cubicBezTo>
                <a:cubicBezTo>
                  <a:pt x="424" y="251"/>
                  <a:pt x="424" y="251"/>
                  <a:pt x="424" y="251"/>
                </a:cubicBezTo>
                <a:cubicBezTo>
                  <a:pt x="424" y="259"/>
                  <a:pt x="424" y="259"/>
                  <a:pt x="424" y="259"/>
                </a:cubicBezTo>
                <a:cubicBezTo>
                  <a:pt x="424" y="259"/>
                  <a:pt x="424" y="259"/>
                  <a:pt x="424" y="259"/>
                </a:cubicBezTo>
                <a:cubicBezTo>
                  <a:pt x="424" y="259"/>
                  <a:pt x="424" y="259"/>
                  <a:pt x="424" y="259"/>
                </a:cubicBezTo>
                <a:cubicBezTo>
                  <a:pt x="424" y="259"/>
                  <a:pt x="424" y="259"/>
                  <a:pt x="424" y="259"/>
                </a:cubicBezTo>
                <a:cubicBezTo>
                  <a:pt x="424" y="267"/>
                  <a:pt x="432" y="298"/>
                  <a:pt x="440" y="306"/>
                </a:cubicBezTo>
                <a:cubicBezTo>
                  <a:pt x="440" y="306"/>
                  <a:pt x="440" y="306"/>
                  <a:pt x="432" y="298"/>
                </a:cubicBezTo>
                <a:cubicBezTo>
                  <a:pt x="440" y="321"/>
                  <a:pt x="440" y="321"/>
                  <a:pt x="440" y="329"/>
                </a:cubicBezTo>
                <a:cubicBezTo>
                  <a:pt x="440" y="329"/>
                  <a:pt x="440" y="329"/>
                  <a:pt x="440" y="353"/>
                </a:cubicBezTo>
                <a:cubicBezTo>
                  <a:pt x="440" y="353"/>
                  <a:pt x="440" y="353"/>
                  <a:pt x="440" y="360"/>
                </a:cubicBezTo>
                <a:cubicBezTo>
                  <a:pt x="440" y="360"/>
                  <a:pt x="440" y="360"/>
                  <a:pt x="448" y="368"/>
                </a:cubicBezTo>
                <a:cubicBezTo>
                  <a:pt x="456" y="407"/>
                  <a:pt x="456" y="454"/>
                  <a:pt x="456" y="470"/>
                </a:cubicBezTo>
                <a:cubicBezTo>
                  <a:pt x="456" y="470"/>
                  <a:pt x="456" y="470"/>
                  <a:pt x="464" y="494"/>
                </a:cubicBezTo>
                <a:cubicBezTo>
                  <a:pt x="456" y="486"/>
                  <a:pt x="456" y="494"/>
                  <a:pt x="456" y="494"/>
                </a:cubicBezTo>
                <a:cubicBezTo>
                  <a:pt x="456" y="486"/>
                  <a:pt x="456" y="470"/>
                  <a:pt x="456" y="462"/>
                </a:cubicBezTo>
                <a:cubicBezTo>
                  <a:pt x="456" y="486"/>
                  <a:pt x="448" y="494"/>
                  <a:pt x="448" y="494"/>
                </a:cubicBezTo>
                <a:cubicBezTo>
                  <a:pt x="448" y="494"/>
                  <a:pt x="448" y="494"/>
                  <a:pt x="456" y="501"/>
                </a:cubicBezTo>
                <a:cubicBezTo>
                  <a:pt x="456" y="501"/>
                  <a:pt x="456" y="501"/>
                  <a:pt x="456" y="501"/>
                </a:cubicBezTo>
                <a:cubicBezTo>
                  <a:pt x="456" y="509"/>
                  <a:pt x="456" y="509"/>
                  <a:pt x="456" y="525"/>
                </a:cubicBezTo>
                <a:cubicBezTo>
                  <a:pt x="456" y="533"/>
                  <a:pt x="456" y="533"/>
                  <a:pt x="456" y="541"/>
                </a:cubicBezTo>
                <a:cubicBezTo>
                  <a:pt x="456" y="541"/>
                  <a:pt x="456" y="533"/>
                  <a:pt x="464" y="533"/>
                </a:cubicBezTo>
                <a:cubicBezTo>
                  <a:pt x="464" y="541"/>
                  <a:pt x="464" y="541"/>
                  <a:pt x="464" y="541"/>
                </a:cubicBezTo>
                <a:cubicBezTo>
                  <a:pt x="464" y="541"/>
                  <a:pt x="464" y="541"/>
                  <a:pt x="464" y="541"/>
                </a:cubicBezTo>
                <a:cubicBezTo>
                  <a:pt x="464" y="548"/>
                  <a:pt x="464" y="548"/>
                  <a:pt x="464" y="556"/>
                </a:cubicBezTo>
                <a:cubicBezTo>
                  <a:pt x="464" y="548"/>
                  <a:pt x="464" y="548"/>
                  <a:pt x="464" y="548"/>
                </a:cubicBezTo>
                <a:cubicBezTo>
                  <a:pt x="464" y="564"/>
                  <a:pt x="464" y="564"/>
                  <a:pt x="464" y="564"/>
                </a:cubicBezTo>
                <a:cubicBezTo>
                  <a:pt x="464" y="572"/>
                  <a:pt x="464" y="580"/>
                  <a:pt x="464" y="587"/>
                </a:cubicBezTo>
                <a:cubicBezTo>
                  <a:pt x="464" y="587"/>
                  <a:pt x="464" y="595"/>
                  <a:pt x="464" y="595"/>
                </a:cubicBezTo>
                <a:cubicBezTo>
                  <a:pt x="464" y="603"/>
                  <a:pt x="464" y="603"/>
                  <a:pt x="464" y="611"/>
                </a:cubicBezTo>
                <a:cubicBezTo>
                  <a:pt x="464" y="603"/>
                  <a:pt x="472" y="603"/>
                  <a:pt x="472" y="595"/>
                </a:cubicBezTo>
                <a:cubicBezTo>
                  <a:pt x="472" y="611"/>
                  <a:pt x="472" y="619"/>
                  <a:pt x="472" y="627"/>
                </a:cubicBezTo>
                <a:cubicBezTo>
                  <a:pt x="472" y="634"/>
                  <a:pt x="472" y="634"/>
                  <a:pt x="464" y="627"/>
                </a:cubicBezTo>
                <a:cubicBezTo>
                  <a:pt x="464" y="634"/>
                  <a:pt x="464" y="642"/>
                  <a:pt x="464" y="650"/>
                </a:cubicBezTo>
                <a:cubicBezTo>
                  <a:pt x="464" y="650"/>
                  <a:pt x="464" y="650"/>
                  <a:pt x="464" y="650"/>
                </a:cubicBezTo>
                <a:cubicBezTo>
                  <a:pt x="464" y="658"/>
                  <a:pt x="464" y="658"/>
                  <a:pt x="464" y="658"/>
                </a:cubicBezTo>
                <a:cubicBezTo>
                  <a:pt x="464" y="666"/>
                  <a:pt x="464" y="666"/>
                  <a:pt x="464" y="666"/>
                </a:cubicBezTo>
                <a:cubicBezTo>
                  <a:pt x="464" y="666"/>
                  <a:pt x="464" y="666"/>
                  <a:pt x="464" y="666"/>
                </a:cubicBezTo>
                <a:cubicBezTo>
                  <a:pt x="464" y="666"/>
                  <a:pt x="464" y="666"/>
                  <a:pt x="464" y="666"/>
                </a:cubicBezTo>
                <a:cubicBezTo>
                  <a:pt x="464" y="666"/>
                  <a:pt x="464" y="658"/>
                  <a:pt x="464" y="658"/>
                </a:cubicBezTo>
                <a:cubicBezTo>
                  <a:pt x="464" y="674"/>
                  <a:pt x="472" y="681"/>
                  <a:pt x="472" y="721"/>
                </a:cubicBezTo>
                <a:cubicBezTo>
                  <a:pt x="472" y="728"/>
                  <a:pt x="472" y="728"/>
                  <a:pt x="472" y="736"/>
                </a:cubicBezTo>
                <a:cubicBezTo>
                  <a:pt x="472" y="721"/>
                  <a:pt x="479" y="713"/>
                  <a:pt x="479" y="713"/>
                </a:cubicBezTo>
                <a:cubicBezTo>
                  <a:pt x="479" y="713"/>
                  <a:pt x="479" y="713"/>
                  <a:pt x="479" y="728"/>
                </a:cubicBezTo>
                <a:cubicBezTo>
                  <a:pt x="479" y="736"/>
                  <a:pt x="479" y="736"/>
                  <a:pt x="479" y="736"/>
                </a:cubicBezTo>
                <a:cubicBezTo>
                  <a:pt x="479" y="736"/>
                  <a:pt x="479" y="736"/>
                  <a:pt x="479" y="744"/>
                </a:cubicBezTo>
                <a:cubicBezTo>
                  <a:pt x="479" y="752"/>
                  <a:pt x="479" y="752"/>
                  <a:pt x="479" y="752"/>
                </a:cubicBezTo>
                <a:cubicBezTo>
                  <a:pt x="479" y="752"/>
                  <a:pt x="479" y="752"/>
                  <a:pt x="479" y="767"/>
                </a:cubicBezTo>
                <a:cubicBezTo>
                  <a:pt x="479" y="767"/>
                  <a:pt x="479" y="767"/>
                  <a:pt x="479" y="767"/>
                </a:cubicBezTo>
                <a:cubicBezTo>
                  <a:pt x="479" y="767"/>
                  <a:pt x="479" y="767"/>
                  <a:pt x="479" y="767"/>
                </a:cubicBezTo>
                <a:cubicBezTo>
                  <a:pt x="479" y="767"/>
                  <a:pt x="479" y="767"/>
                  <a:pt x="479" y="783"/>
                </a:cubicBezTo>
                <a:cubicBezTo>
                  <a:pt x="479" y="783"/>
                  <a:pt x="479" y="783"/>
                  <a:pt x="479" y="791"/>
                </a:cubicBezTo>
                <a:cubicBezTo>
                  <a:pt x="479" y="791"/>
                  <a:pt x="479" y="791"/>
                  <a:pt x="479" y="799"/>
                </a:cubicBezTo>
                <a:cubicBezTo>
                  <a:pt x="479" y="799"/>
                  <a:pt x="479" y="799"/>
                  <a:pt x="479" y="799"/>
                </a:cubicBezTo>
                <a:cubicBezTo>
                  <a:pt x="479" y="799"/>
                  <a:pt x="479" y="799"/>
                  <a:pt x="479" y="814"/>
                </a:cubicBezTo>
                <a:cubicBezTo>
                  <a:pt x="479" y="814"/>
                  <a:pt x="479" y="814"/>
                  <a:pt x="479" y="814"/>
                </a:cubicBezTo>
                <a:cubicBezTo>
                  <a:pt x="479" y="814"/>
                  <a:pt x="479" y="822"/>
                  <a:pt x="479" y="822"/>
                </a:cubicBezTo>
                <a:cubicBezTo>
                  <a:pt x="479" y="814"/>
                  <a:pt x="479" y="838"/>
                  <a:pt x="479" y="830"/>
                </a:cubicBezTo>
                <a:cubicBezTo>
                  <a:pt x="479" y="854"/>
                  <a:pt x="479" y="861"/>
                  <a:pt x="479" y="885"/>
                </a:cubicBezTo>
                <a:cubicBezTo>
                  <a:pt x="479" y="893"/>
                  <a:pt x="479" y="893"/>
                  <a:pt x="479" y="893"/>
                </a:cubicBezTo>
                <a:cubicBezTo>
                  <a:pt x="479" y="901"/>
                  <a:pt x="479" y="893"/>
                  <a:pt x="487" y="893"/>
                </a:cubicBezTo>
                <a:cubicBezTo>
                  <a:pt x="487" y="885"/>
                  <a:pt x="487" y="877"/>
                  <a:pt x="479" y="861"/>
                </a:cubicBezTo>
                <a:cubicBezTo>
                  <a:pt x="479" y="861"/>
                  <a:pt x="479" y="854"/>
                  <a:pt x="479" y="854"/>
                </a:cubicBezTo>
                <a:cubicBezTo>
                  <a:pt x="479" y="854"/>
                  <a:pt x="479" y="854"/>
                  <a:pt x="487" y="861"/>
                </a:cubicBezTo>
                <a:cubicBezTo>
                  <a:pt x="487" y="861"/>
                  <a:pt x="487" y="861"/>
                  <a:pt x="487" y="861"/>
                </a:cubicBezTo>
                <a:cubicBezTo>
                  <a:pt x="487" y="869"/>
                  <a:pt x="487" y="877"/>
                  <a:pt x="487" y="877"/>
                </a:cubicBezTo>
                <a:cubicBezTo>
                  <a:pt x="487" y="885"/>
                  <a:pt x="487" y="885"/>
                  <a:pt x="487" y="885"/>
                </a:cubicBezTo>
                <a:cubicBezTo>
                  <a:pt x="487" y="885"/>
                  <a:pt x="487" y="885"/>
                  <a:pt x="487" y="885"/>
                </a:cubicBezTo>
                <a:cubicBezTo>
                  <a:pt x="487" y="893"/>
                  <a:pt x="487" y="893"/>
                  <a:pt x="487" y="893"/>
                </a:cubicBezTo>
                <a:cubicBezTo>
                  <a:pt x="487" y="893"/>
                  <a:pt x="487" y="901"/>
                  <a:pt x="487" y="908"/>
                </a:cubicBezTo>
                <a:cubicBezTo>
                  <a:pt x="487" y="901"/>
                  <a:pt x="487" y="901"/>
                  <a:pt x="487" y="901"/>
                </a:cubicBezTo>
                <a:cubicBezTo>
                  <a:pt x="487" y="908"/>
                  <a:pt x="487" y="908"/>
                  <a:pt x="487" y="916"/>
                </a:cubicBezTo>
                <a:cubicBezTo>
                  <a:pt x="487" y="916"/>
                  <a:pt x="487" y="916"/>
                  <a:pt x="479" y="916"/>
                </a:cubicBezTo>
                <a:cubicBezTo>
                  <a:pt x="479" y="908"/>
                  <a:pt x="479" y="908"/>
                  <a:pt x="479" y="901"/>
                </a:cubicBezTo>
                <a:cubicBezTo>
                  <a:pt x="479" y="901"/>
                  <a:pt x="479" y="901"/>
                  <a:pt x="479" y="885"/>
                </a:cubicBezTo>
                <a:cubicBezTo>
                  <a:pt x="479" y="901"/>
                  <a:pt x="479" y="908"/>
                  <a:pt x="479" y="932"/>
                </a:cubicBezTo>
                <a:cubicBezTo>
                  <a:pt x="479" y="932"/>
                  <a:pt x="479" y="932"/>
                  <a:pt x="479" y="932"/>
                </a:cubicBezTo>
                <a:cubicBezTo>
                  <a:pt x="479" y="940"/>
                  <a:pt x="472" y="901"/>
                  <a:pt x="472" y="932"/>
                </a:cubicBezTo>
                <a:cubicBezTo>
                  <a:pt x="472" y="940"/>
                  <a:pt x="472" y="940"/>
                  <a:pt x="472" y="947"/>
                </a:cubicBezTo>
                <a:cubicBezTo>
                  <a:pt x="472" y="955"/>
                  <a:pt x="472" y="963"/>
                  <a:pt x="464" y="963"/>
                </a:cubicBezTo>
                <a:cubicBezTo>
                  <a:pt x="464" y="971"/>
                  <a:pt x="464" y="979"/>
                  <a:pt x="464" y="987"/>
                </a:cubicBezTo>
                <a:cubicBezTo>
                  <a:pt x="464" y="1010"/>
                  <a:pt x="472" y="1034"/>
                  <a:pt x="464" y="1049"/>
                </a:cubicBezTo>
                <a:cubicBezTo>
                  <a:pt x="472" y="1073"/>
                  <a:pt x="472" y="1065"/>
                  <a:pt x="472" y="1073"/>
                </a:cubicBezTo>
                <a:cubicBezTo>
                  <a:pt x="472" y="1073"/>
                  <a:pt x="472" y="1081"/>
                  <a:pt x="472" y="1081"/>
                </a:cubicBezTo>
                <a:cubicBezTo>
                  <a:pt x="472" y="1088"/>
                  <a:pt x="472" y="1088"/>
                  <a:pt x="472" y="1096"/>
                </a:cubicBezTo>
                <a:cubicBezTo>
                  <a:pt x="472" y="1096"/>
                  <a:pt x="472" y="1096"/>
                  <a:pt x="472" y="1104"/>
                </a:cubicBezTo>
                <a:cubicBezTo>
                  <a:pt x="472" y="1104"/>
                  <a:pt x="472" y="1112"/>
                  <a:pt x="472" y="1112"/>
                </a:cubicBezTo>
                <a:cubicBezTo>
                  <a:pt x="472" y="1120"/>
                  <a:pt x="472" y="1120"/>
                  <a:pt x="472" y="1120"/>
                </a:cubicBezTo>
                <a:cubicBezTo>
                  <a:pt x="472" y="1120"/>
                  <a:pt x="472" y="1128"/>
                  <a:pt x="472" y="1128"/>
                </a:cubicBezTo>
                <a:cubicBezTo>
                  <a:pt x="472" y="1135"/>
                  <a:pt x="472" y="1143"/>
                  <a:pt x="472" y="1151"/>
                </a:cubicBezTo>
                <a:cubicBezTo>
                  <a:pt x="472" y="1151"/>
                  <a:pt x="472" y="1151"/>
                  <a:pt x="472" y="1151"/>
                </a:cubicBezTo>
                <a:cubicBezTo>
                  <a:pt x="472" y="1159"/>
                  <a:pt x="472" y="1159"/>
                  <a:pt x="472" y="1159"/>
                </a:cubicBezTo>
                <a:cubicBezTo>
                  <a:pt x="472" y="1167"/>
                  <a:pt x="472" y="1167"/>
                  <a:pt x="472" y="1167"/>
                </a:cubicBezTo>
                <a:cubicBezTo>
                  <a:pt x="472" y="1174"/>
                  <a:pt x="472" y="1174"/>
                  <a:pt x="472" y="1182"/>
                </a:cubicBezTo>
                <a:cubicBezTo>
                  <a:pt x="472" y="1190"/>
                  <a:pt x="472" y="1206"/>
                  <a:pt x="472" y="1206"/>
                </a:cubicBezTo>
                <a:cubicBezTo>
                  <a:pt x="472" y="1206"/>
                  <a:pt x="472" y="1206"/>
                  <a:pt x="472" y="1214"/>
                </a:cubicBezTo>
                <a:cubicBezTo>
                  <a:pt x="472" y="1214"/>
                  <a:pt x="472" y="1214"/>
                  <a:pt x="472" y="1214"/>
                </a:cubicBezTo>
                <a:cubicBezTo>
                  <a:pt x="472" y="1221"/>
                  <a:pt x="472" y="1245"/>
                  <a:pt x="472" y="1268"/>
                </a:cubicBezTo>
                <a:cubicBezTo>
                  <a:pt x="472" y="1268"/>
                  <a:pt x="472" y="1268"/>
                  <a:pt x="472" y="1276"/>
                </a:cubicBezTo>
                <a:cubicBezTo>
                  <a:pt x="472" y="1276"/>
                  <a:pt x="472" y="1284"/>
                  <a:pt x="472" y="1284"/>
                </a:cubicBezTo>
                <a:cubicBezTo>
                  <a:pt x="472" y="1284"/>
                  <a:pt x="472" y="1284"/>
                  <a:pt x="472" y="1292"/>
                </a:cubicBezTo>
                <a:cubicBezTo>
                  <a:pt x="472" y="1300"/>
                  <a:pt x="472" y="1300"/>
                  <a:pt x="472" y="1300"/>
                </a:cubicBezTo>
                <a:cubicBezTo>
                  <a:pt x="472" y="1300"/>
                  <a:pt x="472" y="1300"/>
                  <a:pt x="472" y="1300"/>
                </a:cubicBezTo>
                <a:cubicBezTo>
                  <a:pt x="472" y="1300"/>
                  <a:pt x="472" y="1300"/>
                  <a:pt x="472" y="1315"/>
                </a:cubicBezTo>
                <a:cubicBezTo>
                  <a:pt x="472" y="1300"/>
                  <a:pt x="472" y="1292"/>
                  <a:pt x="479" y="1300"/>
                </a:cubicBezTo>
                <a:cubicBezTo>
                  <a:pt x="479" y="1300"/>
                  <a:pt x="479" y="1300"/>
                  <a:pt x="479" y="1292"/>
                </a:cubicBezTo>
                <a:cubicBezTo>
                  <a:pt x="472" y="1292"/>
                  <a:pt x="472" y="1284"/>
                  <a:pt x="472" y="1276"/>
                </a:cubicBezTo>
                <a:cubicBezTo>
                  <a:pt x="479" y="1253"/>
                  <a:pt x="479" y="1276"/>
                  <a:pt x="479" y="1261"/>
                </a:cubicBezTo>
                <a:cubicBezTo>
                  <a:pt x="479" y="1253"/>
                  <a:pt x="479" y="1245"/>
                  <a:pt x="479" y="1245"/>
                </a:cubicBezTo>
                <a:cubicBezTo>
                  <a:pt x="479" y="1261"/>
                  <a:pt x="487" y="1276"/>
                  <a:pt x="487" y="1292"/>
                </a:cubicBezTo>
                <a:cubicBezTo>
                  <a:pt x="479" y="1292"/>
                  <a:pt x="479" y="1308"/>
                  <a:pt x="479" y="1331"/>
                </a:cubicBezTo>
                <a:cubicBezTo>
                  <a:pt x="479" y="1331"/>
                  <a:pt x="479" y="1323"/>
                  <a:pt x="479" y="1315"/>
                </a:cubicBezTo>
                <a:cubicBezTo>
                  <a:pt x="479" y="1362"/>
                  <a:pt x="479" y="1394"/>
                  <a:pt x="479" y="1417"/>
                </a:cubicBezTo>
                <a:cubicBezTo>
                  <a:pt x="479" y="1417"/>
                  <a:pt x="479" y="1417"/>
                  <a:pt x="479" y="1433"/>
                </a:cubicBezTo>
                <a:cubicBezTo>
                  <a:pt x="479" y="1433"/>
                  <a:pt x="479" y="1433"/>
                  <a:pt x="479" y="1441"/>
                </a:cubicBezTo>
                <a:cubicBezTo>
                  <a:pt x="479" y="1448"/>
                  <a:pt x="479" y="1448"/>
                  <a:pt x="479" y="1456"/>
                </a:cubicBezTo>
                <a:cubicBezTo>
                  <a:pt x="479" y="1456"/>
                  <a:pt x="479" y="1456"/>
                  <a:pt x="479" y="1464"/>
                </a:cubicBezTo>
                <a:cubicBezTo>
                  <a:pt x="479" y="1464"/>
                  <a:pt x="479" y="1464"/>
                  <a:pt x="472" y="1464"/>
                </a:cubicBezTo>
                <a:cubicBezTo>
                  <a:pt x="472" y="1464"/>
                  <a:pt x="472" y="1464"/>
                  <a:pt x="472" y="1472"/>
                </a:cubicBezTo>
                <a:cubicBezTo>
                  <a:pt x="472" y="1480"/>
                  <a:pt x="472" y="1480"/>
                  <a:pt x="472" y="1495"/>
                </a:cubicBezTo>
                <a:cubicBezTo>
                  <a:pt x="472" y="1511"/>
                  <a:pt x="472" y="1527"/>
                  <a:pt x="472" y="1527"/>
                </a:cubicBezTo>
                <a:cubicBezTo>
                  <a:pt x="472" y="1542"/>
                  <a:pt x="472" y="1558"/>
                  <a:pt x="472" y="1581"/>
                </a:cubicBezTo>
                <a:cubicBezTo>
                  <a:pt x="479" y="1558"/>
                  <a:pt x="479" y="1527"/>
                  <a:pt x="479" y="1495"/>
                </a:cubicBezTo>
                <a:cubicBezTo>
                  <a:pt x="479" y="1503"/>
                  <a:pt x="479" y="1495"/>
                  <a:pt x="479" y="1511"/>
                </a:cubicBezTo>
                <a:cubicBezTo>
                  <a:pt x="479" y="1511"/>
                  <a:pt x="479" y="1511"/>
                  <a:pt x="479" y="1519"/>
                </a:cubicBezTo>
                <a:cubicBezTo>
                  <a:pt x="479" y="1527"/>
                  <a:pt x="479" y="1527"/>
                  <a:pt x="479" y="1527"/>
                </a:cubicBezTo>
                <a:cubicBezTo>
                  <a:pt x="479" y="1534"/>
                  <a:pt x="479" y="1534"/>
                  <a:pt x="479" y="1534"/>
                </a:cubicBezTo>
                <a:cubicBezTo>
                  <a:pt x="479" y="1534"/>
                  <a:pt x="479" y="1534"/>
                  <a:pt x="479" y="1542"/>
                </a:cubicBezTo>
                <a:cubicBezTo>
                  <a:pt x="479" y="1542"/>
                  <a:pt x="479" y="1542"/>
                  <a:pt x="479" y="1542"/>
                </a:cubicBezTo>
                <a:cubicBezTo>
                  <a:pt x="479" y="1574"/>
                  <a:pt x="479" y="1581"/>
                  <a:pt x="479" y="1605"/>
                </a:cubicBezTo>
                <a:cubicBezTo>
                  <a:pt x="479" y="1621"/>
                  <a:pt x="472" y="1730"/>
                  <a:pt x="472" y="1785"/>
                </a:cubicBezTo>
                <a:cubicBezTo>
                  <a:pt x="472" y="1777"/>
                  <a:pt x="472" y="1769"/>
                  <a:pt x="479" y="1754"/>
                </a:cubicBezTo>
                <a:cubicBezTo>
                  <a:pt x="479" y="1754"/>
                  <a:pt x="479" y="1746"/>
                  <a:pt x="479" y="1746"/>
                </a:cubicBezTo>
                <a:cubicBezTo>
                  <a:pt x="479" y="1738"/>
                  <a:pt x="479" y="1738"/>
                  <a:pt x="479" y="1730"/>
                </a:cubicBezTo>
                <a:cubicBezTo>
                  <a:pt x="479" y="1699"/>
                  <a:pt x="479" y="1652"/>
                  <a:pt x="479" y="1644"/>
                </a:cubicBezTo>
                <a:cubicBezTo>
                  <a:pt x="479" y="1644"/>
                  <a:pt x="479" y="1636"/>
                  <a:pt x="479" y="1628"/>
                </a:cubicBezTo>
                <a:cubicBezTo>
                  <a:pt x="495" y="1566"/>
                  <a:pt x="487" y="1370"/>
                  <a:pt x="487" y="1315"/>
                </a:cubicBezTo>
                <a:cubicBezTo>
                  <a:pt x="487" y="1300"/>
                  <a:pt x="487" y="1308"/>
                  <a:pt x="487" y="1300"/>
                </a:cubicBezTo>
                <a:cubicBezTo>
                  <a:pt x="487" y="1292"/>
                  <a:pt x="487" y="1292"/>
                  <a:pt x="487" y="1292"/>
                </a:cubicBezTo>
                <a:cubicBezTo>
                  <a:pt x="487" y="1268"/>
                  <a:pt x="487" y="1253"/>
                  <a:pt x="487" y="1229"/>
                </a:cubicBezTo>
                <a:cubicBezTo>
                  <a:pt x="487" y="1229"/>
                  <a:pt x="487" y="1229"/>
                  <a:pt x="487" y="1221"/>
                </a:cubicBezTo>
                <a:cubicBezTo>
                  <a:pt x="487" y="1221"/>
                  <a:pt x="487" y="1214"/>
                  <a:pt x="487" y="1214"/>
                </a:cubicBezTo>
                <a:cubicBezTo>
                  <a:pt x="487" y="1214"/>
                  <a:pt x="487" y="1214"/>
                  <a:pt x="487" y="1214"/>
                </a:cubicBezTo>
                <a:cubicBezTo>
                  <a:pt x="487" y="1214"/>
                  <a:pt x="487" y="1214"/>
                  <a:pt x="487" y="1206"/>
                </a:cubicBezTo>
                <a:cubicBezTo>
                  <a:pt x="487" y="1206"/>
                  <a:pt x="487" y="1206"/>
                  <a:pt x="487" y="1198"/>
                </a:cubicBezTo>
                <a:cubicBezTo>
                  <a:pt x="487" y="1198"/>
                  <a:pt x="487" y="1198"/>
                  <a:pt x="487" y="1198"/>
                </a:cubicBezTo>
                <a:cubicBezTo>
                  <a:pt x="487" y="1198"/>
                  <a:pt x="487" y="1190"/>
                  <a:pt x="487" y="1190"/>
                </a:cubicBezTo>
                <a:cubicBezTo>
                  <a:pt x="487" y="1143"/>
                  <a:pt x="479" y="1065"/>
                  <a:pt x="479" y="1026"/>
                </a:cubicBezTo>
                <a:cubicBezTo>
                  <a:pt x="479" y="1026"/>
                  <a:pt x="479" y="1026"/>
                  <a:pt x="479" y="1026"/>
                </a:cubicBezTo>
                <a:cubicBezTo>
                  <a:pt x="479" y="1018"/>
                  <a:pt x="479" y="1018"/>
                  <a:pt x="479" y="1018"/>
                </a:cubicBezTo>
                <a:cubicBezTo>
                  <a:pt x="479" y="1018"/>
                  <a:pt x="479" y="1010"/>
                  <a:pt x="479" y="1010"/>
                </a:cubicBezTo>
                <a:cubicBezTo>
                  <a:pt x="479" y="1010"/>
                  <a:pt x="479" y="1010"/>
                  <a:pt x="479" y="1010"/>
                </a:cubicBezTo>
                <a:cubicBezTo>
                  <a:pt x="479" y="1002"/>
                  <a:pt x="479" y="994"/>
                  <a:pt x="479" y="994"/>
                </a:cubicBezTo>
                <a:cubicBezTo>
                  <a:pt x="479" y="971"/>
                  <a:pt x="479" y="947"/>
                  <a:pt x="479" y="932"/>
                </a:cubicBezTo>
                <a:cubicBezTo>
                  <a:pt x="487" y="932"/>
                  <a:pt x="487" y="932"/>
                  <a:pt x="487" y="924"/>
                </a:cubicBezTo>
                <a:cubicBezTo>
                  <a:pt x="487" y="924"/>
                  <a:pt x="487" y="924"/>
                  <a:pt x="487" y="916"/>
                </a:cubicBezTo>
                <a:cubicBezTo>
                  <a:pt x="487" y="916"/>
                  <a:pt x="487" y="916"/>
                  <a:pt x="487" y="916"/>
                </a:cubicBezTo>
                <a:cubicBezTo>
                  <a:pt x="487" y="924"/>
                  <a:pt x="487" y="924"/>
                  <a:pt x="487" y="924"/>
                </a:cubicBezTo>
                <a:cubicBezTo>
                  <a:pt x="487" y="924"/>
                  <a:pt x="487" y="924"/>
                  <a:pt x="487" y="924"/>
                </a:cubicBezTo>
                <a:cubicBezTo>
                  <a:pt x="495" y="971"/>
                  <a:pt x="495" y="971"/>
                  <a:pt x="495" y="971"/>
                </a:cubicBezTo>
                <a:cubicBezTo>
                  <a:pt x="495" y="987"/>
                  <a:pt x="495" y="1002"/>
                  <a:pt x="495" y="1010"/>
                </a:cubicBezTo>
                <a:cubicBezTo>
                  <a:pt x="487" y="1010"/>
                  <a:pt x="487" y="1010"/>
                  <a:pt x="487" y="1010"/>
                </a:cubicBezTo>
                <a:cubicBezTo>
                  <a:pt x="495" y="1026"/>
                  <a:pt x="495" y="1026"/>
                  <a:pt x="495" y="1026"/>
                </a:cubicBezTo>
                <a:cubicBezTo>
                  <a:pt x="495" y="1026"/>
                  <a:pt x="495" y="1026"/>
                  <a:pt x="495" y="1034"/>
                </a:cubicBezTo>
                <a:cubicBezTo>
                  <a:pt x="495" y="1034"/>
                  <a:pt x="495" y="1041"/>
                  <a:pt x="495" y="1041"/>
                </a:cubicBezTo>
                <a:cubicBezTo>
                  <a:pt x="495" y="1049"/>
                  <a:pt x="495" y="1049"/>
                  <a:pt x="495" y="1049"/>
                </a:cubicBezTo>
                <a:cubicBezTo>
                  <a:pt x="495" y="1057"/>
                  <a:pt x="495" y="1057"/>
                  <a:pt x="495" y="1065"/>
                </a:cubicBezTo>
                <a:cubicBezTo>
                  <a:pt x="495" y="1065"/>
                  <a:pt x="495" y="1065"/>
                  <a:pt x="495" y="1065"/>
                </a:cubicBezTo>
                <a:cubicBezTo>
                  <a:pt x="495" y="1057"/>
                  <a:pt x="495" y="1073"/>
                  <a:pt x="487" y="1073"/>
                </a:cubicBezTo>
                <a:cubicBezTo>
                  <a:pt x="487" y="1081"/>
                  <a:pt x="487" y="1088"/>
                  <a:pt x="487" y="1088"/>
                </a:cubicBezTo>
                <a:cubicBezTo>
                  <a:pt x="487" y="1088"/>
                  <a:pt x="487" y="1088"/>
                  <a:pt x="495" y="1096"/>
                </a:cubicBezTo>
                <a:cubicBezTo>
                  <a:pt x="495" y="1096"/>
                  <a:pt x="495" y="1096"/>
                  <a:pt x="487" y="1112"/>
                </a:cubicBezTo>
                <a:cubicBezTo>
                  <a:pt x="487" y="1128"/>
                  <a:pt x="487" y="1135"/>
                  <a:pt x="487" y="1151"/>
                </a:cubicBezTo>
                <a:cubicBezTo>
                  <a:pt x="487" y="1151"/>
                  <a:pt x="487" y="1151"/>
                  <a:pt x="487" y="1151"/>
                </a:cubicBezTo>
                <a:cubicBezTo>
                  <a:pt x="487" y="1159"/>
                  <a:pt x="487" y="1167"/>
                  <a:pt x="487" y="1167"/>
                </a:cubicBezTo>
                <a:cubicBezTo>
                  <a:pt x="487" y="1167"/>
                  <a:pt x="487" y="1167"/>
                  <a:pt x="495" y="1174"/>
                </a:cubicBezTo>
                <a:cubicBezTo>
                  <a:pt x="495" y="1174"/>
                  <a:pt x="495" y="1174"/>
                  <a:pt x="495" y="1182"/>
                </a:cubicBezTo>
                <a:cubicBezTo>
                  <a:pt x="487" y="1190"/>
                  <a:pt x="487" y="1190"/>
                  <a:pt x="487" y="1190"/>
                </a:cubicBezTo>
                <a:cubicBezTo>
                  <a:pt x="495" y="1190"/>
                  <a:pt x="495" y="1190"/>
                  <a:pt x="495" y="1190"/>
                </a:cubicBezTo>
                <a:cubicBezTo>
                  <a:pt x="495" y="1190"/>
                  <a:pt x="495" y="1190"/>
                  <a:pt x="495" y="1198"/>
                </a:cubicBezTo>
                <a:cubicBezTo>
                  <a:pt x="495" y="1198"/>
                  <a:pt x="495" y="1198"/>
                  <a:pt x="495" y="1198"/>
                </a:cubicBezTo>
                <a:cubicBezTo>
                  <a:pt x="495" y="1198"/>
                  <a:pt x="495" y="1198"/>
                  <a:pt x="487" y="1221"/>
                </a:cubicBezTo>
                <a:cubicBezTo>
                  <a:pt x="495" y="1229"/>
                  <a:pt x="495" y="1229"/>
                  <a:pt x="495" y="1229"/>
                </a:cubicBezTo>
                <a:cubicBezTo>
                  <a:pt x="495" y="1229"/>
                  <a:pt x="495" y="1229"/>
                  <a:pt x="495" y="1229"/>
                </a:cubicBezTo>
                <a:cubicBezTo>
                  <a:pt x="495" y="1237"/>
                  <a:pt x="495" y="1237"/>
                  <a:pt x="495" y="1237"/>
                </a:cubicBezTo>
                <a:cubicBezTo>
                  <a:pt x="487" y="1245"/>
                  <a:pt x="495" y="1245"/>
                  <a:pt x="495" y="1261"/>
                </a:cubicBezTo>
                <a:cubicBezTo>
                  <a:pt x="495" y="1261"/>
                  <a:pt x="495" y="1268"/>
                  <a:pt x="495" y="1268"/>
                </a:cubicBezTo>
                <a:cubicBezTo>
                  <a:pt x="495" y="1268"/>
                  <a:pt x="495" y="1276"/>
                  <a:pt x="495" y="1276"/>
                </a:cubicBezTo>
                <a:cubicBezTo>
                  <a:pt x="495" y="1284"/>
                  <a:pt x="495" y="1292"/>
                  <a:pt x="495" y="1300"/>
                </a:cubicBezTo>
                <a:cubicBezTo>
                  <a:pt x="495" y="1300"/>
                  <a:pt x="495" y="1308"/>
                  <a:pt x="495" y="1308"/>
                </a:cubicBezTo>
                <a:cubicBezTo>
                  <a:pt x="495" y="1315"/>
                  <a:pt x="495" y="1315"/>
                  <a:pt x="495" y="1315"/>
                </a:cubicBezTo>
                <a:cubicBezTo>
                  <a:pt x="495" y="1315"/>
                  <a:pt x="495" y="1315"/>
                  <a:pt x="495" y="1323"/>
                </a:cubicBezTo>
                <a:cubicBezTo>
                  <a:pt x="495" y="1331"/>
                  <a:pt x="495" y="1339"/>
                  <a:pt x="495" y="1347"/>
                </a:cubicBezTo>
                <a:cubicBezTo>
                  <a:pt x="487" y="1433"/>
                  <a:pt x="487" y="1534"/>
                  <a:pt x="487" y="1613"/>
                </a:cubicBezTo>
                <a:cubicBezTo>
                  <a:pt x="487" y="1613"/>
                  <a:pt x="487" y="1613"/>
                  <a:pt x="487" y="1613"/>
                </a:cubicBezTo>
                <a:cubicBezTo>
                  <a:pt x="487" y="1613"/>
                  <a:pt x="487" y="1613"/>
                  <a:pt x="487" y="1613"/>
                </a:cubicBezTo>
                <a:cubicBezTo>
                  <a:pt x="487" y="1613"/>
                  <a:pt x="487" y="1613"/>
                  <a:pt x="487" y="1613"/>
                </a:cubicBezTo>
                <a:cubicBezTo>
                  <a:pt x="487" y="1628"/>
                  <a:pt x="487" y="1644"/>
                  <a:pt x="487" y="1652"/>
                </a:cubicBezTo>
                <a:cubicBezTo>
                  <a:pt x="487" y="1652"/>
                  <a:pt x="487" y="1652"/>
                  <a:pt x="487" y="1660"/>
                </a:cubicBezTo>
                <a:cubicBezTo>
                  <a:pt x="479" y="1668"/>
                  <a:pt x="479" y="1668"/>
                  <a:pt x="487" y="1668"/>
                </a:cubicBezTo>
                <a:cubicBezTo>
                  <a:pt x="487" y="1668"/>
                  <a:pt x="487" y="1668"/>
                  <a:pt x="487" y="1683"/>
                </a:cubicBezTo>
                <a:cubicBezTo>
                  <a:pt x="487" y="1683"/>
                  <a:pt x="487" y="1683"/>
                  <a:pt x="479" y="1691"/>
                </a:cubicBezTo>
                <a:cubicBezTo>
                  <a:pt x="479" y="1691"/>
                  <a:pt x="479" y="1691"/>
                  <a:pt x="479" y="1675"/>
                </a:cubicBezTo>
                <a:cubicBezTo>
                  <a:pt x="479" y="1707"/>
                  <a:pt x="479" y="1777"/>
                  <a:pt x="479" y="1801"/>
                </a:cubicBezTo>
                <a:cubicBezTo>
                  <a:pt x="472" y="1808"/>
                  <a:pt x="472" y="1824"/>
                  <a:pt x="472" y="1832"/>
                </a:cubicBezTo>
                <a:cubicBezTo>
                  <a:pt x="472" y="1832"/>
                  <a:pt x="472" y="1832"/>
                  <a:pt x="472" y="1840"/>
                </a:cubicBezTo>
                <a:cubicBezTo>
                  <a:pt x="472" y="1840"/>
                  <a:pt x="472" y="1840"/>
                  <a:pt x="472" y="1840"/>
                </a:cubicBezTo>
                <a:cubicBezTo>
                  <a:pt x="472" y="1832"/>
                  <a:pt x="472" y="1824"/>
                  <a:pt x="479" y="1808"/>
                </a:cubicBezTo>
                <a:cubicBezTo>
                  <a:pt x="479" y="1816"/>
                  <a:pt x="479" y="1816"/>
                  <a:pt x="479" y="1824"/>
                </a:cubicBezTo>
                <a:cubicBezTo>
                  <a:pt x="479" y="1832"/>
                  <a:pt x="479" y="1824"/>
                  <a:pt x="479" y="1832"/>
                </a:cubicBezTo>
                <a:cubicBezTo>
                  <a:pt x="479" y="1832"/>
                  <a:pt x="479" y="1832"/>
                  <a:pt x="479" y="1840"/>
                </a:cubicBezTo>
                <a:cubicBezTo>
                  <a:pt x="479" y="1840"/>
                  <a:pt x="479" y="1848"/>
                  <a:pt x="479" y="1848"/>
                </a:cubicBezTo>
                <a:cubicBezTo>
                  <a:pt x="479" y="1871"/>
                  <a:pt x="479" y="1973"/>
                  <a:pt x="479" y="1973"/>
                </a:cubicBezTo>
                <a:cubicBezTo>
                  <a:pt x="479" y="1973"/>
                  <a:pt x="479" y="1981"/>
                  <a:pt x="479" y="1988"/>
                </a:cubicBezTo>
                <a:cubicBezTo>
                  <a:pt x="479" y="1988"/>
                  <a:pt x="479" y="1981"/>
                  <a:pt x="479" y="1981"/>
                </a:cubicBezTo>
                <a:cubicBezTo>
                  <a:pt x="479" y="1981"/>
                  <a:pt x="479" y="1981"/>
                  <a:pt x="479" y="1973"/>
                </a:cubicBezTo>
                <a:cubicBezTo>
                  <a:pt x="479" y="1965"/>
                  <a:pt x="472" y="1934"/>
                  <a:pt x="472" y="1910"/>
                </a:cubicBezTo>
                <a:cubicBezTo>
                  <a:pt x="472" y="1918"/>
                  <a:pt x="472" y="1926"/>
                  <a:pt x="472" y="1926"/>
                </a:cubicBezTo>
                <a:cubicBezTo>
                  <a:pt x="472" y="1926"/>
                  <a:pt x="472" y="1926"/>
                  <a:pt x="472" y="1934"/>
                </a:cubicBezTo>
                <a:cubicBezTo>
                  <a:pt x="472" y="1934"/>
                  <a:pt x="472" y="1934"/>
                  <a:pt x="472" y="1941"/>
                </a:cubicBezTo>
                <a:cubicBezTo>
                  <a:pt x="472" y="1949"/>
                  <a:pt x="472" y="1981"/>
                  <a:pt x="479" y="1996"/>
                </a:cubicBezTo>
                <a:cubicBezTo>
                  <a:pt x="479" y="2012"/>
                  <a:pt x="479" y="2012"/>
                  <a:pt x="479" y="2012"/>
                </a:cubicBezTo>
                <a:cubicBezTo>
                  <a:pt x="479" y="2028"/>
                  <a:pt x="479" y="2043"/>
                  <a:pt x="479" y="2059"/>
                </a:cubicBezTo>
                <a:cubicBezTo>
                  <a:pt x="479" y="2035"/>
                  <a:pt x="479" y="2012"/>
                  <a:pt x="479" y="1988"/>
                </a:cubicBezTo>
                <a:cubicBezTo>
                  <a:pt x="479" y="2012"/>
                  <a:pt x="479" y="2028"/>
                  <a:pt x="479" y="2059"/>
                </a:cubicBezTo>
                <a:cubicBezTo>
                  <a:pt x="479" y="2059"/>
                  <a:pt x="479" y="2059"/>
                  <a:pt x="487" y="2059"/>
                </a:cubicBezTo>
                <a:cubicBezTo>
                  <a:pt x="487" y="2059"/>
                  <a:pt x="487" y="2059"/>
                  <a:pt x="487" y="2059"/>
                </a:cubicBezTo>
                <a:cubicBezTo>
                  <a:pt x="487" y="2059"/>
                  <a:pt x="487" y="2059"/>
                  <a:pt x="487" y="2067"/>
                </a:cubicBezTo>
                <a:cubicBezTo>
                  <a:pt x="487" y="2067"/>
                  <a:pt x="487" y="2067"/>
                  <a:pt x="487" y="2075"/>
                </a:cubicBezTo>
                <a:cubicBezTo>
                  <a:pt x="487" y="2075"/>
                  <a:pt x="487" y="2075"/>
                  <a:pt x="487" y="2075"/>
                </a:cubicBezTo>
                <a:cubicBezTo>
                  <a:pt x="487" y="2082"/>
                  <a:pt x="487" y="2090"/>
                  <a:pt x="487" y="2098"/>
                </a:cubicBezTo>
                <a:cubicBezTo>
                  <a:pt x="495" y="2098"/>
                  <a:pt x="487" y="2098"/>
                  <a:pt x="495" y="2121"/>
                </a:cubicBezTo>
                <a:cubicBezTo>
                  <a:pt x="495" y="2121"/>
                  <a:pt x="495" y="2114"/>
                  <a:pt x="495" y="2106"/>
                </a:cubicBezTo>
                <a:cubicBezTo>
                  <a:pt x="495" y="2106"/>
                  <a:pt x="495" y="2106"/>
                  <a:pt x="495" y="2137"/>
                </a:cubicBezTo>
                <a:cubicBezTo>
                  <a:pt x="495" y="2137"/>
                  <a:pt x="495" y="2137"/>
                  <a:pt x="495" y="2129"/>
                </a:cubicBezTo>
                <a:cubicBezTo>
                  <a:pt x="495" y="2129"/>
                  <a:pt x="495" y="2129"/>
                  <a:pt x="503" y="2129"/>
                </a:cubicBezTo>
                <a:cubicBezTo>
                  <a:pt x="503" y="2129"/>
                  <a:pt x="503" y="2129"/>
                  <a:pt x="511" y="2145"/>
                </a:cubicBezTo>
                <a:cubicBezTo>
                  <a:pt x="511" y="2145"/>
                  <a:pt x="511" y="2153"/>
                  <a:pt x="511" y="2153"/>
                </a:cubicBezTo>
                <a:cubicBezTo>
                  <a:pt x="511" y="2153"/>
                  <a:pt x="511" y="2153"/>
                  <a:pt x="511" y="2145"/>
                </a:cubicBezTo>
                <a:cubicBezTo>
                  <a:pt x="511" y="2145"/>
                  <a:pt x="511" y="2137"/>
                  <a:pt x="511" y="2121"/>
                </a:cubicBezTo>
                <a:cubicBezTo>
                  <a:pt x="511" y="2121"/>
                  <a:pt x="511" y="2121"/>
                  <a:pt x="511" y="2121"/>
                </a:cubicBezTo>
                <a:cubicBezTo>
                  <a:pt x="511" y="2121"/>
                  <a:pt x="511" y="2121"/>
                  <a:pt x="511" y="2129"/>
                </a:cubicBezTo>
                <a:cubicBezTo>
                  <a:pt x="511" y="2121"/>
                  <a:pt x="511" y="2121"/>
                  <a:pt x="511" y="2114"/>
                </a:cubicBezTo>
                <a:cubicBezTo>
                  <a:pt x="511" y="2098"/>
                  <a:pt x="511" y="2098"/>
                  <a:pt x="511" y="2090"/>
                </a:cubicBezTo>
                <a:cubicBezTo>
                  <a:pt x="511" y="2098"/>
                  <a:pt x="511" y="2106"/>
                  <a:pt x="511" y="2106"/>
                </a:cubicBezTo>
                <a:cubicBezTo>
                  <a:pt x="503" y="2090"/>
                  <a:pt x="503" y="2106"/>
                  <a:pt x="495" y="2067"/>
                </a:cubicBezTo>
                <a:cubicBezTo>
                  <a:pt x="495" y="2067"/>
                  <a:pt x="495" y="2067"/>
                  <a:pt x="503" y="2067"/>
                </a:cubicBezTo>
                <a:cubicBezTo>
                  <a:pt x="503" y="2067"/>
                  <a:pt x="503" y="2067"/>
                  <a:pt x="495" y="2043"/>
                </a:cubicBezTo>
                <a:cubicBezTo>
                  <a:pt x="495" y="2043"/>
                  <a:pt x="495" y="2043"/>
                  <a:pt x="495" y="2035"/>
                </a:cubicBezTo>
                <a:cubicBezTo>
                  <a:pt x="495" y="2035"/>
                  <a:pt x="495" y="2035"/>
                  <a:pt x="495" y="2028"/>
                </a:cubicBezTo>
                <a:cubicBezTo>
                  <a:pt x="503" y="2028"/>
                  <a:pt x="503" y="2028"/>
                  <a:pt x="503" y="2028"/>
                </a:cubicBezTo>
                <a:cubicBezTo>
                  <a:pt x="503" y="2035"/>
                  <a:pt x="503" y="2043"/>
                  <a:pt x="503" y="2051"/>
                </a:cubicBezTo>
                <a:cubicBezTo>
                  <a:pt x="503" y="2043"/>
                  <a:pt x="503" y="2035"/>
                  <a:pt x="503" y="2028"/>
                </a:cubicBezTo>
                <a:cubicBezTo>
                  <a:pt x="503" y="2028"/>
                  <a:pt x="503" y="2028"/>
                  <a:pt x="503" y="2028"/>
                </a:cubicBezTo>
                <a:cubicBezTo>
                  <a:pt x="503" y="2028"/>
                  <a:pt x="503" y="2043"/>
                  <a:pt x="511" y="2059"/>
                </a:cubicBezTo>
                <a:cubicBezTo>
                  <a:pt x="503" y="2059"/>
                  <a:pt x="503" y="2059"/>
                  <a:pt x="503" y="2067"/>
                </a:cubicBezTo>
                <a:cubicBezTo>
                  <a:pt x="503" y="2075"/>
                  <a:pt x="503" y="2075"/>
                  <a:pt x="511" y="2090"/>
                </a:cubicBezTo>
                <a:cubicBezTo>
                  <a:pt x="511" y="2075"/>
                  <a:pt x="503" y="2067"/>
                  <a:pt x="511" y="2067"/>
                </a:cubicBezTo>
                <a:cubicBezTo>
                  <a:pt x="511" y="2067"/>
                  <a:pt x="511" y="2067"/>
                  <a:pt x="511" y="2075"/>
                </a:cubicBezTo>
                <a:cubicBezTo>
                  <a:pt x="511" y="2075"/>
                  <a:pt x="511" y="2067"/>
                  <a:pt x="511" y="2075"/>
                </a:cubicBezTo>
                <a:cubicBezTo>
                  <a:pt x="511" y="2067"/>
                  <a:pt x="511" y="2051"/>
                  <a:pt x="503" y="2035"/>
                </a:cubicBezTo>
                <a:cubicBezTo>
                  <a:pt x="511" y="2035"/>
                  <a:pt x="511" y="2035"/>
                  <a:pt x="511" y="2028"/>
                </a:cubicBezTo>
                <a:cubicBezTo>
                  <a:pt x="503" y="2020"/>
                  <a:pt x="503" y="2020"/>
                  <a:pt x="503" y="2020"/>
                </a:cubicBezTo>
                <a:cubicBezTo>
                  <a:pt x="503" y="2004"/>
                  <a:pt x="503" y="1988"/>
                  <a:pt x="503" y="1973"/>
                </a:cubicBezTo>
                <a:cubicBezTo>
                  <a:pt x="503" y="1973"/>
                  <a:pt x="503" y="1965"/>
                  <a:pt x="503" y="1965"/>
                </a:cubicBezTo>
                <a:cubicBezTo>
                  <a:pt x="503" y="1957"/>
                  <a:pt x="503" y="1957"/>
                  <a:pt x="503" y="1949"/>
                </a:cubicBezTo>
                <a:cubicBezTo>
                  <a:pt x="503" y="1949"/>
                  <a:pt x="503" y="1949"/>
                  <a:pt x="503" y="1941"/>
                </a:cubicBezTo>
                <a:cubicBezTo>
                  <a:pt x="503" y="1941"/>
                  <a:pt x="503" y="1941"/>
                  <a:pt x="503" y="1934"/>
                </a:cubicBezTo>
                <a:cubicBezTo>
                  <a:pt x="503" y="1934"/>
                  <a:pt x="503" y="1934"/>
                  <a:pt x="503" y="1926"/>
                </a:cubicBezTo>
                <a:cubicBezTo>
                  <a:pt x="503" y="1941"/>
                  <a:pt x="503" y="1934"/>
                  <a:pt x="503" y="1941"/>
                </a:cubicBezTo>
                <a:cubicBezTo>
                  <a:pt x="503" y="1941"/>
                  <a:pt x="503" y="1918"/>
                  <a:pt x="503" y="1895"/>
                </a:cubicBezTo>
                <a:cubicBezTo>
                  <a:pt x="503" y="1926"/>
                  <a:pt x="511" y="2035"/>
                  <a:pt x="511" y="2043"/>
                </a:cubicBezTo>
                <a:cubicBezTo>
                  <a:pt x="511" y="2043"/>
                  <a:pt x="511" y="2043"/>
                  <a:pt x="511" y="2043"/>
                </a:cubicBezTo>
                <a:cubicBezTo>
                  <a:pt x="511" y="2043"/>
                  <a:pt x="511" y="2043"/>
                  <a:pt x="511" y="2051"/>
                </a:cubicBezTo>
                <a:cubicBezTo>
                  <a:pt x="511" y="2059"/>
                  <a:pt x="511" y="2067"/>
                  <a:pt x="511" y="2075"/>
                </a:cubicBezTo>
                <a:cubicBezTo>
                  <a:pt x="519" y="2090"/>
                  <a:pt x="511" y="2082"/>
                  <a:pt x="519" y="2082"/>
                </a:cubicBezTo>
                <a:cubicBezTo>
                  <a:pt x="519" y="2090"/>
                  <a:pt x="519" y="2098"/>
                  <a:pt x="519" y="2106"/>
                </a:cubicBezTo>
                <a:cubicBezTo>
                  <a:pt x="519" y="2106"/>
                  <a:pt x="519" y="2106"/>
                  <a:pt x="519" y="2121"/>
                </a:cubicBezTo>
                <a:cubicBezTo>
                  <a:pt x="519" y="2121"/>
                  <a:pt x="519" y="2121"/>
                  <a:pt x="527" y="2129"/>
                </a:cubicBezTo>
                <a:cubicBezTo>
                  <a:pt x="527" y="2137"/>
                  <a:pt x="527" y="2129"/>
                  <a:pt x="527" y="2129"/>
                </a:cubicBezTo>
                <a:cubicBezTo>
                  <a:pt x="527" y="2121"/>
                  <a:pt x="527" y="2121"/>
                  <a:pt x="527" y="2121"/>
                </a:cubicBezTo>
                <a:cubicBezTo>
                  <a:pt x="527" y="2121"/>
                  <a:pt x="527" y="2121"/>
                  <a:pt x="527" y="2121"/>
                </a:cubicBezTo>
                <a:cubicBezTo>
                  <a:pt x="527" y="2121"/>
                  <a:pt x="527" y="2121"/>
                  <a:pt x="527" y="2114"/>
                </a:cubicBezTo>
                <a:cubicBezTo>
                  <a:pt x="527" y="2114"/>
                  <a:pt x="527" y="2114"/>
                  <a:pt x="519" y="2106"/>
                </a:cubicBezTo>
                <a:cubicBezTo>
                  <a:pt x="527" y="2106"/>
                  <a:pt x="527" y="2106"/>
                  <a:pt x="527" y="2106"/>
                </a:cubicBezTo>
                <a:cubicBezTo>
                  <a:pt x="527" y="2106"/>
                  <a:pt x="527" y="2106"/>
                  <a:pt x="527" y="2114"/>
                </a:cubicBezTo>
                <a:cubicBezTo>
                  <a:pt x="527" y="2114"/>
                  <a:pt x="527" y="2114"/>
                  <a:pt x="527" y="2114"/>
                </a:cubicBezTo>
                <a:cubicBezTo>
                  <a:pt x="527" y="2114"/>
                  <a:pt x="527" y="2114"/>
                  <a:pt x="527" y="2082"/>
                </a:cubicBezTo>
                <a:cubicBezTo>
                  <a:pt x="527" y="2082"/>
                  <a:pt x="527" y="2082"/>
                  <a:pt x="527" y="2082"/>
                </a:cubicBezTo>
                <a:cubicBezTo>
                  <a:pt x="527" y="2082"/>
                  <a:pt x="527" y="2082"/>
                  <a:pt x="527" y="2075"/>
                </a:cubicBezTo>
                <a:cubicBezTo>
                  <a:pt x="527" y="2075"/>
                  <a:pt x="527" y="2075"/>
                  <a:pt x="527" y="2075"/>
                </a:cubicBezTo>
                <a:cubicBezTo>
                  <a:pt x="527" y="2067"/>
                  <a:pt x="527" y="2067"/>
                  <a:pt x="527" y="2067"/>
                </a:cubicBezTo>
                <a:cubicBezTo>
                  <a:pt x="527" y="2051"/>
                  <a:pt x="527" y="2043"/>
                  <a:pt x="519" y="2043"/>
                </a:cubicBezTo>
                <a:cubicBezTo>
                  <a:pt x="519" y="2051"/>
                  <a:pt x="519" y="2059"/>
                  <a:pt x="519" y="2059"/>
                </a:cubicBezTo>
                <a:cubicBezTo>
                  <a:pt x="519" y="2059"/>
                  <a:pt x="519" y="2059"/>
                  <a:pt x="519" y="2059"/>
                </a:cubicBezTo>
                <a:cubicBezTo>
                  <a:pt x="519" y="2075"/>
                  <a:pt x="527" y="2082"/>
                  <a:pt x="527" y="2090"/>
                </a:cubicBezTo>
                <a:cubicBezTo>
                  <a:pt x="527" y="2090"/>
                  <a:pt x="527" y="2098"/>
                  <a:pt x="527" y="2098"/>
                </a:cubicBezTo>
                <a:cubicBezTo>
                  <a:pt x="519" y="2090"/>
                  <a:pt x="519" y="2090"/>
                  <a:pt x="519" y="2090"/>
                </a:cubicBezTo>
                <a:cubicBezTo>
                  <a:pt x="519" y="2082"/>
                  <a:pt x="519" y="2075"/>
                  <a:pt x="519" y="2059"/>
                </a:cubicBezTo>
                <a:cubicBezTo>
                  <a:pt x="519" y="2059"/>
                  <a:pt x="519" y="2059"/>
                  <a:pt x="519" y="2059"/>
                </a:cubicBezTo>
                <a:cubicBezTo>
                  <a:pt x="519" y="2059"/>
                  <a:pt x="519" y="2059"/>
                  <a:pt x="519" y="2051"/>
                </a:cubicBezTo>
                <a:cubicBezTo>
                  <a:pt x="519" y="2051"/>
                  <a:pt x="519" y="2051"/>
                  <a:pt x="519" y="2043"/>
                </a:cubicBezTo>
                <a:cubicBezTo>
                  <a:pt x="519" y="2043"/>
                  <a:pt x="519" y="2043"/>
                  <a:pt x="519" y="2043"/>
                </a:cubicBezTo>
                <a:cubicBezTo>
                  <a:pt x="519" y="2043"/>
                  <a:pt x="519" y="2043"/>
                  <a:pt x="519" y="2043"/>
                </a:cubicBezTo>
                <a:cubicBezTo>
                  <a:pt x="519" y="2043"/>
                  <a:pt x="519" y="2043"/>
                  <a:pt x="519" y="2043"/>
                </a:cubicBezTo>
                <a:cubicBezTo>
                  <a:pt x="519" y="2035"/>
                  <a:pt x="519" y="2028"/>
                  <a:pt x="519" y="2028"/>
                </a:cubicBezTo>
                <a:cubicBezTo>
                  <a:pt x="519" y="2028"/>
                  <a:pt x="519" y="2020"/>
                  <a:pt x="519" y="2020"/>
                </a:cubicBezTo>
                <a:cubicBezTo>
                  <a:pt x="527" y="2028"/>
                  <a:pt x="527" y="2028"/>
                  <a:pt x="527" y="2028"/>
                </a:cubicBezTo>
                <a:cubicBezTo>
                  <a:pt x="527" y="2028"/>
                  <a:pt x="527" y="2020"/>
                  <a:pt x="527" y="2020"/>
                </a:cubicBezTo>
                <a:cubicBezTo>
                  <a:pt x="519" y="2012"/>
                  <a:pt x="527" y="2012"/>
                  <a:pt x="519" y="2012"/>
                </a:cubicBezTo>
                <a:cubicBezTo>
                  <a:pt x="519" y="2012"/>
                  <a:pt x="519" y="2012"/>
                  <a:pt x="527" y="2012"/>
                </a:cubicBezTo>
                <a:cubicBezTo>
                  <a:pt x="527" y="2012"/>
                  <a:pt x="527" y="2012"/>
                  <a:pt x="527" y="2012"/>
                </a:cubicBezTo>
                <a:cubicBezTo>
                  <a:pt x="527" y="2012"/>
                  <a:pt x="527" y="1996"/>
                  <a:pt x="519" y="1988"/>
                </a:cubicBezTo>
                <a:cubicBezTo>
                  <a:pt x="519" y="1981"/>
                  <a:pt x="519" y="1981"/>
                  <a:pt x="519" y="1981"/>
                </a:cubicBezTo>
                <a:cubicBezTo>
                  <a:pt x="519" y="1965"/>
                  <a:pt x="511" y="1957"/>
                  <a:pt x="511" y="1949"/>
                </a:cubicBezTo>
                <a:cubicBezTo>
                  <a:pt x="519" y="1957"/>
                  <a:pt x="519" y="1949"/>
                  <a:pt x="519" y="1965"/>
                </a:cubicBezTo>
                <a:cubicBezTo>
                  <a:pt x="519" y="1957"/>
                  <a:pt x="519" y="1949"/>
                  <a:pt x="519" y="1934"/>
                </a:cubicBezTo>
                <a:cubicBezTo>
                  <a:pt x="519" y="1934"/>
                  <a:pt x="519" y="1965"/>
                  <a:pt x="527" y="1981"/>
                </a:cubicBezTo>
                <a:cubicBezTo>
                  <a:pt x="527" y="1973"/>
                  <a:pt x="527" y="1973"/>
                  <a:pt x="527" y="1957"/>
                </a:cubicBezTo>
                <a:cubicBezTo>
                  <a:pt x="527" y="1957"/>
                  <a:pt x="527" y="1957"/>
                  <a:pt x="527" y="1957"/>
                </a:cubicBezTo>
                <a:cubicBezTo>
                  <a:pt x="527" y="1973"/>
                  <a:pt x="527" y="1996"/>
                  <a:pt x="527" y="2012"/>
                </a:cubicBezTo>
                <a:cubicBezTo>
                  <a:pt x="527" y="2012"/>
                  <a:pt x="527" y="2020"/>
                  <a:pt x="527" y="2020"/>
                </a:cubicBezTo>
                <a:cubicBezTo>
                  <a:pt x="527" y="2020"/>
                  <a:pt x="527" y="2028"/>
                  <a:pt x="527" y="2028"/>
                </a:cubicBezTo>
                <a:cubicBezTo>
                  <a:pt x="534" y="2059"/>
                  <a:pt x="534" y="2051"/>
                  <a:pt x="542" y="2090"/>
                </a:cubicBezTo>
                <a:cubicBezTo>
                  <a:pt x="542" y="2090"/>
                  <a:pt x="542" y="2090"/>
                  <a:pt x="542" y="2090"/>
                </a:cubicBezTo>
                <a:cubicBezTo>
                  <a:pt x="542" y="2090"/>
                  <a:pt x="542" y="2059"/>
                  <a:pt x="542" y="2043"/>
                </a:cubicBezTo>
                <a:cubicBezTo>
                  <a:pt x="542" y="2043"/>
                  <a:pt x="542" y="2043"/>
                  <a:pt x="534" y="2035"/>
                </a:cubicBezTo>
                <a:cubicBezTo>
                  <a:pt x="534" y="2028"/>
                  <a:pt x="534" y="2012"/>
                  <a:pt x="534" y="2012"/>
                </a:cubicBezTo>
                <a:cubicBezTo>
                  <a:pt x="534" y="2012"/>
                  <a:pt x="534" y="2020"/>
                  <a:pt x="534" y="2020"/>
                </a:cubicBezTo>
                <a:cubicBezTo>
                  <a:pt x="534" y="2020"/>
                  <a:pt x="534" y="2020"/>
                  <a:pt x="534" y="2028"/>
                </a:cubicBezTo>
                <a:cubicBezTo>
                  <a:pt x="534" y="2012"/>
                  <a:pt x="534" y="1996"/>
                  <a:pt x="534" y="1973"/>
                </a:cubicBezTo>
                <a:cubicBezTo>
                  <a:pt x="534" y="1973"/>
                  <a:pt x="534" y="1973"/>
                  <a:pt x="534" y="1973"/>
                </a:cubicBezTo>
                <a:cubicBezTo>
                  <a:pt x="534" y="1973"/>
                  <a:pt x="534" y="1973"/>
                  <a:pt x="534" y="1973"/>
                </a:cubicBezTo>
                <a:cubicBezTo>
                  <a:pt x="527" y="1926"/>
                  <a:pt x="527" y="1871"/>
                  <a:pt x="534" y="1824"/>
                </a:cubicBezTo>
                <a:cubicBezTo>
                  <a:pt x="534" y="1824"/>
                  <a:pt x="534" y="1824"/>
                  <a:pt x="534" y="1824"/>
                </a:cubicBezTo>
                <a:cubicBezTo>
                  <a:pt x="534" y="1824"/>
                  <a:pt x="534" y="1824"/>
                  <a:pt x="534" y="1824"/>
                </a:cubicBezTo>
                <a:cubicBezTo>
                  <a:pt x="534" y="1801"/>
                  <a:pt x="534" y="1777"/>
                  <a:pt x="534" y="1761"/>
                </a:cubicBezTo>
                <a:cubicBezTo>
                  <a:pt x="534" y="1769"/>
                  <a:pt x="534" y="1769"/>
                  <a:pt x="534" y="1777"/>
                </a:cubicBezTo>
                <a:cubicBezTo>
                  <a:pt x="534" y="1777"/>
                  <a:pt x="534" y="1785"/>
                  <a:pt x="534" y="1785"/>
                </a:cubicBezTo>
                <a:cubicBezTo>
                  <a:pt x="534" y="1793"/>
                  <a:pt x="534" y="1801"/>
                  <a:pt x="534" y="1808"/>
                </a:cubicBezTo>
                <a:cubicBezTo>
                  <a:pt x="534" y="1777"/>
                  <a:pt x="534" y="1738"/>
                  <a:pt x="534" y="1722"/>
                </a:cubicBezTo>
                <a:cubicBezTo>
                  <a:pt x="534" y="1722"/>
                  <a:pt x="534" y="1722"/>
                  <a:pt x="542" y="1722"/>
                </a:cubicBezTo>
                <a:cubicBezTo>
                  <a:pt x="542" y="1730"/>
                  <a:pt x="542" y="1746"/>
                  <a:pt x="542" y="1746"/>
                </a:cubicBezTo>
                <a:cubicBezTo>
                  <a:pt x="534" y="1761"/>
                  <a:pt x="534" y="1793"/>
                  <a:pt x="534" y="1824"/>
                </a:cubicBezTo>
                <a:cubicBezTo>
                  <a:pt x="534" y="1824"/>
                  <a:pt x="534" y="1832"/>
                  <a:pt x="534" y="1832"/>
                </a:cubicBezTo>
                <a:cubicBezTo>
                  <a:pt x="534" y="1824"/>
                  <a:pt x="534" y="1824"/>
                  <a:pt x="534" y="1824"/>
                </a:cubicBezTo>
                <a:cubicBezTo>
                  <a:pt x="534" y="1832"/>
                  <a:pt x="534" y="1832"/>
                  <a:pt x="534" y="1840"/>
                </a:cubicBezTo>
                <a:cubicBezTo>
                  <a:pt x="534" y="1840"/>
                  <a:pt x="534" y="1848"/>
                  <a:pt x="534" y="1855"/>
                </a:cubicBezTo>
                <a:cubicBezTo>
                  <a:pt x="534" y="1855"/>
                  <a:pt x="534" y="1855"/>
                  <a:pt x="534" y="1855"/>
                </a:cubicBezTo>
                <a:cubicBezTo>
                  <a:pt x="534" y="1855"/>
                  <a:pt x="534" y="1855"/>
                  <a:pt x="534" y="1855"/>
                </a:cubicBezTo>
                <a:cubicBezTo>
                  <a:pt x="534" y="1855"/>
                  <a:pt x="534" y="1863"/>
                  <a:pt x="534" y="1871"/>
                </a:cubicBezTo>
                <a:cubicBezTo>
                  <a:pt x="534" y="1871"/>
                  <a:pt x="534" y="1871"/>
                  <a:pt x="534" y="1871"/>
                </a:cubicBezTo>
                <a:cubicBezTo>
                  <a:pt x="534" y="1871"/>
                  <a:pt x="534" y="1871"/>
                  <a:pt x="534" y="1871"/>
                </a:cubicBezTo>
                <a:cubicBezTo>
                  <a:pt x="534" y="1879"/>
                  <a:pt x="534" y="1887"/>
                  <a:pt x="534" y="1895"/>
                </a:cubicBezTo>
                <a:cubicBezTo>
                  <a:pt x="534" y="1895"/>
                  <a:pt x="534" y="1895"/>
                  <a:pt x="534" y="1895"/>
                </a:cubicBezTo>
                <a:cubicBezTo>
                  <a:pt x="534" y="1895"/>
                  <a:pt x="534" y="1895"/>
                  <a:pt x="534" y="1902"/>
                </a:cubicBezTo>
                <a:cubicBezTo>
                  <a:pt x="534" y="1902"/>
                  <a:pt x="534" y="1902"/>
                  <a:pt x="534" y="1902"/>
                </a:cubicBezTo>
                <a:cubicBezTo>
                  <a:pt x="534" y="1910"/>
                  <a:pt x="534" y="1910"/>
                  <a:pt x="534" y="1910"/>
                </a:cubicBezTo>
                <a:cubicBezTo>
                  <a:pt x="534" y="1910"/>
                  <a:pt x="534" y="1910"/>
                  <a:pt x="534" y="1910"/>
                </a:cubicBezTo>
                <a:cubicBezTo>
                  <a:pt x="534" y="1934"/>
                  <a:pt x="534" y="1934"/>
                  <a:pt x="534" y="1941"/>
                </a:cubicBezTo>
                <a:cubicBezTo>
                  <a:pt x="534" y="1941"/>
                  <a:pt x="534" y="1941"/>
                  <a:pt x="534" y="1941"/>
                </a:cubicBezTo>
                <a:cubicBezTo>
                  <a:pt x="534" y="1949"/>
                  <a:pt x="534" y="1949"/>
                  <a:pt x="534" y="1957"/>
                </a:cubicBezTo>
                <a:cubicBezTo>
                  <a:pt x="534" y="1973"/>
                  <a:pt x="534" y="1996"/>
                  <a:pt x="542" y="2012"/>
                </a:cubicBezTo>
                <a:cubicBezTo>
                  <a:pt x="542" y="2035"/>
                  <a:pt x="542" y="2028"/>
                  <a:pt x="542" y="2043"/>
                </a:cubicBezTo>
                <a:cubicBezTo>
                  <a:pt x="542" y="2043"/>
                  <a:pt x="542" y="2043"/>
                  <a:pt x="542" y="2043"/>
                </a:cubicBezTo>
                <a:cubicBezTo>
                  <a:pt x="542" y="2035"/>
                  <a:pt x="542" y="2035"/>
                  <a:pt x="542" y="2028"/>
                </a:cubicBezTo>
                <a:cubicBezTo>
                  <a:pt x="550" y="2043"/>
                  <a:pt x="550" y="2059"/>
                  <a:pt x="550" y="2082"/>
                </a:cubicBezTo>
                <a:cubicBezTo>
                  <a:pt x="550" y="2059"/>
                  <a:pt x="550" y="2035"/>
                  <a:pt x="550" y="2020"/>
                </a:cubicBezTo>
                <a:cubicBezTo>
                  <a:pt x="550" y="2020"/>
                  <a:pt x="550" y="2020"/>
                  <a:pt x="550" y="2020"/>
                </a:cubicBezTo>
                <a:cubicBezTo>
                  <a:pt x="550" y="2028"/>
                  <a:pt x="550" y="2035"/>
                  <a:pt x="550" y="2051"/>
                </a:cubicBezTo>
                <a:cubicBezTo>
                  <a:pt x="550" y="2043"/>
                  <a:pt x="550" y="2051"/>
                  <a:pt x="550" y="2043"/>
                </a:cubicBezTo>
                <a:cubicBezTo>
                  <a:pt x="550" y="2035"/>
                  <a:pt x="550" y="2035"/>
                  <a:pt x="550" y="2035"/>
                </a:cubicBezTo>
                <a:cubicBezTo>
                  <a:pt x="550" y="2028"/>
                  <a:pt x="550" y="2028"/>
                  <a:pt x="550" y="2020"/>
                </a:cubicBezTo>
                <a:cubicBezTo>
                  <a:pt x="550" y="2028"/>
                  <a:pt x="550" y="2028"/>
                  <a:pt x="550" y="2028"/>
                </a:cubicBezTo>
                <a:cubicBezTo>
                  <a:pt x="550" y="2020"/>
                  <a:pt x="550" y="2020"/>
                  <a:pt x="550" y="2020"/>
                </a:cubicBezTo>
                <a:cubicBezTo>
                  <a:pt x="550" y="2004"/>
                  <a:pt x="550" y="2004"/>
                  <a:pt x="550" y="2004"/>
                </a:cubicBezTo>
                <a:cubicBezTo>
                  <a:pt x="550" y="1996"/>
                  <a:pt x="542" y="1957"/>
                  <a:pt x="542" y="1941"/>
                </a:cubicBezTo>
                <a:cubicBezTo>
                  <a:pt x="542" y="1926"/>
                  <a:pt x="542" y="1910"/>
                  <a:pt x="542" y="1926"/>
                </a:cubicBezTo>
                <a:cubicBezTo>
                  <a:pt x="542" y="1926"/>
                  <a:pt x="542" y="1926"/>
                  <a:pt x="542" y="1910"/>
                </a:cubicBezTo>
                <a:cubicBezTo>
                  <a:pt x="550" y="1902"/>
                  <a:pt x="550" y="1895"/>
                  <a:pt x="550" y="1895"/>
                </a:cubicBezTo>
                <a:cubicBezTo>
                  <a:pt x="550" y="1895"/>
                  <a:pt x="550" y="1895"/>
                  <a:pt x="550" y="1895"/>
                </a:cubicBezTo>
                <a:cubicBezTo>
                  <a:pt x="550" y="1902"/>
                  <a:pt x="550" y="1910"/>
                  <a:pt x="550" y="1918"/>
                </a:cubicBezTo>
                <a:cubicBezTo>
                  <a:pt x="550" y="1887"/>
                  <a:pt x="550" y="1871"/>
                  <a:pt x="550" y="1863"/>
                </a:cubicBezTo>
                <a:cubicBezTo>
                  <a:pt x="550" y="1855"/>
                  <a:pt x="550" y="1855"/>
                  <a:pt x="550" y="1855"/>
                </a:cubicBezTo>
                <a:cubicBezTo>
                  <a:pt x="550" y="1855"/>
                  <a:pt x="550" y="1855"/>
                  <a:pt x="550" y="1855"/>
                </a:cubicBezTo>
                <a:cubicBezTo>
                  <a:pt x="550" y="1855"/>
                  <a:pt x="550" y="1855"/>
                  <a:pt x="550" y="1855"/>
                </a:cubicBezTo>
                <a:cubicBezTo>
                  <a:pt x="550" y="1855"/>
                  <a:pt x="550" y="1855"/>
                  <a:pt x="550" y="1840"/>
                </a:cubicBezTo>
                <a:cubicBezTo>
                  <a:pt x="550" y="1840"/>
                  <a:pt x="550" y="1840"/>
                  <a:pt x="550" y="1824"/>
                </a:cubicBezTo>
                <a:cubicBezTo>
                  <a:pt x="550" y="1824"/>
                  <a:pt x="550" y="1824"/>
                  <a:pt x="550" y="1824"/>
                </a:cubicBezTo>
                <a:cubicBezTo>
                  <a:pt x="550" y="1824"/>
                  <a:pt x="550" y="1824"/>
                  <a:pt x="558" y="1808"/>
                </a:cubicBezTo>
                <a:cubicBezTo>
                  <a:pt x="558" y="1801"/>
                  <a:pt x="558" y="1793"/>
                  <a:pt x="558" y="1793"/>
                </a:cubicBezTo>
                <a:cubicBezTo>
                  <a:pt x="558" y="1793"/>
                  <a:pt x="558" y="1793"/>
                  <a:pt x="558" y="1793"/>
                </a:cubicBezTo>
                <a:cubicBezTo>
                  <a:pt x="558" y="1793"/>
                  <a:pt x="558" y="1793"/>
                  <a:pt x="558" y="1785"/>
                </a:cubicBezTo>
                <a:cubicBezTo>
                  <a:pt x="558" y="1777"/>
                  <a:pt x="558" y="1785"/>
                  <a:pt x="558" y="1777"/>
                </a:cubicBezTo>
                <a:cubicBezTo>
                  <a:pt x="558" y="1746"/>
                  <a:pt x="566" y="1683"/>
                  <a:pt x="558" y="1683"/>
                </a:cubicBezTo>
                <a:cubicBezTo>
                  <a:pt x="558" y="1683"/>
                  <a:pt x="558" y="1683"/>
                  <a:pt x="558" y="1668"/>
                </a:cubicBezTo>
                <a:cubicBezTo>
                  <a:pt x="558" y="1668"/>
                  <a:pt x="558" y="1668"/>
                  <a:pt x="558" y="1660"/>
                </a:cubicBezTo>
                <a:cubicBezTo>
                  <a:pt x="558" y="1660"/>
                  <a:pt x="558" y="1660"/>
                  <a:pt x="558" y="1660"/>
                </a:cubicBezTo>
                <a:cubicBezTo>
                  <a:pt x="558" y="1660"/>
                  <a:pt x="558" y="1660"/>
                  <a:pt x="558" y="1660"/>
                </a:cubicBezTo>
                <a:cubicBezTo>
                  <a:pt x="558" y="1660"/>
                  <a:pt x="558" y="1652"/>
                  <a:pt x="558" y="1652"/>
                </a:cubicBezTo>
                <a:cubicBezTo>
                  <a:pt x="558" y="1652"/>
                  <a:pt x="558" y="1652"/>
                  <a:pt x="558" y="1644"/>
                </a:cubicBezTo>
                <a:cubicBezTo>
                  <a:pt x="558" y="1636"/>
                  <a:pt x="558" y="1636"/>
                  <a:pt x="558" y="1636"/>
                </a:cubicBezTo>
                <a:cubicBezTo>
                  <a:pt x="566" y="1636"/>
                  <a:pt x="566" y="1636"/>
                  <a:pt x="566" y="1644"/>
                </a:cubicBezTo>
                <a:cubicBezTo>
                  <a:pt x="566" y="1644"/>
                  <a:pt x="566" y="1644"/>
                  <a:pt x="566" y="1644"/>
                </a:cubicBezTo>
                <a:cubicBezTo>
                  <a:pt x="566" y="1636"/>
                  <a:pt x="566" y="1636"/>
                  <a:pt x="566" y="1636"/>
                </a:cubicBezTo>
                <a:cubicBezTo>
                  <a:pt x="566" y="1636"/>
                  <a:pt x="566" y="1628"/>
                  <a:pt x="566" y="1628"/>
                </a:cubicBezTo>
                <a:cubicBezTo>
                  <a:pt x="566" y="1628"/>
                  <a:pt x="566" y="1628"/>
                  <a:pt x="566" y="1628"/>
                </a:cubicBezTo>
                <a:cubicBezTo>
                  <a:pt x="566" y="1613"/>
                  <a:pt x="566" y="1628"/>
                  <a:pt x="566" y="1613"/>
                </a:cubicBezTo>
                <a:cubicBezTo>
                  <a:pt x="566" y="1613"/>
                  <a:pt x="566" y="1613"/>
                  <a:pt x="566" y="1613"/>
                </a:cubicBezTo>
                <a:cubicBezTo>
                  <a:pt x="566" y="1613"/>
                  <a:pt x="566" y="1613"/>
                  <a:pt x="566" y="1605"/>
                </a:cubicBezTo>
                <a:cubicBezTo>
                  <a:pt x="566" y="1605"/>
                  <a:pt x="566" y="1605"/>
                  <a:pt x="566" y="1605"/>
                </a:cubicBezTo>
                <a:cubicBezTo>
                  <a:pt x="566" y="1605"/>
                  <a:pt x="566" y="1605"/>
                  <a:pt x="566" y="1597"/>
                </a:cubicBezTo>
                <a:cubicBezTo>
                  <a:pt x="566" y="1589"/>
                  <a:pt x="566" y="1597"/>
                  <a:pt x="566" y="1597"/>
                </a:cubicBezTo>
                <a:cubicBezTo>
                  <a:pt x="566" y="1597"/>
                  <a:pt x="566" y="1597"/>
                  <a:pt x="566" y="1581"/>
                </a:cubicBezTo>
                <a:cubicBezTo>
                  <a:pt x="566" y="1542"/>
                  <a:pt x="574" y="1464"/>
                  <a:pt x="574" y="1409"/>
                </a:cubicBezTo>
                <a:cubicBezTo>
                  <a:pt x="574" y="1409"/>
                  <a:pt x="574" y="1409"/>
                  <a:pt x="574" y="1409"/>
                </a:cubicBezTo>
                <a:cubicBezTo>
                  <a:pt x="582" y="1409"/>
                  <a:pt x="582" y="1409"/>
                  <a:pt x="582" y="1425"/>
                </a:cubicBezTo>
                <a:cubicBezTo>
                  <a:pt x="582" y="1425"/>
                  <a:pt x="582" y="1425"/>
                  <a:pt x="582" y="1409"/>
                </a:cubicBezTo>
                <a:cubicBezTo>
                  <a:pt x="582" y="1409"/>
                  <a:pt x="582" y="1409"/>
                  <a:pt x="582" y="1394"/>
                </a:cubicBezTo>
                <a:cubicBezTo>
                  <a:pt x="582" y="1394"/>
                  <a:pt x="582" y="1394"/>
                  <a:pt x="574" y="1394"/>
                </a:cubicBezTo>
                <a:cubicBezTo>
                  <a:pt x="574" y="1386"/>
                  <a:pt x="574" y="1378"/>
                  <a:pt x="574" y="1362"/>
                </a:cubicBezTo>
                <a:cubicBezTo>
                  <a:pt x="574" y="1261"/>
                  <a:pt x="574" y="1143"/>
                  <a:pt x="566" y="1065"/>
                </a:cubicBezTo>
                <a:cubicBezTo>
                  <a:pt x="566" y="1065"/>
                  <a:pt x="566" y="1065"/>
                  <a:pt x="566" y="1049"/>
                </a:cubicBezTo>
                <a:cubicBezTo>
                  <a:pt x="566" y="1041"/>
                  <a:pt x="566" y="1034"/>
                  <a:pt x="566" y="1026"/>
                </a:cubicBezTo>
                <a:cubicBezTo>
                  <a:pt x="566" y="1026"/>
                  <a:pt x="566" y="1026"/>
                  <a:pt x="566" y="1026"/>
                </a:cubicBezTo>
                <a:cubicBezTo>
                  <a:pt x="566" y="1026"/>
                  <a:pt x="566" y="1026"/>
                  <a:pt x="566" y="1026"/>
                </a:cubicBezTo>
                <a:cubicBezTo>
                  <a:pt x="566" y="1010"/>
                  <a:pt x="566" y="994"/>
                  <a:pt x="566" y="979"/>
                </a:cubicBezTo>
                <a:cubicBezTo>
                  <a:pt x="566" y="979"/>
                  <a:pt x="566" y="979"/>
                  <a:pt x="566" y="979"/>
                </a:cubicBezTo>
                <a:cubicBezTo>
                  <a:pt x="566" y="979"/>
                  <a:pt x="566" y="979"/>
                  <a:pt x="566" y="979"/>
                </a:cubicBezTo>
                <a:cubicBezTo>
                  <a:pt x="566" y="963"/>
                  <a:pt x="566" y="971"/>
                  <a:pt x="566" y="955"/>
                </a:cubicBezTo>
                <a:cubicBezTo>
                  <a:pt x="566" y="963"/>
                  <a:pt x="566" y="955"/>
                  <a:pt x="566" y="971"/>
                </a:cubicBezTo>
                <a:cubicBezTo>
                  <a:pt x="558" y="971"/>
                  <a:pt x="558" y="940"/>
                  <a:pt x="558" y="916"/>
                </a:cubicBezTo>
                <a:cubicBezTo>
                  <a:pt x="558" y="916"/>
                  <a:pt x="558" y="908"/>
                  <a:pt x="566" y="924"/>
                </a:cubicBezTo>
                <a:cubicBezTo>
                  <a:pt x="566" y="924"/>
                  <a:pt x="566" y="924"/>
                  <a:pt x="566" y="916"/>
                </a:cubicBezTo>
                <a:cubicBezTo>
                  <a:pt x="566" y="916"/>
                  <a:pt x="566" y="916"/>
                  <a:pt x="558" y="877"/>
                </a:cubicBezTo>
                <a:cubicBezTo>
                  <a:pt x="558" y="877"/>
                  <a:pt x="558" y="869"/>
                  <a:pt x="558" y="869"/>
                </a:cubicBezTo>
                <a:cubicBezTo>
                  <a:pt x="558" y="869"/>
                  <a:pt x="558" y="861"/>
                  <a:pt x="558" y="861"/>
                </a:cubicBezTo>
                <a:cubicBezTo>
                  <a:pt x="566" y="861"/>
                  <a:pt x="566" y="861"/>
                  <a:pt x="566" y="861"/>
                </a:cubicBezTo>
                <a:cubicBezTo>
                  <a:pt x="566" y="861"/>
                  <a:pt x="566" y="861"/>
                  <a:pt x="566" y="861"/>
                </a:cubicBezTo>
                <a:cubicBezTo>
                  <a:pt x="558" y="854"/>
                  <a:pt x="558" y="854"/>
                  <a:pt x="558" y="854"/>
                </a:cubicBezTo>
                <a:cubicBezTo>
                  <a:pt x="558" y="854"/>
                  <a:pt x="558" y="854"/>
                  <a:pt x="558" y="861"/>
                </a:cubicBezTo>
                <a:cubicBezTo>
                  <a:pt x="550" y="846"/>
                  <a:pt x="558" y="846"/>
                  <a:pt x="550" y="846"/>
                </a:cubicBezTo>
                <a:cubicBezTo>
                  <a:pt x="550" y="846"/>
                  <a:pt x="550" y="846"/>
                  <a:pt x="550" y="830"/>
                </a:cubicBezTo>
                <a:cubicBezTo>
                  <a:pt x="558" y="830"/>
                  <a:pt x="558" y="830"/>
                  <a:pt x="558" y="830"/>
                </a:cubicBezTo>
                <a:cubicBezTo>
                  <a:pt x="550" y="814"/>
                  <a:pt x="550" y="814"/>
                  <a:pt x="550" y="814"/>
                </a:cubicBezTo>
                <a:cubicBezTo>
                  <a:pt x="558" y="807"/>
                  <a:pt x="558" y="807"/>
                  <a:pt x="558" y="807"/>
                </a:cubicBezTo>
                <a:cubicBezTo>
                  <a:pt x="550" y="799"/>
                  <a:pt x="550" y="799"/>
                  <a:pt x="550" y="799"/>
                </a:cubicBezTo>
                <a:cubicBezTo>
                  <a:pt x="550" y="799"/>
                  <a:pt x="550" y="799"/>
                  <a:pt x="550" y="799"/>
                </a:cubicBezTo>
                <a:cubicBezTo>
                  <a:pt x="550" y="791"/>
                  <a:pt x="550" y="791"/>
                  <a:pt x="550" y="783"/>
                </a:cubicBezTo>
                <a:cubicBezTo>
                  <a:pt x="550" y="783"/>
                  <a:pt x="550" y="775"/>
                  <a:pt x="550" y="775"/>
                </a:cubicBezTo>
                <a:cubicBezTo>
                  <a:pt x="550" y="767"/>
                  <a:pt x="550" y="752"/>
                  <a:pt x="550" y="736"/>
                </a:cubicBezTo>
                <a:cubicBezTo>
                  <a:pt x="550" y="736"/>
                  <a:pt x="550" y="721"/>
                  <a:pt x="550" y="721"/>
                </a:cubicBezTo>
                <a:cubicBezTo>
                  <a:pt x="550" y="713"/>
                  <a:pt x="550" y="721"/>
                  <a:pt x="550" y="713"/>
                </a:cubicBezTo>
                <a:cubicBezTo>
                  <a:pt x="550" y="713"/>
                  <a:pt x="550" y="713"/>
                  <a:pt x="550" y="728"/>
                </a:cubicBezTo>
                <a:cubicBezTo>
                  <a:pt x="550" y="721"/>
                  <a:pt x="550" y="697"/>
                  <a:pt x="542" y="697"/>
                </a:cubicBezTo>
                <a:cubicBezTo>
                  <a:pt x="542" y="697"/>
                  <a:pt x="542" y="697"/>
                  <a:pt x="542" y="689"/>
                </a:cubicBezTo>
                <a:cubicBezTo>
                  <a:pt x="542" y="689"/>
                  <a:pt x="542" y="689"/>
                  <a:pt x="542" y="689"/>
                </a:cubicBezTo>
                <a:cubicBezTo>
                  <a:pt x="542" y="681"/>
                  <a:pt x="542" y="681"/>
                  <a:pt x="550" y="689"/>
                </a:cubicBezTo>
                <a:cubicBezTo>
                  <a:pt x="542" y="681"/>
                  <a:pt x="542" y="666"/>
                  <a:pt x="542" y="658"/>
                </a:cubicBezTo>
                <a:cubicBezTo>
                  <a:pt x="542" y="658"/>
                  <a:pt x="542" y="658"/>
                  <a:pt x="550" y="666"/>
                </a:cubicBezTo>
                <a:cubicBezTo>
                  <a:pt x="550" y="666"/>
                  <a:pt x="550" y="666"/>
                  <a:pt x="542" y="619"/>
                </a:cubicBezTo>
                <a:cubicBezTo>
                  <a:pt x="542" y="619"/>
                  <a:pt x="542" y="627"/>
                  <a:pt x="542" y="627"/>
                </a:cubicBezTo>
                <a:cubicBezTo>
                  <a:pt x="542" y="634"/>
                  <a:pt x="542" y="634"/>
                  <a:pt x="542" y="642"/>
                </a:cubicBezTo>
                <a:cubicBezTo>
                  <a:pt x="542" y="642"/>
                  <a:pt x="542" y="642"/>
                  <a:pt x="542" y="650"/>
                </a:cubicBezTo>
                <a:cubicBezTo>
                  <a:pt x="542" y="642"/>
                  <a:pt x="542" y="619"/>
                  <a:pt x="542" y="611"/>
                </a:cubicBezTo>
                <a:cubicBezTo>
                  <a:pt x="542" y="611"/>
                  <a:pt x="542" y="619"/>
                  <a:pt x="542" y="611"/>
                </a:cubicBezTo>
                <a:cubicBezTo>
                  <a:pt x="542" y="603"/>
                  <a:pt x="542" y="587"/>
                  <a:pt x="542" y="572"/>
                </a:cubicBezTo>
                <a:cubicBezTo>
                  <a:pt x="542" y="572"/>
                  <a:pt x="542" y="572"/>
                  <a:pt x="542" y="580"/>
                </a:cubicBezTo>
                <a:cubicBezTo>
                  <a:pt x="542" y="580"/>
                  <a:pt x="542" y="580"/>
                  <a:pt x="542" y="580"/>
                </a:cubicBezTo>
                <a:cubicBezTo>
                  <a:pt x="542" y="580"/>
                  <a:pt x="542" y="580"/>
                  <a:pt x="534" y="580"/>
                </a:cubicBezTo>
                <a:cubicBezTo>
                  <a:pt x="534" y="580"/>
                  <a:pt x="534" y="580"/>
                  <a:pt x="534" y="564"/>
                </a:cubicBezTo>
                <a:cubicBezTo>
                  <a:pt x="534" y="564"/>
                  <a:pt x="534" y="564"/>
                  <a:pt x="534" y="564"/>
                </a:cubicBezTo>
                <a:cubicBezTo>
                  <a:pt x="534" y="556"/>
                  <a:pt x="534" y="556"/>
                  <a:pt x="534" y="548"/>
                </a:cubicBezTo>
                <a:cubicBezTo>
                  <a:pt x="534" y="548"/>
                  <a:pt x="534" y="548"/>
                  <a:pt x="534" y="548"/>
                </a:cubicBezTo>
                <a:cubicBezTo>
                  <a:pt x="534" y="548"/>
                  <a:pt x="534" y="548"/>
                  <a:pt x="534" y="548"/>
                </a:cubicBezTo>
                <a:cubicBezTo>
                  <a:pt x="534" y="541"/>
                  <a:pt x="534" y="541"/>
                  <a:pt x="534" y="541"/>
                </a:cubicBezTo>
                <a:cubicBezTo>
                  <a:pt x="534" y="541"/>
                  <a:pt x="534" y="541"/>
                  <a:pt x="534" y="541"/>
                </a:cubicBezTo>
                <a:cubicBezTo>
                  <a:pt x="534" y="525"/>
                  <a:pt x="527" y="517"/>
                  <a:pt x="527" y="509"/>
                </a:cubicBezTo>
                <a:cubicBezTo>
                  <a:pt x="527" y="509"/>
                  <a:pt x="527" y="509"/>
                  <a:pt x="527" y="486"/>
                </a:cubicBezTo>
                <a:cubicBezTo>
                  <a:pt x="527" y="478"/>
                  <a:pt x="527" y="478"/>
                  <a:pt x="527" y="478"/>
                </a:cubicBezTo>
                <a:cubicBezTo>
                  <a:pt x="527" y="478"/>
                  <a:pt x="527" y="478"/>
                  <a:pt x="527" y="470"/>
                </a:cubicBezTo>
                <a:cubicBezTo>
                  <a:pt x="519" y="454"/>
                  <a:pt x="527" y="470"/>
                  <a:pt x="519" y="462"/>
                </a:cubicBezTo>
                <a:cubicBezTo>
                  <a:pt x="519" y="462"/>
                  <a:pt x="519" y="462"/>
                  <a:pt x="519" y="454"/>
                </a:cubicBezTo>
                <a:cubicBezTo>
                  <a:pt x="519" y="454"/>
                  <a:pt x="519" y="454"/>
                  <a:pt x="519" y="447"/>
                </a:cubicBezTo>
                <a:cubicBezTo>
                  <a:pt x="519" y="447"/>
                  <a:pt x="519" y="447"/>
                  <a:pt x="519" y="447"/>
                </a:cubicBezTo>
                <a:cubicBezTo>
                  <a:pt x="511" y="439"/>
                  <a:pt x="519" y="447"/>
                  <a:pt x="511" y="431"/>
                </a:cubicBezTo>
                <a:cubicBezTo>
                  <a:pt x="511" y="423"/>
                  <a:pt x="511" y="423"/>
                  <a:pt x="511" y="423"/>
                </a:cubicBezTo>
                <a:cubicBezTo>
                  <a:pt x="511" y="423"/>
                  <a:pt x="511" y="423"/>
                  <a:pt x="511" y="423"/>
                </a:cubicBezTo>
                <a:cubicBezTo>
                  <a:pt x="511" y="423"/>
                  <a:pt x="511" y="423"/>
                  <a:pt x="511" y="423"/>
                </a:cubicBezTo>
                <a:cubicBezTo>
                  <a:pt x="511" y="423"/>
                  <a:pt x="511" y="423"/>
                  <a:pt x="511" y="423"/>
                </a:cubicBezTo>
                <a:cubicBezTo>
                  <a:pt x="511" y="431"/>
                  <a:pt x="511" y="439"/>
                  <a:pt x="511" y="431"/>
                </a:cubicBezTo>
                <a:cubicBezTo>
                  <a:pt x="511" y="439"/>
                  <a:pt x="511" y="439"/>
                  <a:pt x="511" y="439"/>
                </a:cubicBezTo>
                <a:cubicBezTo>
                  <a:pt x="511" y="439"/>
                  <a:pt x="511" y="439"/>
                  <a:pt x="511" y="423"/>
                </a:cubicBezTo>
                <a:cubicBezTo>
                  <a:pt x="511" y="423"/>
                  <a:pt x="511" y="423"/>
                  <a:pt x="511" y="423"/>
                </a:cubicBezTo>
                <a:cubicBezTo>
                  <a:pt x="511" y="423"/>
                  <a:pt x="511" y="415"/>
                  <a:pt x="511" y="415"/>
                </a:cubicBezTo>
                <a:cubicBezTo>
                  <a:pt x="511" y="415"/>
                  <a:pt x="511" y="415"/>
                  <a:pt x="511" y="415"/>
                </a:cubicBezTo>
                <a:cubicBezTo>
                  <a:pt x="511" y="400"/>
                  <a:pt x="511" y="384"/>
                  <a:pt x="511" y="384"/>
                </a:cubicBezTo>
                <a:cubicBezTo>
                  <a:pt x="511" y="368"/>
                  <a:pt x="511" y="376"/>
                  <a:pt x="511" y="368"/>
                </a:cubicBezTo>
                <a:cubicBezTo>
                  <a:pt x="511" y="368"/>
                  <a:pt x="511" y="368"/>
                  <a:pt x="511" y="368"/>
                </a:cubicBezTo>
                <a:cubicBezTo>
                  <a:pt x="511" y="368"/>
                  <a:pt x="511" y="368"/>
                  <a:pt x="511" y="353"/>
                </a:cubicBezTo>
                <a:cubicBezTo>
                  <a:pt x="503" y="337"/>
                  <a:pt x="495" y="314"/>
                  <a:pt x="495" y="306"/>
                </a:cubicBezTo>
                <a:cubicBezTo>
                  <a:pt x="495" y="298"/>
                  <a:pt x="495" y="298"/>
                  <a:pt x="495" y="298"/>
                </a:cubicBezTo>
                <a:cubicBezTo>
                  <a:pt x="495" y="274"/>
                  <a:pt x="495" y="282"/>
                  <a:pt x="495" y="282"/>
                </a:cubicBezTo>
                <a:cubicBezTo>
                  <a:pt x="487" y="259"/>
                  <a:pt x="495" y="274"/>
                  <a:pt x="487" y="259"/>
                </a:cubicBezTo>
                <a:cubicBezTo>
                  <a:pt x="487" y="259"/>
                  <a:pt x="487" y="259"/>
                  <a:pt x="487" y="243"/>
                </a:cubicBezTo>
                <a:cubicBezTo>
                  <a:pt x="487" y="227"/>
                  <a:pt x="479" y="220"/>
                  <a:pt x="479" y="220"/>
                </a:cubicBezTo>
                <a:cubicBezTo>
                  <a:pt x="479" y="212"/>
                  <a:pt x="479" y="212"/>
                  <a:pt x="479" y="204"/>
                </a:cubicBezTo>
                <a:cubicBezTo>
                  <a:pt x="479" y="196"/>
                  <a:pt x="479" y="204"/>
                  <a:pt x="472" y="188"/>
                </a:cubicBezTo>
                <a:cubicBezTo>
                  <a:pt x="472" y="188"/>
                  <a:pt x="472" y="188"/>
                  <a:pt x="472" y="188"/>
                </a:cubicBezTo>
                <a:cubicBezTo>
                  <a:pt x="472" y="196"/>
                  <a:pt x="479" y="196"/>
                  <a:pt x="479" y="204"/>
                </a:cubicBezTo>
                <a:cubicBezTo>
                  <a:pt x="479" y="204"/>
                  <a:pt x="472" y="196"/>
                  <a:pt x="472" y="188"/>
                </a:cubicBezTo>
                <a:cubicBezTo>
                  <a:pt x="472" y="188"/>
                  <a:pt x="472" y="188"/>
                  <a:pt x="472" y="188"/>
                </a:cubicBezTo>
                <a:cubicBezTo>
                  <a:pt x="472" y="204"/>
                  <a:pt x="472" y="204"/>
                  <a:pt x="472" y="204"/>
                </a:cubicBezTo>
                <a:cubicBezTo>
                  <a:pt x="472" y="204"/>
                  <a:pt x="472" y="196"/>
                  <a:pt x="472" y="196"/>
                </a:cubicBezTo>
                <a:cubicBezTo>
                  <a:pt x="472" y="204"/>
                  <a:pt x="479" y="204"/>
                  <a:pt x="479" y="204"/>
                </a:cubicBezTo>
                <a:cubicBezTo>
                  <a:pt x="479" y="204"/>
                  <a:pt x="479" y="204"/>
                  <a:pt x="479" y="204"/>
                </a:cubicBezTo>
                <a:cubicBezTo>
                  <a:pt x="479" y="204"/>
                  <a:pt x="479" y="204"/>
                  <a:pt x="472" y="204"/>
                </a:cubicBezTo>
                <a:cubicBezTo>
                  <a:pt x="479" y="212"/>
                  <a:pt x="479" y="212"/>
                  <a:pt x="479" y="212"/>
                </a:cubicBezTo>
                <a:cubicBezTo>
                  <a:pt x="479" y="212"/>
                  <a:pt x="479" y="212"/>
                  <a:pt x="479" y="212"/>
                </a:cubicBezTo>
                <a:cubicBezTo>
                  <a:pt x="479" y="212"/>
                  <a:pt x="479" y="212"/>
                  <a:pt x="479" y="227"/>
                </a:cubicBezTo>
                <a:cubicBezTo>
                  <a:pt x="479" y="220"/>
                  <a:pt x="479" y="220"/>
                  <a:pt x="479" y="220"/>
                </a:cubicBezTo>
                <a:cubicBezTo>
                  <a:pt x="479" y="251"/>
                  <a:pt x="487" y="274"/>
                  <a:pt x="487" y="282"/>
                </a:cubicBezTo>
                <a:cubicBezTo>
                  <a:pt x="487" y="282"/>
                  <a:pt x="479" y="267"/>
                  <a:pt x="479" y="251"/>
                </a:cubicBezTo>
                <a:cubicBezTo>
                  <a:pt x="479" y="235"/>
                  <a:pt x="472" y="235"/>
                  <a:pt x="472" y="251"/>
                </a:cubicBezTo>
                <a:cubicBezTo>
                  <a:pt x="472" y="251"/>
                  <a:pt x="472" y="251"/>
                  <a:pt x="472" y="251"/>
                </a:cubicBezTo>
                <a:cubicBezTo>
                  <a:pt x="464" y="212"/>
                  <a:pt x="456" y="165"/>
                  <a:pt x="440" y="110"/>
                </a:cubicBezTo>
                <a:cubicBezTo>
                  <a:pt x="440" y="110"/>
                  <a:pt x="440" y="110"/>
                  <a:pt x="440" y="102"/>
                </a:cubicBezTo>
                <a:cubicBezTo>
                  <a:pt x="448" y="110"/>
                  <a:pt x="448" y="110"/>
                  <a:pt x="448" y="126"/>
                </a:cubicBezTo>
                <a:cubicBezTo>
                  <a:pt x="448" y="118"/>
                  <a:pt x="448" y="118"/>
                  <a:pt x="448" y="110"/>
                </a:cubicBezTo>
                <a:cubicBezTo>
                  <a:pt x="440" y="94"/>
                  <a:pt x="440" y="87"/>
                  <a:pt x="440" y="79"/>
                </a:cubicBezTo>
                <a:cubicBezTo>
                  <a:pt x="440" y="94"/>
                  <a:pt x="440" y="87"/>
                  <a:pt x="432" y="87"/>
                </a:cubicBezTo>
                <a:cubicBezTo>
                  <a:pt x="424" y="55"/>
                  <a:pt x="424" y="47"/>
                  <a:pt x="424" y="32"/>
                </a:cubicBezTo>
                <a:cubicBezTo>
                  <a:pt x="424" y="32"/>
                  <a:pt x="424" y="32"/>
                  <a:pt x="417" y="32"/>
                </a:cubicBezTo>
                <a:cubicBezTo>
                  <a:pt x="417" y="32"/>
                  <a:pt x="417" y="32"/>
                  <a:pt x="417" y="32"/>
                </a:cubicBezTo>
                <a:cubicBezTo>
                  <a:pt x="424" y="55"/>
                  <a:pt x="424" y="47"/>
                  <a:pt x="424" y="63"/>
                </a:cubicBezTo>
                <a:cubicBezTo>
                  <a:pt x="424" y="63"/>
                  <a:pt x="424" y="63"/>
                  <a:pt x="424" y="71"/>
                </a:cubicBezTo>
                <a:cubicBezTo>
                  <a:pt x="424" y="71"/>
                  <a:pt x="424" y="71"/>
                  <a:pt x="424" y="71"/>
                </a:cubicBezTo>
                <a:cubicBezTo>
                  <a:pt x="424" y="71"/>
                  <a:pt x="424" y="71"/>
                  <a:pt x="424" y="87"/>
                </a:cubicBezTo>
                <a:cubicBezTo>
                  <a:pt x="424" y="79"/>
                  <a:pt x="424" y="71"/>
                  <a:pt x="424" y="63"/>
                </a:cubicBezTo>
                <a:cubicBezTo>
                  <a:pt x="424" y="63"/>
                  <a:pt x="424" y="71"/>
                  <a:pt x="424" y="71"/>
                </a:cubicBezTo>
                <a:cubicBezTo>
                  <a:pt x="424" y="63"/>
                  <a:pt x="417" y="55"/>
                  <a:pt x="409" y="32"/>
                </a:cubicBezTo>
                <a:cubicBezTo>
                  <a:pt x="409" y="32"/>
                  <a:pt x="409" y="32"/>
                  <a:pt x="409" y="32"/>
                </a:cubicBezTo>
                <a:cubicBezTo>
                  <a:pt x="409" y="32"/>
                  <a:pt x="409" y="40"/>
                  <a:pt x="409" y="16"/>
                </a:cubicBezTo>
                <a:cubicBezTo>
                  <a:pt x="409" y="47"/>
                  <a:pt x="432" y="118"/>
                  <a:pt x="440" y="149"/>
                </a:cubicBezTo>
                <a:cubicBezTo>
                  <a:pt x="432" y="126"/>
                  <a:pt x="424" y="94"/>
                  <a:pt x="409" y="40"/>
                </a:cubicBezTo>
                <a:cubicBezTo>
                  <a:pt x="409" y="47"/>
                  <a:pt x="409" y="47"/>
                  <a:pt x="409" y="47"/>
                </a:cubicBezTo>
                <a:cubicBezTo>
                  <a:pt x="409" y="40"/>
                  <a:pt x="409" y="24"/>
                  <a:pt x="401" y="0"/>
                </a:cubicBezTo>
                <a:cubicBezTo>
                  <a:pt x="401" y="0"/>
                  <a:pt x="401" y="0"/>
                  <a:pt x="409" y="24"/>
                </a:cubicBezTo>
                <a:cubicBezTo>
                  <a:pt x="409" y="32"/>
                  <a:pt x="409" y="24"/>
                  <a:pt x="409" y="32"/>
                </a:cubicBezTo>
                <a:cubicBezTo>
                  <a:pt x="401" y="16"/>
                  <a:pt x="401" y="32"/>
                  <a:pt x="401" y="32"/>
                </a:cubicBezTo>
                <a:cubicBezTo>
                  <a:pt x="409" y="40"/>
                  <a:pt x="409" y="40"/>
                  <a:pt x="409" y="47"/>
                </a:cubicBezTo>
                <a:cubicBezTo>
                  <a:pt x="409" y="47"/>
                  <a:pt x="409" y="47"/>
                  <a:pt x="409" y="47"/>
                </a:cubicBezTo>
                <a:cubicBezTo>
                  <a:pt x="409" y="63"/>
                  <a:pt x="409" y="63"/>
                  <a:pt x="417" y="87"/>
                </a:cubicBezTo>
                <a:cubicBezTo>
                  <a:pt x="417" y="87"/>
                  <a:pt x="417" y="87"/>
                  <a:pt x="417" y="79"/>
                </a:cubicBezTo>
                <a:cubicBezTo>
                  <a:pt x="417" y="79"/>
                  <a:pt x="417" y="79"/>
                  <a:pt x="417" y="71"/>
                </a:cubicBezTo>
                <a:cubicBezTo>
                  <a:pt x="424" y="87"/>
                  <a:pt x="424" y="87"/>
                  <a:pt x="424" y="102"/>
                </a:cubicBezTo>
                <a:cubicBezTo>
                  <a:pt x="424" y="102"/>
                  <a:pt x="424" y="102"/>
                  <a:pt x="424" y="102"/>
                </a:cubicBezTo>
                <a:cubicBezTo>
                  <a:pt x="424" y="118"/>
                  <a:pt x="424" y="126"/>
                  <a:pt x="432" y="134"/>
                </a:cubicBezTo>
                <a:cubicBezTo>
                  <a:pt x="432" y="134"/>
                  <a:pt x="432" y="134"/>
                  <a:pt x="432" y="141"/>
                </a:cubicBezTo>
                <a:cubicBezTo>
                  <a:pt x="432" y="141"/>
                  <a:pt x="432" y="141"/>
                  <a:pt x="432" y="149"/>
                </a:cubicBezTo>
                <a:cubicBezTo>
                  <a:pt x="432" y="141"/>
                  <a:pt x="432" y="149"/>
                  <a:pt x="440" y="165"/>
                </a:cubicBezTo>
                <a:cubicBezTo>
                  <a:pt x="432" y="165"/>
                  <a:pt x="432" y="165"/>
                  <a:pt x="432" y="165"/>
                </a:cubicBezTo>
                <a:cubicBezTo>
                  <a:pt x="432" y="149"/>
                  <a:pt x="424" y="141"/>
                  <a:pt x="424" y="134"/>
                </a:cubicBezTo>
                <a:cubicBezTo>
                  <a:pt x="424" y="134"/>
                  <a:pt x="424" y="134"/>
                  <a:pt x="424" y="126"/>
                </a:cubicBezTo>
                <a:cubicBezTo>
                  <a:pt x="424" y="118"/>
                  <a:pt x="417" y="94"/>
                  <a:pt x="409" y="79"/>
                </a:cubicBezTo>
                <a:cubicBezTo>
                  <a:pt x="409" y="79"/>
                  <a:pt x="409" y="79"/>
                  <a:pt x="424" y="149"/>
                </a:cubicBezTo>
                <a:cubicBezTo>
                  <a:pt x="432" y="165"/>
                  <a:pt x="424" y="157"/>
                  <a:pt x="424" y="165"/>
                </a:cubicBezTo>
                <a:cubicBezTo>
                  <a:pt x="424" y="165"/>
                  <a:pt x="424" y="165"/>
                  <a:pt x="432" y="165"/>
                </a:cubicBezTo>
                <a:cubicBezTo>
                  <a:pt x="440" y="180"/>
                  <a:pt x="440" y="180"/>
                  <a:pt x="440" y="196"/>
                </a:cubicBezTo>
                <a:cubicBezTo>
                  <a:pt x="440" y="196"/>
                  <a:pt x="440" y="196"/>
                  <a:pt x="440" y="196"/>
                </a:cubicBezTo>
                <a:cubicBezTo>
                  <a:pt x="440" y="196"/>
                  <a:pt x="440" y="196"/>
                  <a:pt x="440" y="173"/>
                </a:cubicBezTo>
                <a:cubicBezTo>
                  <a:pt x="440" y="188"/>
                  <a:pt x="440" y="196"/>
                  <a:pt x="440" y="196"/>
                </a:cubicBezTo>
                <a:cubicBezTo>
                  <a:pt x="448" y="204"/>
                  <a:pt x="456" y="227"/>
                  <a:pt x="456" y="251"/>
                </a:cubicBezTo>
                <a:cubicBezTo>
                  <a:pt x="448" y="235"/>
                  <a:pt x="448" y="243"/>
                  <a:pt x="440" y="235"/>
                </a:cubicBezTo>
                <a:cubicBezTo>
                  <a:pt x="440" y="251"/>
                  <a:pt x="448" y="251"/>
                  <a:pt x="448" y="259"/>
                </a:cubicBezTo>
                <a:cubicBezTo>
                  <a:pt x="448" y="259"/>
                  <a:pt x="440" y="259"/>
                  <a:pt x="440" y="259"/>
                </a:cubicBezTo>
                <a:cubicBezTo>
                  <a:pt x="440" y="243"/>
                  <a:pt x="440" y="243"/>
                  <a:pt x="440" y="243"/>
                </a:cubicBezTo>
                <a:cubicBezTo>
                  <a:pt x="440" y="227"/>
                  <a:pt x="440" y="220"/>
                  <a:pt x="432" y="204"/>
                </a:cubicBezTo>
                <a:cubicBezTo>
                  <a:pt x="432" y="204"/>
                  <a:pt x="432" y="204"/>
                  <a:pt x="432" y="188"/>
                </a:cubicBezTo>
                <a:cubicBezTo>
                  <a:pt x="424" y="180"/>
                  <a:pt x="424" y="165"/>
                  <a:pt x="424" y="165"/>
                </a:cubicBezTo>
                <a:cubicBezTo>
                  <a:pt x="417" y="149"/>
                  <a:pt x="424" y="157"/>
                  <a:pt x="417" y="149"/>
                </a:cubicBezTo>
                <a:cubicBezTo>
                  <a:pt x="409" y="149"/>
                  <a:pt x="417" y="165"/>
                  <a:pt x="409" y="165"/>
                </a:cubicBezTo>
                <a:cubicBezTo>
                  <a:pt x="409" y="165"/>
                  <a:pt x="409" y="165"/>
                  <a:pt x="409" y="157"/>
                </a:cubicBezTo>
                <a:cubicBezTo>
                  <a:pt x="409" y="157"/>
                  <a:pt x="409" y="157"/>
                  <a:pt x="409" y="149"/>
                </a:cubicBezTo>
                <a:close/>
                <a:moveTo>
                  <a:pt x="456" y="501"/>
                </a:moveTo>
                <a:cubicBezTo>
                  <a:pt x="456" y="501"/>
                  <a:pt x="456" y="501"/>
                  <a:pt x="456" y="501"/>
                </a:cubicBezTo>
                <a:cubicBezTo>
                  <a:pt x="456" y="501"/>
                  <a:pt x="456" y="501"/>
                  <a:pt x="456" y="501"/>
                </a:cubicBezTo>
                <a:cubicBezTo>
                  <a:pt x="456" y="501"/>
                  <a:pt x="456" y="501"/>
                  <a:pt x="456" y="501"/>
                </a:cubicBezTo>
                <a:close/>
                <a:moveTo>
                  <a:pt x="550" y="1652"/>
                </a:moveTo>
                <a:cubicBezTo>
                  <a:pt x="550" y="1652"/>
                  <a:pt x="550" y="1652"/>
                  <a:pt x="550" y="1644"/>
                </a:cubicBezTo>
                <a:cubicBezTo>
                  <a:pt x="550" y="1636"/>
                  <a:pt x="550" y="1636"/>
                  <a:pt x="550" y="1636"/>
                </a:cubicBezTo>
                <a:cubicBezTo>
                  <a:pt x="550" y="1652"/>
                  <a:pt x="558" y="1660"/>
                  <a:pt x="558" y="1668"/>
                </a:cubicBezTo>
                <a:cubicBezTo>
                  <a:pt x="558" y="1675"/>
                  <a:pt x="558" y="1683"/>
                  <a:pt x="550" y="1714"/>
                </a:cubicBezTo>
                <a:cubicBezTo>
                  <a:pt x="550" y="1683"/>
                  <a:pt x="550" y="1675"/>
                  <a:pt x="550" y="1652"/>
                </a:cubicBezTo>
                <a:close/>
                <a:moveTo>
                  <a:pt x="558" y="1761"/>
                </a:moveTo>
                <a:cubicBezTo>
                  <a:pt x="558" y="1769"/>
                  <a:pt x="558" y="1769"/>
                  <a:pt x="558" y="1769"/>
                </a:cubicBezTo>
                <a:cubicBezTo>
                  <a:pt x="558" y="1769"/>
                  <a:pt x="558" y="1769"/>
                  <a:pt x="558" y="1769"/>
                </a:cubicBezTo>
                <a:cubicBezTo>
                  <a:pt x="558" y="1769"/>
                  <a:pt x="558" y="1777"/>
                  <a:pt x="558" y="1777"/>
                </a:cubicBezTo>
                <a:cubicBezTo>
                  <a:pt x="558" y="1777"/>
                  <a:pt x="558" y="1777"/>
                  <a:pt x="558" y="1785"/>
                </a:cubicBezTo>
                <a:cubicBezTo>
                  <a:pt x="550" y="1785"/>
                  <a:pt x="550" y="1777"/>
                  <a:pt x="550" y="1777"/>
                </a:cubicBezTo>
                <a:cubicBezTo>
                  <a:pt x="550" y="1777"/>
                  <a:pt x="550" y="1777"/>
                  <a:pt x="558" y="1761"/>
                </a:cubicBezTo>
                <a:close/>
                <a:moveTo>
                  <a:pt x="550" y="1824"/>
                </a:moveTo>
                <a:cubicBezTo>
                  <a:pt x="550" y="1824"/>
                  <a:pt x="550" y="1824"/>
                  <a:pt x="550" y="1832"/>
                </a:cubicBezTo>
                <a:cubicBezTo>
                  <a:pt x="550" y="1848"/>
                  <a:pt x="550" y="1863"/>
                  <a:pt x="550" y="1879"/>
                </a:cubicBezTo>
                <a:cubicBezTo>
                  <a:pt x="550" y="1887"/>
                  <a:pt x="550" y="1887"/>
                  <a:pt x="550" y="1887"/>
                </a:cubicBezTo>
                <a:cubicBezTo>
                  <a:pt x="550" y="1871"/>
                  <a:pt x="550" y="1855"/>
                  <a:pt x="550" y="1824"/>
                </a:cubicBezTo>
                <a:close/>
                <a:moveTo>
                  <a:pt x="542" y="1229"/>
                </a:moveTo>
                <a:cubicBezTo>
                  <a:pt x="550" y="1308"/>
                  <a:pt x="550" y="1558"/>
                  <a:pt x="542" y="1660"/>
                </a:cubicBezTo>
                <a:cubicBezTo>
                  <a:pt x="542" y="1519"/>
                  <a:pt x="542" y="1253"/>
                  <a:pt x="542" y="1229"/>
                </a:cubicBezTo>
                <a:close/>
                <a:moveTo>
                  <a:pt x="542" y="611"/>
                </a:moveTo>
                <a:cubicBezTo>
                  <a:pt x="542" y="611"/>
                  <a:pt x="542" y="611"/>
                  <a:pt x="542" y="611"/>
                </a:cubicBezTo>
                <a:cubicBezTo>
                  <a:pt x="542" y="611"/>
                  <a:pt x="542" y="619"/>
                  <a:pt x="542" y="619"/>
                </a:cubicBezTo>
                <a:cubicBezTo>
                  <a:pt x="542" y="619"/>
                  <a:pt x="542" y="619"/>
                  <a:pt x="542" y="611"/>
                </a:cubicBezTo>
                <a:close/>
                <a:moveTo>
                  <a:pt x="542" y="611"/>
                </a:moveTo>
                <a:cubicBezTo>
                  <a:pt x="542" y="611"/>
                  <a:pt x="542" y="611"/>
                  <a:pt x="542" y="611"/>
                </a:cubicBezTo>
                <a:cubicBezTo>
                  <a:pt x="542" y="611"/>
                  <a:pt x="542" y="603"/>
                  <a:pt x="534" y="603"/>
                </a:cubicBezTo>
                <a:cubicBezTo>
                  <a:pt x="542" y="603"/>
                  <a:pt x="542" y="603"/>
                  <a:pt x="542" y="611"/>
                </a:cubicBezTo>
                <a:close/>
                <a:moveTo>
                  <a:pt x="479" y="243"/>
                </a:moveTo>
                <a:cubicBezTo>
                  <a:pt x="479" y="235"/>
                  <a:pt x="479" y="235"/>
                  <a:pt x="479" y="235"/>
                </a:cubicBezTo>
                <a:cubicBezTo>
                  <a:pt x="479" y="235"/>
                  <a:pt x="479" y="235"/>
                  <a:pt x="479" y="235"/>
                </a:cubicBezTo>
                <a:cubicBezTo>
                  <a:pt x="479" y="235"/>
                  <a:pt x="479" y="235"/>
                  <a:pt x="479" y="243"/>
                </a:cubicBezTo>
                <a:close/>
                <a:moveTo>
                  <a:pt x="495" y="2004"/>
                </a:moveTo>
                <a:cubicBezTo>
                  <a:pt x="495" y="2012"/>
                  <a:pt x="495" y="2012"/>
                  <a:pt x="495" y="2020"/>
                </a:cubicBezTo>
                <a:cubicBezTo>
                  <a:pt x="495" y="2020"/>
                  <a:pt x="495" y="2020"/>
                  <a:pt x="495" y="1988"/>
                </a:cubicBezTo>
                <a:cubicBezTo>
                  <a:pt x="495" y="2004"/>
                  <a:pt x="495" y="2012"/>
                  <a:pt x="495" y="2020"/>
                </a:cubicBezTo>
                <a:cubicBezTo>
                  <a:pt x="495" y="2020"/>
                  <a:pt x="495" y="2020"/>
                  <a:pt x="495" y="2020"/>
                </a:cubicBezTo>
                <a:cubicBezTo>
                  <a:pt x="495" y="2020"/>
                  <a:pt x="495" y="2020"/>
                  <a:pt x="495" y="2012"/>
                </a:cubicBezTo>
                <a:cubicBezTo>
                  <a:pt x="495" y="2012"/>
                  <a:pt x="495" y="2012"/>
                  <a:pt x="495" y="2012"/>
                </a:cubicBezTo>
                <a:cubicBezTo>
                  <a:pt x="495" y="1996"/>
                  <a:pt x="495" y="1996"/>
                  <a:pt x="495" y="1996"/>
                </a:cubicBezTo>
                <a:cubicBezTo>
                  <a:pt x="495" y="1996"/>
                  <a:pt x="495" y="1996"/>
                  <a:pt x="495" y="1996"/>
                </a:cubicBezTo>
                <a:cubicBezTo>
                  <a:pt x="495" y="1988"/>
                  <a:pt x="487" y="1973"/>
                  <a:pt x="487" y="1973"/>
                </a:cubicBezTo>
                <a:cubicBezTo>
                  <a:pt x="487" y="1957"/>
                  <a:pt x="487" y="1957"/>
                  <a:pt x="495" y="1957"/>
                </a:cubicBezTo>
                <a:cubicBezTo>
                  <a:pt x="495" y="1957"/>
                  <a:pt x="495" y="1957"/>
                  <a:pt x="487" y="1934"/>
                </a:cubicBezTo>
                <a:cubicBezTo>
                  <a:pt x="487" y="1934"/>
                  <a:pt x="487" y="1934"/>
                  <a:pt x="487" y="1934"/>
                </a:cubicBezTo>
                <a:cubicBezTo>
                  <a:pt x="487" y="1949"/>
                  <a:pt x="487" y="1957"/>
                  <a:pt x="487" y="1957"/>
                </a:cubicBezTo>
                <a:cubicBezTo>
                  <a:pt x="487" y="1965"/>
                  <a:pt x="487" y="1949"/>
                  <a:pt x="479" y="1941"/>
                </a:cubicBezTo>
                <a:cubicBezTo>
                  <a:pt x="479" y="1918"/>
                  <a:pt x="495" y="1879"/>
                  <a:pt x="495" y="1879"/>
                </a:cubicBezTo>
                <a:cubicBezTo>
                  <a:pt x="495" y="1895"/>
                  <a:pt x="495" y="1910"/>
                  <a:pt x="495" y="1918"/>
                </a:cubicBezTo>
                <a:cubicBezTo>
                  <a:pt x="495" y="1918"/>
                  <a:pt x="495" y="1918"/>
                  <a:pt x="495" y="1926"/>
                </a:cubicBezTo>
                <a:cubicBezTo>
                  <a:pt x="495" y="1926"/>
                  <a:pt x="495" y="1934"/>
                  <a:pt x="495" y="1934"/>
                </a:cubicBezTo>
                <a:cubicBezTo>
                  <a:pt x="495" y="1934"/>
                  <a:pt x="495" y="1934"/>
                  <a:pt x="495" y="1941"/>
                </a:cubicBezTo>
                <a:cubicBezTo>
                  <a:pt x="495" y="1941"/>
                  <a:pt x="495" y="1941"/>
                  <a:pt x="495" y="1941"/>
                </a:cubicBezTo>
                <a:cubicBezTo>
                  <a:pt x="495" y="1941"/>
                  <a:pt x="495" y="1941"/>
                  <a:pt x="495" y="1941"/>
                </a:cubicBezTo>
                <a:cubicBezTo>
                  <a:pt x="495" y="1941"/>
                  <a:pt x="495" y="1941"/>
                  <a:pt x="495" y="1941"/>
                </a:cubicBezTo>
                <a:cubicBezTo>
                  <a:pt x="495" y="1949"/>
                  <a:pt x="495" y="1949"/>
                  <a:pt x="495" y="1949"/>
                </a:cubicBezTo>
                <a:cubicBezTo>
                  <a:pt x="495" y="1949"/>
                  <a:pt x="495" y="1957"/>
                  <a:pt x="495" y="1957"/>
                </a:cubicBezTo>
                <a:cubicBezTo>
                  <a:pt x="495" y="1965"/>
                  <a:pt x="495" y="1965"/>
                  <a:pt x="495" y="1973"/>
                </a:cubicBezTo>
                <a:cubicBezTo>
                  <a:pt x="495" y="1973"/>
                  <a:pt x="495" y="1973"/>
                  <a:pt x="495" y="1988"/>
                </a:cubicBezTo>
                <a:cubicBezTo>
                  <a:pt x="495" y="1988"/>
                  <a:pt x="495" y="1988"/>
                  <a:pt x="495" y="1988"/>
                </a:cubicBezTo>
                <a:cubicBezTo>
                  <a:pt x="495" y="1996"/>
                  <a:pt x="495" y="2004"/>
                  <a:pt x="495" y="2004"/>
                </a:cubicBezTo>
                <a:cubicBezTo>
                  <a:pt x="495" y="2004"/>
                  <a:pt x="495" y="2004"/>
                  <a:pt x="495" y="2004"/>
                </a:cubicBezTo>
                <a:close/>
                <a:moveTo>
                  <a:pt x="527" y="1957"/>
                </a:moveTo>
                <a:cubicBezTo>
                  <a:pt x="527" y="1957"/>
                  <a:pt x="527" y="1957"/>
                  <a:pt x="527" y="1957"/>
                </a:cubicBezTo>
                <a:cubicBezTo>
                  <a:pt x="527" y="1949"/>
                  <a:pt x="527" y="1949"/>
                  <a:pt x="527" y="1949"/>
                </a:cubicBezTo>
                <a:cubicBezTo>
                  <a:pt x="527" y="1949"/>
                  <a:pt x="527" y="1949"/>
                  <a:pt x="527" y="1957"/>
                </a:cubicBezTo>
                <a:close/>
                <a:moveTo>
                  <a:pt x="527" y="1871"/>
                </a:moveTo>
                <a:cubicBezTo>
                  <a:pt x="527" y="1895"/>
                  <a:pt x="527" y="1902"/>
                  <a:pt x="527" y="1926"/>
                </a:cubicBezTo>
                <a:cubicBezTo>
                  <a:pt x="527" y="1926"/>
                  <a:pt x="527" y="1926"/>
                  <a:pt x="527" y="1934"/>
                </a:cubicBezTo>
                <a:cubicBezTo>
                  <a:pt x="527" y="1918"/>
                  <a:pt x="519" y="1926"/>
                  <a:pt x="519" y="1910"/>
                </a:cubicBezTo>
                <a:cubicBezTo>
                  <a:pt x="519" y="1910"/>
                  <a:pt x="519" y="1910"/>
                  <a:pt x="519" y="1926"/>
                </a:cubicBezTo>
                <a:cubicBezTo>
                  <a:pt x="519" y="1926"/>
                  <a:pt x="519" y="1926"/>
                  <a:pt x="511" y="1949"/>
                </a:cubicBezTo>
                <a:cubicBezTo>
                  <a:pt x="511" y="1949"/>
                  <a:pt x="511" y="1941"/>
                  <a:pt x="511" y="1941"/>
                </a:cubicBezTo>
                <a:cubicBezTo>
                  <a:pt x="511" y="1941"/>
                  <a:pt x="511" y="1941"/>
                  <a:pt x="511" y="1926"/>
                </a:cubicBezTo>
                <a:cubicBezTo>
                  <a:pt x="511" y="1926"/>
                  <a:pt x="519" y="1895"/>
                  <a:pt x="527" y="1871"/>
                </a:cubicBezTo>
                <a:close/>
                <a:moveTo>
                  <a:pt x="503" y="744"/>
                </a:moveTo>
                <a:cubicBezTo>
                  <a:pt x="503" y="752"/>
                  <a:pt x="503" y="744"/>
                  <a:pt x="503" y="752"/>
                </a:cubicBezTo>
                <a:cubicBezTo>
                  <a:pt x="511" y="814"/>
                  <a:pt x="519" y="1034"/>
                  <a:pt x="511" y="1081"/>
                </a:cubicBezTo>
                <a:cubicBezTo>
                  <a:pt x="511" y="1081"/>
                  <a:pt x="511" y="1081"/>
                  <a:pt x="519" y="1096"/>
                </a:cubicBezTo>
                <a:cubicBezTo>
                  <a:pt x="519" y="1214"/>
                  <a:pt x="519" y="1214"/>
                  <a:pt x="519" y="1214"/>
                </a:cubicBezTo>
                <a:cubicBezTo>
                  <a:pt x="519" y="1221"/>
                  <a:pt x="519" y="1221"/>
                  <a:pt x="519" y="1229"/>
                </a:cubicBezTo>
                <a:cubicBezTo>
                  <a:pt x="519" y="1253"/>
                  <a:pt x="519" y="1276"/>
                  <a:pt x="519" y="1292"/>
                </a:cubicBezTo>
                <a:cubicBezTo>
                  <a:pt x="519" y="1331"/>
                  <a:pt x="519" y="1425"/>
                  <a:pt x="519" y="1480"/>
                </a:cubicBezTo>
                <a:cubicBezTo>
                  <a:pt x="519" y="1480"/>
                  <a:pt x="519" y="1480"/>
                  <a:pt x="519" y="1519"/>
                </a:cubicBezTo>
                <a:cubicBezTo>
                  <a:pt x="519" y="1589"/>
                  <a:pt x="511" y="1707"/>
                  <a:pt x="511" y="1769"/>
                </a:cubicBezTo>
                <a:cubicBezTo>
                  <a:pt x="511" y="1801"/>
                  <a:pt x="503" y="1840"/>
                  <a:pt x="503" y="1879"/>
                </a:cubicBezTo>
                <a:cubicBezTo>
                  <a:pt x="503" y="1824"/>
                  <a:pt x="503" y="1746"/>
                  <a:pt x="511" y="1722"/>
                </a:cubicBezTo>
                <a:cubicBezTo>
                  <a:pt x="511" y="1660"/>
                  <a:pt x="519" y="1315"/>
                  <a:pt x="519" y="1229"/>
                </a:cubicBezTo>
                <a:cubicBezTo>
                  <a:pt x="519" y="1229"/>
                  <a:pt x="519" y="1229"/>
                  <a:pt x="511" y="1182"/>
                </a:cubicBezTo>
                <a:cubicBezTo>
                  <a:pt x="511" y="1159"/>
                  <a:pt x="511" y="1112"/>
                  <a:pt x="511" y="1081"/>
                </a:cubicBezTo>
                <a:cubicBezTo>
                  <a:pt x="511" y="1065"/>
                  <a:pt x="511" y="1057"/>
                  <a:pt x="511" y="1049"/>
                </a:cubicBezTo>
                <a:cubicBezTo>
                  <a:pt x="511" y="979"/>
                  <a:pt x="503" y="822"/>
                  <a:pt x="503" y="799"/>
                </a:cubicBezTo>
                <a:cubicBezTo>
                  <a:pt x="503" y="775"/>
                  <a:pt x="495" y="728"/>
                  <a:pt x="495" y="697"/>
                </a:cubicBezTo>
                <a:cubicBezTo>
                  <a:pt x="495" y="697"/>
                  <a:pt x="495" y="697"/>
                  <a:pt x="495" y="713"/>
                </a:cubicBezTo>
                <a:cubicBezTo>
                  <a:pt x="495" y="681"/>
                  <a:pt x="487" y="603"/>
                  <a:pt x="487" y="595"/>
                </a:cubicBezTo>
                <a:cubicBezTo>
                  <a:pt x="487" y="580"/>
                  <a:pt x="487" y="572"/>
                  <a:pt x="487" y="564"/>
                </a:cubicBezTo>
                <a:cubicBezTo>
                  <a:pt x="487" y="564"/>
                  <a:pt x="487" y="564"/>
                  <a:pt x="495" y="681"/>
                </a:cubicBezTo>
                <a:cubicBezTo>
                  <a:pt x="495" y="697"/>
                  <a:pt x="503" y="721"/>
                  <a:pt x="503" y="744"/>
                </a:cubicBezTo>
                <a:close/>
                <a:moveTo>
                  <a:pt x="495" y="282"/>
                </a:moveTo>
                <a:cubicBezTo>
                  <a:pt x="495" y="282"/>
                  <a:pt x="495" y="282"/>
                  <a:pt x="495" y="298"/>
                </a:cubicBezTo>
                <a:cubicBezTo>
                  <a:pt x="495" y="298"/>
                  <a:pt x="495" y="298"/>
                  <a:pt x="495" y="314"/>
                </a:cubicBezTo>
                <a:cubicBezTo>
                  <a:pt x="495" y="314"/>
                  <a:pt x="495" y="314"/>
                  <a:pt x="495" y="314"/>
                </a:cubicBezTo>
                <a:cubicBezTo>
                  <a:pt x="495" y="306"/>
                  <a:pt x="495" y="298"/>
                  <a:pt x="487" y="282"/>
                </a:cubicBezTo>
                <a:cubicBezTo>
                  <a:pt x="487" y="290"/>
                  <a:pt x="495" y="290"/>
                  <a:pt x="495" y="282"/>
                </a:cubicBezTo>
                <a:close/>
                <a:moveTo>
                  <a:pt x="495" y="337"/>
                </a:moveTo>
                <a:cubicBezTo>
                  <a:pt x="495" y="337"/>
                  <a:pt x="495" y="329"/>
                  <a:pt x="495" y="314"/>
                </a:cubicBezTo>
                <a:cubicBezTo>
                  <a:pt x="495" y="321"/>
                  <a:pt x="495" y="329"/>
                  <a:pt x="495" y="337"/>
                </a:cubicBezTo>
                <a:close/>
                <a:moveTo>
                  <a:pt x="479" y="274"/>
                </a:moveTo>
                <a:cubicBezTo>
                  <a:pt x="479" y="282"/>
                  <a:pt x="479" y="282"/>
                  <a:pt x="479" y="298"/>
                </a:cubicBezTo>
                <a:cubicBezTo>
                  <a:pt x="479" y="306"/>
                  <a:pt x="479" y="298"/>
                  <a:pt x="479" y="282"/>
                </a:cubicBezTo>
                <a:cubicBezTo>
                  <a:pt x="479" y="282"/>
                  <a:pt x="479" y="282"/>
                  <a:pt x="472" y="274"/>
                </a:cubicBezTo>
                <a:cubicBezTo>
                  <a:pt x="472" y="274"/>
                  <a:pt x="472" y="274"/>
                  <a:pt x="479" y="274"/>
                </a:cubicBezTo>
                <a:close/>
                <a:moveTo>
                  <a:pt x="440" y="118"/>
                </a:moveTo>
                <a:cubicBezTo>
                  <a:pt x="440" y="118"/>
                  <a:pt x="440" y="118"/>
                  <a:pt x="440" y="118"/>
                </a:cubicBezTo>
                <a:cubicBezTo>
                  <a:pt x="440" y="134"/>
                  <a:pt x="440" y="118"/>
                  <a:pt x="440" y="110"/>
                </a:cubicBezTo>
                <a:cubicBezTo>
                  <a:pt x="440" y="110"/>
                  <a:pt x="440" y="110"/>
                  <a:pt x="440" y="118"/>
                </a:cubicBezTo>
                <a:close/>
                <a:moveTo>
                  <a:pt x="440" y="165"/>
                </a:moveTo>
                <a:cubicBezTo>
                  <a:pt x="440" y="173"/>
                  <a:pt x="440" y="188"/>
                  <a:pt x="440" y="188"/>
                </a:cubicBezTo>
                <a:cubicBezTo>
                  <a:pt x="440" y="188"/>
                  <a:pt x="440" y="188"/>
                  <a:pt x="440" y="165"/>
                </a:cubicBezTo>
                <a:close/>
                <a:moveTo>
                  <a:pt x="424" y="87"/>
                </a:moveTo>
                <a:cubicBezTo>
                  <a:pt x="424" y="79"/>
                  <a:pt x="424" y="79"/>
                  <a:pt x="424" y="79"/>
                </a:cubicBezTo>
                <a:cubicBezTo>
                  <a:pt x="432" y="79"/>
                  <a:pt x="432" y="87"/>
                  <a:pt x="432" y="94"/>
                </a:cubicBezTo>
                <a:cubicBezTo>
                  <a:pt x="432" y="102"/>
                  <a:pt x="432" y="102"/>
                  <a:pt x="440" y="110"/>
                </a:cubicBezTo>
                <a:cubicBezTo>
                  <a:pt x="440" y="134"/>
                  <a:pt x="440" y="149"/>
                  <a:pt x="456" y="180"/>
                </a:cubicBezTo>
                <a:cubicBezTo>
                  <a:pt x="456" y="188"/>
                  <a:pt x="456" y="188"/>
                  <a:pt x="456" y="188"/>
                </a:cubicBezTo>
                <a:cubicBezTo>
                  <a:pt x="464" y="235"/>
                  <a:pt x="464" y="274"/>
                  <a:pt x="479" y="321"/>
                </a:cubicBezTo>
                <a:cubicBezTo>
                  <a:pt x="479" y="329"/>
                  <a:pt x="495" y="415"/>
                  <a:pt x="495" y="447"/>
                </a:cubicBezTo>
                <a:cubicBezTo>
                  <a:pt x="495" y="447"/>
                  <a:pt x="495" y="447"/>
                  <a:pt x="495" y="447"/>
                </a:cubicBezTo>
                <a:cubicBezTo>
                  <a:pt x="479" y="337"/>
                  <a:pt x="456" y="212"/>
                  <a:pt x="424" y="87"/>
                </a:cubicBezTo>
                <a:close/>
                <a:moveTo>
                  <a:pt x="448" y="267"/>
                </a:moveTo>
                <a:cubicBezTo>
                  <a:pt x="448" y="267"/>
                  <a:pt x="448" y="274"/>
                  <a:pt x="456" y="282"/>
                </a:cubicBezTo>
                <a:cubicBezTo>
                  <a:pt x="456" y="298"/>
                  <a:pt x="456" y="298"/>
                  <a:pt x="456" y="298"/>
                </a:cubicBezTo>
                <a:cubicBezTo>
                  <a:pt x="456" y="306"/>
                  <a:pt x="456" y="306"/>
                  <a:pt x="456" y="306"/>
                </a:cubicBezTo>
                <a:cubicBezTo>
                  <a:pt x="456" y="306"/>
                  <a:pt x="456" y="306"/>
                  <a:pt x="456" y="321"/>
                </a:cubicBezTo>
                <a:cubicBezTo>
                  <a:pt x="456" y="314"/>
                  <a:pt x="456" y="306"/>
                  <a:pt x="448" y="290"/>
                </a:cubicBezTo>
                <a:cubicBezTo>
                  <a:pt x="448" y="282"/>
                  <a:pt x="448" y="274"/>
                  <a:pt x="448" y="267"/>
                </a:cubicBezTo>
                <a:close/>
                <a:moveTo>
                  <a:pt x="456" y="321"/>
                </a:moveTo>
                <a:cubicBezTo>
                  <a:pt x="456" y="329"/>
                  <a:pt x="456" y="329"/>
                  <a:pt x="456" y="329"/>
                </a:cubicBezTo>
                <a:cubicBezTo>
                  <a:pt x="464" y="384"/>
                  <a:pt x="456" y="384"/>
                  <a:pt x="464" y="431"/>
                </a:cubicBezTo>
                <a:cubicBezTo>
                  <a:pt x="464" y="447"/>
                  <a:pt x="464" y="431"/>
                  <a:pt x="464" y="447"/>
                </a:cubicBezTo>
                <a:cubicBezTo>
                  <a:pt x="472" y="454"/>
                  <a:pt x="464" y="462"/>
                  <a:pt x="472" y="486"/>
                </a:cubicBezTo>
                <a:cubicBezTo>
                  <a:pt x="472" y="486"/>
                  <a:pt x="472" y="486"/>
                  <a:pt x="472" y="494"/>
                </a:cubicBezTo>
                <a:cubicBezTo>
                  <a:pt x="464" y="470"/>
                  <a:pt x="464" y="470"/>
                  <a:pt x="464" y="454"/>
                </a:cubicBezTo>
                <a:cubicBezTo>
                  <a:pt x="464" y="447"/>
                  <a:pt x="464" y="454"/>
                  <a:pt x="464" y="447"/>
                </a:cubicBezTo>
                <a:cubicBezTo>
                  <a:pt x="464" y="447"/>
                  <a:pt x="464" y="447"/>
                  <a:pt x="464" y="431"/>
                </a:cubicBezTo>
                <a:cubicBezTo>
                  <a:pt x="464" y="423"/>
                  <a:pt x="456" y="345"/>
                  <a:pt x="456" y="337"/>
                </a:cubicBezTo>
                <a:cubicBezTo>
                  <a:pt x="456" y="337"/>
                  <a:pt x="456" y="337"/>
                  <a:pt x="448" y="306"/>
                </a:cubicBezTo>
                <a:cubicBezTo>
                  <a:pt x="448" y="306"/>
                  <a:pt x="448" y="306"/>
                  <a:pt x="448" y="321"/>
                </a:cubicBezTo>
                <a:cubicBezTo>
                  <a:pt x="440" y="298"/>
                  <a:pt x="440" y="282"/>
                  <a:pt x="440" y="259"/>
                </a:cubicBezTo>
                <a:cubicBezTo>
                  <a:pt x="440" y="282"/>
                  <a:pt x="448" y="314"/>
                  <a:pt x="456" y="321"/>
                </a:cubicBezTo>
                <a:close/>
                <a:moveTo>
                  <a:pt x="440" y="407"/>
                </a:moveTo>
                <a:cubicBezTo>
                  <a:pt x="448" y="407"/>
                  <a:pt x="448" y="407"/>
                  <a:pt x="448" y="407"/>
                </a:cubicBezTo>
                <a:cubicBezTo>
                  <a:pt x="440" y="400"/>
                  <a:pt x="440" y="400"/>
                  <a:pt x="440" y="400"/>
                </a:cubicBezTo>
                <a:cubicBezTo>
                  <a:pt x="440" y="400"/>
                  <a:pt x="440" y="400"/>
                  <a:pt x="440" y="400"/>
                </a:cubicBezTo>
                <a:cubicBezTo>
                  <a:pt x="440" y="400"/>
                  <a:pt x="440" y="407"/>
                  <a:pt x="440" y="407"/>
                </a:cubicBezTo>
                <a:close/>
                <a:moveTo>
                  <a:pt x="487" y="1026"/>
                </a:moveTo>
                <a:cubicBezTo>
                  <a:pt x="487" y="1026"/>
                  <a:pt x="487" y="1026"/>
                  <a:pt x="487" y="1034"/>
                </a:cubicBezTo>
                <a:cubicBezTo>
                  <a:pt x="495" y="1034"/>
                  <a:pt x="495" y="1034"/>
                  <a:pt x="495" y="1026"/>
                </a:cubicBezTo>
                <a:cubicBezTo>
                  <a:pt x="495" y="1026"/>
                  <a:pt x="495" y="1026"/>
                  <a:pt x="487" y="1018"/>
                </a:cubicBezTo>
                <a:cubicBezTo>
                  <a:pt x="487" y="1018"/>
                  <a:pt x="487" y="1018"/>
                  <a:pt x="487" y="1026"/>
                </a:cubicBezTo>
                <a:close/>
                <a:moveTo>
                  <a:pt x="440" y="204"/>
                </a:moveTo>
                <a:cubicBezTo>
                  <a:pt x="432" y="188"/>
                  <a:pt x="432" y="188"/>
                  <a:pt x="432" y="188"/>
                </a:cubicBezTo>
                <a:cubicBezTo>
                  <a:pt x="432" y="196"/>
                  <a:pt x="432" y="204"/>
                  <a:pt x="432" y="204"/>
                </a:cubicBezTo>
                <a:cubicBezTo>
                  <a:pt x="432" y="204"/>
                  <a:pt x="432" y="204"/>
                  <a:pt x="440" y="204"/>
                </a:cubicBezTo>
                <a:close/>
                <a:moveTo>
                  <a:pt x="456" y="517"/>
                </a:moveTo>
                <a:cubicBezTo>
                  <a:pt x="448" y="517"/>
                  <a:pt x="448" y="517"/>
                  <a:pt x="456" y="525"/>
                </a:cubicBezTo>
                <a:cubicBezTo>
                  <a:pt x="456" y="525"/>
                  <a:pt x="456" y="525"/>
                  <a:pt x="456" y="517"/>
                </a:cubicBezTo>
                <a:close/>
                <a:moveTo>
                  <a:pt x="479" y="814"/>
                </a:moveTo>
                <a:cubicBezTo>
                  <a:pt x="479" y="799"/>
                  <a:pt x="479" y="791"/>
                  <a:pt x="479" y="783"/>
                </a:cubicBezTo>
                <a:cubicBezTo>
                  <a:pt x="479" y="783"/>
                  <a:pt x="479" y="783"/>
                  <a:pt x="479" y="775"/>
                </a:cubicBezTo>
                <a:cubicBezTo>
                  <a:pt x="479" y="775"/>
                  <a:pt x="479" y="783"/>
                  <a:pt x="479" y="783"/>
                </a:cubicBezTo>
                <a:cubicBezTo>
                  <a:pt x="479" y="783"/>
                  <a:pt x="479" y="783"/>
                  <a:pt x="479" y="783"/>
                </a:cubicBezTo>
                <a:cubicBezTo>
                  <a:pt x="479" y="791"/>
                  <a:pt x="479" y="799"/>
                  <a:pt x="479" y="814"/>
                </a:cubicBezTo>
                <a:cubicBezTo>
                  <a:pt x="479" y="814"/>
                  <a:pt x="479" y="814"/>
                  <a:pt x="472" y="799"/>
                </a:cubicBezTo>
                <a:cubicBezTo>
                  <a:pt x="472" y="799"/>
                  <a:pt x="472" y="807"/>
                  <a:pt x="472" y="807"/>
                </a:cubicBezTo>
                <a:cubicBezTo>
                  <a:pt x="472" y="807"/>
                  <a:pt x="472" y="814"/>
                  <a:pt x="472" y="814"/>
                </a:cubicBezTo>
                <a:cubicBezTo>
                  <a:pt x="472" y="814"/>
                  <a:pt x="472" y="814"/>
                  <a:pt x="472" y="822"/>
                </a:cubicBezTo>
                <a:cubicBezTo>
                  <a:pt x="472" y="822"/>
                  <a:pt x="472" y="830"/>
                  <a:pt x="472" y="838"/>
                </a:cubicBezTo>
                <a:cubicBezTo>
                  <a:pt x="472" y="838"/>
                  <a:pt x="472" y="838"/>
                  <a:pt x="472" y="846"/>
                </a:cubicBezTo>
                <a:cubicBezTo>
                  <a:pt x="472" y="846"/>
                  <a:pt x="472" y="846"/>
                  <a:pt x="472" y="854"/>
                </a:cubicBezTo>
                <a:cubicBezTo>
                  <a:pt x="472" y="854"/>
                  <a:pt x="472" y="854"/>
                  <a:pt x="472" y="861"/>
                </a:cubicBezTo>
                <a:cubicBezTo>
                  <a:pt x="464" y="846"/>
                  <a:pt x="464" y="846"/>
                  <a:pt x="464" y="830"/>
                </a:cubicBezTo>
                <a:cubicBezTo>
                  <a:pt x="464" y="830"/>
                  <a:pt x="464" y="830"/>
                  <a:pt x="464" y="830"/>
                </a:cubicBezTo>
                <a:cubicBezTo>
                  <a:pt x="464" y="838"/>
                  <a:pt x="464" y="846"/>
                  <a:pt x="464" y="854"/>
                </a:cubicBezTo>
                <a:cubicBezTo>
                  <a:pt x="464" y="854"/>
                  <a:pt x="464" y="854"/>
                  <a:pt x="464" y="854"/>
                </a:cubicBezTo>
                <a:cubicBezTo>
                  <a:pt x="464" y="877"/>
                  <a:pt x="472" y="861"/>
                  <a:pt x="472" y="877"/>
                </a:cubicBezTo>
                <a:cubicBezTo>
                  <a:pt x="472" y="877"/>
                  <a:pt x="472" y="877"/>
                  <a:pt x="472" y="877"/>
                </a:cubicBezTo>
                <a:cubicBezTo>
                  <a:pt x="472" y="869"/>
                  <a:pt x="472" y="869"/>
                  <a:pt x="479" y="877"/>
                </a:cubicBezTo>
                <a:cubicBezTo>
                  <a:pt x="479" y="869"/>
                  <a:pt x="479" y="869"/>
                  <a:pt x="479" y="861"/>
                </a:cubicBezTo>
                <a:cubicBezTo>
                  <a:pt x="479" y="861"/>
                  <a:pt x="479" y="861"/>
                  <a:pt x="479" y="861"/>
                </a:cubicBezTo>
                <a:cubicBezTo>
                  <a:pt x="479" y="854"/>
                  <a:pt x="479" y="854"/>
                  <a:pt x="479" y="854"/>
                </a:cubicBezTo>
                <a:cubicBezTo>
                  <a:pt x="479" y="854"/>
                  <a:pt x="479" y="854"/>
                  <a:pt x="479" y="854"/>
                </a:cubicBezTo>
                <a:cubicBezTo>
                  <a:pt x="479" y="854"/>
                  <a:pt x="479" y="854"/>
                  <a:pt x="479" y="846"/>
                </a:cubicBezTo>
                <a:cubicBezTo>
                  <a:pt x="472" y="830"/>
                  <a:pt x="479" y="838"/>
                  <a:pt x="479" y="830"/>
                </a:cubicBezTo>
                <a:cubicBezTo>
                  <a:pt x="479" y="830"/>
                  <a:pt x="479" y="822"/>
                  <a:pt x="479" y="814"/>
                </a:cubicBezTo>
                <a:cubicBezTo>
                  <a:pt x="479" y="822"/>
                  <a:pt x="479" y="814"/>
                  <a:pt x="479" y="814"/>
                </a:cubicBezTo>
                <a:close/>
                <a:moveTo>
                  <a:pt x="511" y="2145"/>
                </a:moveTo>
                <a:cubicBezTo>
                  <a:pt x="511" y="2145"/>
                  <a:pt x="511" y="2145"/>
                  <a:pt x="519" y="2153"/>
                </a:cubicBezTo>
                <a:cubicBezTo>
                  <a:pt x="519" y="2153"/>
                  <a:pt x="519" y="2153"/>
                  <a:pt x="511" y="2137"/>
                </a:cubicBezTo>
                <a:cubicBezTo>
                  <a:pt x="511" y="2137"/>
                  <a:pt x="511" y="2145"/>
                  <a:pt x="511" y="2145"/>
                </a:cubicBezTo>
                <a:close/>
                <a:moveTo>
                  <a:pt x="519" y="2129"/>
                </a:moveTo>
                <a:cubicBezTo>
                  <a:pt x="519" y="2137"/>
                  <a:pt x="519" y="2145"/>
                  <a:pt x="527" y="2153"/>
                </a:cubicBezTo>
                <a:cubicBezTo>
                  <a:pt x="527" y="2145"/>
                  <a:pt x="519" y="2137"/>
                  <a:pt x="519" y="2129"/>
                </a:cubicBezTo>
                <a:close/>
                <a:moveTo>
                  <a:pt x="534" y="2192"/>
                </a:moveTo>
                <a:cubicBezTo>
                  <a:pt x="534" y="2176"/>
                  <a:pt x="527" y="2168"/>
                  <a:pt x="527" y="2161"/>
                </a:cubicBezTo>
                <a:lnTo>
                  <a:pt x="534" y="2192"/>
                </a:lnTo>
                <a:close/>
                <a:moveTo>
                  <a:pt x="527" y="2153"/>
                </a:moveTo>
                <a:cubicBezTo>
                  <a:pt x="527" y="2153"/>
                  <a:pt x="527" y="2153"/>
                  <a:pt x="527" y="2153"/>
                </a:cubicBezTo>
                <a:cubicBezTo>
                  <a:pt x="527" y="2153"/>
                  <a:pt x="527" y="2153"/>
                  <a:pt x="527" y="2153"/>
                </a:cubicBezTo>
                <a:cubicBezTo>
                  <a:pt x="527" y="2153"/>
                  <a:pt x="527" y="2161"/>
                  <a:pt x="527" y="2161"/>
                </a:cubicBezTo>
                <a:cubicBezTo>
                  <a:pt x="527" y="2161"/>
                  <a:pt x="527" y="2153"/>
                  <a:pt x="527" y="2153"/>
                </a:cubicBezTo>
                <a:close/>
                <a:moveTo>
                  <a:pt x="511" y="2082"/>
                </a:moveTo>
                <a:cubicBezTo>
                  <a:pt x="511" y="2082"/>
                  <a:pt x="511" y="2082"/>
                  <a:pt x="511" y="2090"/>
                </a:cubicBezTo>
                <a:cubicBezTo>
                  <a:pt x="511" y="2090"/>
                  <a:pt x="511" y="2090"/>
                  <a:pt x="511" y="2098"/>
                </a:cubicBezTo>
                <a:cubicBezTo>
                  <a:pt x="511" y="2098"/>
                  <a:pt x="511" y="2106"/>
                  <a:pt x="511" y="2106"/>
                </a:cubicBezTo>
                <a:cubicBezTo>
                  <a:pt x="511" y="2106"/>
                  <a:pt x="511" y="2114"/>
                  <a:pt x="511" y="2114"/>
                </a:cubicBezTo>
                <a:cubicBezTo>
                  <a:pt x="519" y="2114"/>
                  <a:pt x="519" y="2114"/>
                  <a:pt x="519" y="2114"/>
                </a:cubicBezTo>
                <a:cubicBezTo>
                  <a:pt x="511" y="2106"/>
                  <a:pt x="511" y="2098"/>
                  <a:pt x="511" y="2082"/>
                </a:cubicBezTo>
                <a:close/>
                <a:moveTo>
                  <a:pt x="511" y="2114"/>
                </a:moveTo>
                <a:cubicBezTo>
                  <a:pt x="511" y="2114"/>
                  <a:pt x="511" y="2114"/>
                  <a:pt x="511" y="2114"/>
                </a:cubicBezTo>
                <a:cubicBezTo>
                  <a:pt x="511" y="2114"/>
                  <a:pt x="511" y="2114"/>
                  <a:pt x="511" y="2114"/>
                </a:cubicBezTo>
                <a:cubicBezTo>
                  <a:pt x="511" y="2114"/>
                  <a:pt x="511" y="2114"/>
                  <a:pt x="511" y="2114"/>
                </a:cubicBezTo>
                <a:close/>
                <a:moveTo>
                  <a:pt x="511" y="2114"/>
                </a:moveTo>
                <a:cubicBezTo>
                  <a:pt x="511" y="2121"/>
                  <a:pt x="519" y="2121"/>
                  <a:pt x="519" y="2129"/>
                </a:cubicBezTo>
                <a:cubicBezTo>
                  <a:pt x="519" y="2121"/>
                  <a:pt x="519" y="2121"/>
                  <a:pt x="519" y="2121"/>
                </a:cubicBezTo>
                <a:cubicBezTo>
                  <a:pt x="519" y="2121"/>
                  <a:pt x="519" y="2121"/>
                  <a:pt x="519" y="2121"/>
                </a:cubicBezTo>
                <a:cubicBezTo>
                  <a:pt x="519" y="2121"/>
                  <a:pt x="519" y="2121"/>
                  <a:pt x="519" y="2114"/>
                </a:cubicBezTo>
                <a:cubicBezTo>
                  <a:pt x="519" y="2121"/>
                  <a:pt x="519" y="2121"/>
                  <a:pt x="519" y="2121"/>
                </a:cubicBezTo>
                <a:cubicBezTo>
                  <a:pt x="519" y="2121"/>
                  <a:pt x="519" y="2121"/>
                  <a:pt x="511" y="2114"/>
                </a:cubicBezTo>
                <a:close/>
                <a:moveTo>
                  <a:pt x="542" y="2192"/>
                </a:moveTo>
                <a:cubicBezTo>
                  <a:pt x="542" y="2176"/>
                  <a:pt x="542" y="2176"/>
                  <a:pt x="542" y="2168"/>
                </a:cubicBezTo>
                <a:cubicBezTo>
                  <a:pt x="542" y="2168"/>
                  <a:pt x="542" y="2168"/>
                  <a:pt x="534" y="2161"/>
                </a:cubicBezTo>
                <a:cubicBezTo>
                  <a:pt x="534" y="2161"/>
                  <a:pt x="534" y="2161"/>
                  <a:pt x="534" y="2168"/>
                </a:cubicBezTo>
                <a:cubicBezTo>
                  <a:pt x="534" y="2168"/>
                  <a:pt x="534" y="2168"/>
                  <a:pt x="534" y="2176"/>
                </a:cubicBezTo>
                <a:cubicBezTo>
                  <a:pt x="534" y="2161"/>
                  <a:pt x="534" y="2161"/>
                  <a:pt x="527" y="2161"/>
                </a:cubicBezTo>
                <a:cubicBezTo>
                  <a:pt x="527" y="2161"/>
                  <a:pt x="527" y="2161"/>
                  <a:pt x="534" y="2176"/>
                </a:cubicBezTo>
                <a:cubicBezTo>
                  <a:pt x="534" y="2184"/>
                  <a:pt x="534" y="2184"/>
                  <a:pt x="534" y="2184"/>
                </a:cubicBezTo>
                <a:cubicBezTo>
                  <a:pt x="542" y="2192"/>
                  <a:pt x="542" y="2192"/>
                  <a:pt x="542" y="2192"/>
                </a:cubicBezTo>
                <a:close/>
                <a:moveTo>
                  <a:pt x="527" y="2067"/>
                </a:moveTo>
                <a:cubicBezTo>
                  <a:pt x="527" y="2067"/>
                  <a:pt x="527" y="2075"/>
                  <a:pt x="527" y="2075"/>
                </a:cubicBezTo>
                <a:cubicBezTo>
                  <a:pt x="527" y="2067"/>
                  <a:pt x="527" y="2067"/>
                  <a:pt x="527" y="2067"/>
                </a:cubicBezTo>
                <a:cubicBezTo>
                  <a:pt x="527" y="2067"/>
                  <a:pt x="527" y="2067"/>
                  <a:pt x="527" y="2067"/>
                </a:cubicBezTo>
                <a:cubicBezTo>
                  <a:pt x="527" y="2067"/>
                  <a:pt x="527" y="2067"/>
                  <a:pt x="527" y="2075"/>
                </a:cubicBezTo>
                <a:cubicBezTo>
                  <a:pt x="527" y="2067"/>
                  <a:pt x="527" y="2067"/>
                  <a:pt x="534" y="2075"/>
                </a:cubicBezTo>
                <a:cubicBezTo>
                  <a:pt x="534" y="2075"/>
                  <a:pt x="534" y="2075"/>
                  <a:pt x="527" y="2059"/>
                </a:cubicBezTo>
                <a:cubicBezTo>
                  <a:pt x="527" y="2067"/>
                  <a:pt x="527" y="2067"/>
                  <a:pt x="527" y="2067"/>
                </a:cubicBezTo>
                <a:cubicBezTo>
                  <a:pt x="527" y="2067"/>
                  <a:pt x="527" y="2059"/>
                  <a:pt x="527" y="2059"/>
                </a:cubicBezTo>
                <a:cubicBezTo>
                  <a:pt x="527" y="2059"/>
                  <a:pt x="527" y="2059"/>
                  <a:pt x="527" y="2059"/>
                </a:cubicBezTo>
                <a:cubicBezTo>
                  <a:pt x="527" y="2059"/>
                  <a:pt x="527" y="2059"/>
                  <a:pt x="527" y="2059"/>
                </a:cubicBezTo>
                <a:cubicBezTo>
                  <a:pt x="527" y="2059"/>
                  <a:pt x="527" y="2059"/>
                  <a:pt x="527" y="2059"/>
                </a:cubicBezTo>
                <a:cubicBezTo>
                  <a:pt x="527" y="2051"/>
                  <a:pt x="527" y="2051"/>
                  <a:pt x="527" y="2051"/>
                </a:cubicBezTo>
                <a:cubicBezTo>
                  <a:pt x="527" y="2051"/>
                  <a:pt x="527" y="2051"/>
                  <a:pt x="527" y="2059"/>
                </a:cubicBezTo>
                <a:cubicBezTo>
                  <a:pt x="527" y="2051"/>
                  <a:pt x="527" y="2051"/>
                  <a:pt x="527" y="2051"/>
                </a:cubicBezTo>
                <a:cubicBezTo>
                  <a:pt x="527" y="2059"/>
                  <a:pt x="527" y="2059"/>
                  <a:pt x="527" y="2067"/>
                </a:cubicBezTo>
                <a:cubicBezTo>
                  <a:pt x="527" y="2059"/>
                  <a:pt x="527" y="2067"/>
                  <a:pt x="527" y="2075"/>
                </a:cubicBezTo>
                <a:cubicBezTo>
                  <a:pt x="527" y="2075"/>
                  <a:pt x="527" y="2075"/>
                  <a:pt x="527" y="2067"/>
                </a:cubicBezTo>
                <a:close/>
                <a:moveTo>
                  <a:pt x="527" y="2098"/>
                </a:moveTo>
                <a:cubicBezTo>
                  <a:pt x="534" y="2106"/>
                  <a:pt x="534" y="2114"/>
                  <a:pt x="534" y="2121"/>
                </a:cubicBezTo>
                <a:cubicBezTo>
                  <a:pt x="527" y="2121"/>
                  <a:pt x="527" y="2121"/>
                  <a:pt x="527" y="2121"/>
                </a:cubicBezTo>
                <a:cubicBezTo>
                  <a:pt x="534" y="2129"/>
                  <a:pt x="534" y="2129"/>
                  <a:pt x="534" y="2129"/>
                </a:cubicBezTo>
                <a:cubicBezTo>
                  <a:pt x="534" y="2121"/>
                  <a:pt x="534" y="2121"/>
                  <a:pt x="534" y="2121"/>
                </a:cubicBezTo>
                <a:cubicBezTo>
                  <a:pt x="534" y="2129"/>
                  <a:pt x="534" y="2129"/>
                  <a:pt x="534" y="2137"/>
                </a:cubicBezTo>
                <a:cubicBezTo>
                  <a:pt x="534" y="2129"/>
                  <a:pt x="534" y="2129"/>
                  <a:pt x="534" y="2106"/>
                </a:cubicBezTo>
                <a:cubicBezTo>
                  <a:pt x="534" y="2098"/>
                  <a:pt x="534" y="2098"/>
                  <a:pt x="527" y="2098"/>
                </a:cubicBezTo>
                <a:close/>
                <a:moveTo>
                  <a:pt x="534" y="2137"/>
                </a:moveTo>
                <a:cubicBezTo>
                  <a:pt x="534" y="2137"/>
                  <a:pt x="534" y="2137"/>
                  <a:pt x="534" y="2145"/>
                </a:cubicBezTo>
                <a:cubicBezTo>
                  <a:pt x="534" y="2145"/>
                  <a:pt x="534" y="2145"/>
                  <a:pt x="542" y="2145"/>
                </a:cubicBezTo>
                <a:cubicBezTo>
                  <a:pt x="534" y="2145"/>
                  <a:pt x="534" y="2145"/>
                  <a:pt x="534" y="2145"/>
                </a:cubicBezTo>
                <a:cubicBezTo>
                  <a:pt x="534" y="2145"/>
                  <a:pt x="534" y="2145"/>
                  <a:pt x="542" y="2145"/>
                </a:cubicBezTo>
                <a:cubicBezTo>
                  <a:pt x="542" y="2145"/>
                  <a:pt x="542" y="2145"/>
                  <a:pt x="534" y="2145"/>
                </a:cubicBezTo>
                <a:cubicBezTo>
                  <a:pt x="534" y="2137"/>
                  <a:pt x="534" y="2137"/>
                  <a:pt x="534" y="2137"/>
                </a:cubicBezTo>
                <a:cubicBezTo>
                  <a:pt x="534" y="2137"/>
                  <a:pt x="534" y="2137"/>
                  <a:pt x="534" y="2145"/>
                </a:cubicBezTo>
                <a:cubicBezTo>
                  <a:pt x="534" y="2137"/>
                  <a:pt x="534" y="2137"/>
                  <a:pt x="534" y="2137"/>
                </a:cubicBezTo>
                <a:close/>
                <a:moveTo>
                  <a:pt x="527" y="2043"/>
                </a:moveTo>
                <a:cubicBezTo>
                  <a:pt x="527" y="2043"/>
                  <a:pt x="527" y="2043"/>
                  <a:pt x="527" y="2028"/>
                </a:cubicBezTo>
                <a:cubicBezTo>
                  <a:pt x="527" y="2035"/>
                  <a:pt x="527" y="2035"/>
                  <a:pt x="527" y="2043"/>
                </a:cubicBezTo>
                <a:cubicBezTo>
                  <a:pt x="527" y="2043"/>
                  <a:pt x="527" y="2043"/>
                  <a:pt x="527" y="2043"/>
                </a:cubicBezTo>
                <a:cubicBezTo>
                  <a:pt x="527" y="2051"/>
                  <a:pt x="527" y="2051"/>
                  <a:pt x="527" y="2051"/>
                </a:cubicBezTo>
                <a:cubicBezTo>
                  <a:pt x="527" y="2051"/>
                  <a:pt x="527" y="2051"/>
                  <a:pt x="527" y="2043"/>
                </a:cubicBezTo>
                <a:close/>
                <a:moveTo>
                  <a:pt x="527" y="2051"/>
                </a:moveTo>
                <a:cubicBezTo>
                  <a:pt x="527" y="2051"/>
                  <a:pt x="527" y="2051"/>
                  <a:pt x="527" y="2051"/>
                </a:cubicBezTo>
                <a:cubicBezTo>
                  <a:pt x="527" y="2051"/>
                  <a:pt x="527" y="2051"/>
                  <a:pt x="527" y="2043"/>
                </a:cubicBezTo>
                <a:cubicBezTo>
                  <a:pt x="527" y="2051"/>
                  <a:pt x="527" y="2051"/>
                  <a:pt x="527" y="2051"/>
                </a:cubicBezTo>
                <a:close/>
                <a:moveTo>
                  <a:pt x="527" y="2043"/>
                </a:moveTo>
                <a:cubicBezTo>
                  <a:pt x="527" y="2028"/>
                  <a:pt x="527" y="2028"/>
                  <a:pt x="527" y="2028"/>
                </a:cubicBezTo>
                <a:cubicBezTo>
                  <a:pt x="527" y="2035"/>
                  <a:pt x="527" y="2043"/>
                  <a:pt x="527" y="2043"/>
                </a:cubicBezTo>
                <a:cubicBezTo>
                  <a:pt x="527" y="2043"/>
                  <a:pt x="527" y="2043"/>
                  <a:pt x="527" y="2043"/>
                </a:cubicBezTo>
                <a:close/>
                <a:moveTo>
                  <a:pt x="534" y="2082"/>
                </a:moveTo>
                <a:cubicBezTo>
                  <a:pt x="534" y="2082"/>
                  <a:pt x="534" y="2082"/>
                  <a:pt x="534" y="2090"/>
                </a:cubicBezTo>
                <a:cubicBezTo>
                  <a:pt x="534" y="2090"/>
                  <a:pt x="534" y="2090"/>
                  <a:pt x="534" y="2106"/>
                </a:cubicBezTo>
                <a:cubicBezTo>
                  <a:pt x="542" y="2121"/>
                  <a:pt x="542" y="2121"/>
                  <a:pt x="542" y="2121"/>
                </a:cubicBezTo>
                <a:cubicBezTo>
                  <a:pt x="534" y="2106"/>
                  <a:pt x="534" y="2098"/>
                  <a:pt x="534" y="2082"/>
                </a:cubicBezTo>
                <a:close/>
                <a:moveTo>
                  <a:pt x="527" y="2051"/>
                </a:moveTo>
                <a:cubicBezTo>
                  <a:pt x="527" y="2051"/>
                  <a:pt x="527" y="2051"/>
                  <a:pt x="527" y="2059"/>
                </a:cubicBezTo>
                <a:cubicBezTo>
                  <a:pt x="534" y="2059"/>
                  <a:pt x="534" y="2059"/>
                  <a:pt x="534" y="2059"/>
                </a:cubicBezTo>
                <a:cubicBezTo>
                  <a:pt x="527" y="2051"/>
                  <a:pt x="534" y="2059"/>
                  <a:pt x="527" y="2051"/>
                </a:cubicBezTo>
                <a:close/>
                <a:moveTo>
                  <a:pt x="550" y="2168"/>
                </a:moveTo>
                <a:cubicBezTo>
                  <a:pt x="550" y="2168"/>
                  <a:pt x="550" y="2168"/>
                  <a:pt x="550" y="2168"/>
                </a:cubicBezTo>
                <a:cubicBezTo>
                  <a:pt x="550" y="2168"/>
                  <a:pt x="550" y="2168"/>
                  <a:pt x="550" y="2168"/>
                </a:cubicBezTo>
                <a:cubicBezTo>
                  <a:pt x="550" y="2168"/>
                  <a:pt x="550" y="2168"/>
                  <a:pt x="550" y="2168"/>
                </a:cubicBezTo>
                <a:close/>
                <a:moveTo>
                  <a:pt x="550" y="2161"/>
                </a:moveTo>
                <a:cubicBezTo>
                  <a:pt x="550" y="2168"/>
                  <a:pt x="550" y="2168"/>
                  <a:pt x="550" y="2168"/>
                </a:cubicBezTo>
                <a:cubicBezTo>
                  <a:pt x="550" y="2161"/>
                  <a:pt x="550" y="2161"/>
                  <a:pt x="550" y="2161"/>
                </a:cubicBezTo>
                <a:cubicBezTo>
                  <a:pt x="550" y="2161"/>
                  <a:pt x="550" y="2161"/>
                  <a:pt x="550" y="2161"/>
                </a:cubicBezTo>
                <a:close/>
                <a:moveTo>
                  <a:pt x="550" y="2176"/>
                </a:moveTo>
                <a:cubicBezTo>
                  <a:pt x="550" y="2168"/>
                  <a:pt x="550" y="2168"/>
                  <a:pt x="550" y="2168"/>
                </a:cubicBezTo>
                <a:cubicBezTo>
                  <a:pt x="550" y="2168"/>
                  <a:pt x="550" y="2168"/>
                  <a:pt x="550" y="2176"/>
                </a:cubicBezTo>
                <a:close/>
                <a:moveTo>
                  <a:pt x="550" y="2137"/>
                </a:moveTo>
                <a:cubicBezTo>
                  <a:pt x="550" y="2145"/>
                  <a:pt x="550" y="2137"/>
                  <a:pt x="550" y="2145"/>
                </a:cubicBezTo>
                <a:cubicBezTo>
                  <a:pt x="550" y="2161"/>
                  <a:pt x="550" y="2161"/>
                  <a:pt x="550" y="2161"/>
                </a:cubicBezTo>
                <a:cubicBezTo>
                  <a:pt x="550" y="2161"/>
                  <a:pt x="550" y="2161"/>
                  <a:pt x="550" y="2137"/>
                </a:cubicBezTo>
                <a:close/>
                <a:moveTo>
                  <a:pt x="542" y="1957"/>
                </a:moveTo>
                <a:cubicBezTo>
                  <a:pt x="550" y="1957"/>
                  <a:pt x="550" y="1957"/>
                  <a:pt x="550" y="1957"/>
                </a:cubicBezTo>
                <a:cubicBezTo>
                  <a:pt x="542" y="1934"/>
                  <a:pt x="542" y="1934"/>
                  <a:pt x="542" y="1934"/>
                </a:cubicBezTo>
                <a:lnTo>
                  <a:pt x="542" y="1957"/>
                </a:lnTo>
                <a:close/>
                <a:moveTo>
                  <a:pt x="566" y="1652"/>
                </a:moveTo>
                <a:cubicBezTo>
                  <a:pt x="566" y="1652"/>
                  <a:pt x="566" y="1652"/>
                  <a:pt x="566" y="1644"/>
                </a:cubicBezTo>
                <a:cubicBezTo>
                  <a:pt x="566" y="1644"/>
                  <a:pt x="566" y="1644"/>
                  <a:pt x="566" y="1636"/>
                </a:cubicBezTo>
                <a:cubicBezTo>
                  <a:pt x="566" y="1636"/>
                  <a:pt x="566" y="1636"/>
                  <a:pt x="566" y="1628"/>
                </a:cubicBezTo>
                <a:cubicBezTo>
                  <a:pt x="566" y="1628"/>
                  <a:pt x="566" y="1628"/>
                  <a:pt x="566" y="1636"/>
                </a:cubicBezTo>
                <a:cubicBezTo>
                  <a:pt x="566" y="1644"/>
                  <a:pt x="566" y="1644"/>
                  <a:pt x="566" y="1652"/>
                </a:cubicBezTo>
                <a:close/>
                <a:moveTo>
                  <a:pt x="527" y="462"/>
                </a:moveTo>
                <a:cubicBezTo>
                  <a:pt x="527" y="462"/>
                  <a:pt x="527" y="462"/>
                  <a:pt x="527" y="454"/>
                </a:cubicBezTo>
                <a:cubicBezTo>
                  <a:pt x="527" y="454"/>
                  <a:pt x="527" y="454"/>
                  <a:pt x="527" y="447"/>
                </a:cubicBezTo>
                <a:cubicBezTo>
                  <a:pt x="527" y="447"/>
                  <a:pt x="527" y="447"/>
                  <a:pt x="527" y="462"/>
                </a:cubicBezTo>
                <a:cubicBezTo>
                  <a:pt x="527" y="470"/>
                  <a:pt x="527" y="454"/>
                  <a:pt x="527" y="462"/>
                </a:cubicBezTo>
                <a:close/>
                <a:moveTo>
                  <a:pt x="566" y="1660"/>
                </a:moveTo>
                <a:cubicBezTo>
                  <a:pt x="566" y="1652"/>
                  <a:pt x="566" y="1652"/>
                  <a:pt x="566" y="1652"/>
                </a:cubicBezTo>
                <a:cubicBezTo>
                  <a:pt x="566" y="1660"/>
                  <a:pt x="566" y="1660"/>
                  <a:pt x="566" y="1660"/>
                </a:cubicBezTo>
                <a:cubicBezTo>
                  <a:pt x="566" y="1660"/>
                  <a:pt x="566" y="1660"/>
                  <a:pt x="566" y="1660"/>
                </a:cubicBezTo>
                <a:close/>
                <a:moveTo>
                  <a:pt x="550" y="775"/>
                </a:moveTo>
                <a:cubicBezTo>
                  <a:pt x="558" y="783"/>
                  <a:pt x="558" y="783"/>
                  <a:pt x="558" y="783"/>
                </a:cubicBezTo>
                <a:cubicBezTo>
                  <a:pt x="550" y="767"/>
                  <a:pt x="550" y="775"/>
                  <a:pt x="550" y="775"/>
                </a:cubicBezTo>
                <a:close/>
                <a:moveTo>
                  <a:pt x="527" y="486"/>
                </a:moveTo>
                <a:cubicBezTo>
                  <a:pt x="527" y="486"/>
                  <a:pt x="527" y="486"/>
                  <a:pt x="527" y="486"/>
                </a:cubicBezTo>
                <a:cubicBezTo>
                  <a:pt x="527" y="494"/>
                  <a:pt x="527" y="494"/>
                  <a:pt x="527" y="494"/>
                </a:cubicBezTo>
                <a:cubicBezTo>
                  <a:pt x="527" y="494"/>
                  <a:pt x="527" y="501"/>
                  <a:pt x="527" y="501"/>
                </a:cubicBezTo>
                <a:cubicBezTo>
                  <a:pt x="534" y="501"/>
                  <a:pt x="534" y="501"/>
                  <a:pt x="534" y="501"/>
                </a:cubicBezTo>
                <a:cubicBezTo>
                  <a:pt x="534" y="494"/>
                  <a:pt x="534" y="494"/>
                  <a:pt x="534" y="494"/>
                </a:cubicBezTo>
                <a:cubicBezTo>
                  <a:pt x="534" y="494"/>
                  <a:pt x="534" y="494"/>
                  <a:pt x="534" y="494"/>
                </a:cubicBezTo>
                <a:lnTo>
                  <a:pt x="527" y="486"/>
                </a:lnTo>
                <a:close/>
                <a:moveTo>
                  <a:pt x="542" y="548"/>
                </a:moveTo>
                <a:cubicBezTo>
                  <a:pt x="542" y="541"/>
                  <a:pt x="542" y="541"/>
                  <a:pt x="542" y="541"/>
                </a:cubicBezTo>
                <a:cubicBezTo>
                  <a:pt x="534" y="533"/>
                  <a:pt x="534" y="533"/>
                  <a:pt x="534" y="533"/>
                </a:cubicBezTo>
                <a:lnTo>
                  <a:pt x="542" y="548"/>
                </a:lnTo>
                <a:close/>
                <a:moveTo>
                  <a:pt x="582" y="1448"/>
                </a:moveTo>
                <a:cubicBezTo>
                  <a:pt x="582" y="1448"/>
                  <a:pt x="582" y="1448"/>
                  <a:pt x="582" y="1441"/>
                </a:cubicBezTo>
                <a:cubicBezTo>
                  <a:pt x="582" y="1441"/>
                  <a:pt x="582" y="1441"/>
                  <a:pt x="582" y="1441"/>
                </a:cubicBezTo>
                <a:cubicBezTo>
                  <a:pt x="574" y="1425"/>
                  <a:pt x="574" y="1409"/>
                  <a:pt x="574" y="1417"/>
                </a:cubicBezTo>
                <a:cubicBezTo>
                  <a:pt x="574" y="1425"/>
                  <a:pt x="574" y="1425"/>
                  <a:pt x="574" y="1425"/>
                </a:cubicBezTo>
                <a:cubicBezTo>
                  <a:pt x="574" y="1425"/>
                  <a:pt x="574" y="1425"/>
                  <a:pt x="574" y="1425"/>
                </a:cubicBezTo>
                <a:cubicBezTo>
                  <a:pt x="574" y="1433"/>
                  <a:pt x="574" y="1433"/>
                  <a:pt x="574" y="1441"/>
                </a:cubicBezTo>
                <a:cubicBezTo>
                  <a:pt x="574" y="1441"/>
                  <a:pt x="574" y="1441"/>
                  <a:pt x="574" y="1448"/>
                </a:cubicBezTo>
                <a:cubicBezTo>
                  <a:pt x="574" y="1448"/>
                  <a:pt x="574" y="1456"/>
                  <a:pt x="574" y="1456"/>
                </a:cubicBezTo>
                <a:cubicBezTo>
                  <a:pt x="574" y="1464"/>
                  <a:pt x="574" y="1472"/>
                  <a:pt x="574" y="1480"/>
                </a:cubicBezTo>
                <a:cubicBezTo>
                  <a:pt x="574" y="1480"/>
                  <a:pt x="582" y="1456"/>
                  <a:pt x="582" y="1456"/>
                </a:cubicBezTo>
                <a:cubicBezTo>
                  <a:pt x="582" y="1448"/>
                  <a:pt x="582" y="1456"/>
                  <a:pt x="582" y="1448"/>
                </a:cubicBezTo>
                <a:close/>
                <a:moveTo>
                  <a:pt x="574" y="1519"/>
                </a:moveTo>
                <a:cubicBezTo>
                  <a:pt x="574" y="1519"/>
                  <a:pt x="574" y="1519"/>
                  <a:pt x="574" y="1519"/>
                </a:cubicBezTo>
                <a:cubicBezTo>
                  <a:pt x="574" y="1527"/>
                  <a:pt x="574" y="1527"/>
                  <a:pt x="574" y="1542"/>
                </a:cubicBezTo>
                <a:cubicBezTo>
                  <a:pt x="574" y="1542"/>
                  <a:pt x="574" y="1550"/>
                  <a:pt x="574" y="1558"/>
                </a:cubicBezTo>
                <a:cubicBezTo>
                  <a:pt x="574" y="1558"/>
                  <a:pt x="574" y="1558"/>
                  <a:pt x="574" y="1558"/>
                </a:cubicBezTo>
                <a:cubicBezTo>
                  <a:pt x="574" y="1558"/>
                  <a:pt x="574" y="1558"/>
                  <a:pt x="574" y="1566"/>
                </a:cubicBezTo>
                <a:cubicBezTo>
                  <a:pt x="574" y="1542"/>
                  <a:pt x="582" y="1527"/>
                  <a:pt x="582" y="1495"/>
                </a:cubicBezTo>
                <a:cubicBezTo>
                  <a:pt x="574" y="1495"/>
                  <a:pt x="574" y="1503"/>
                  <a:pt x="574" y="1511"/>
                </a:cubicBezTo>
                <a:cubicBezTo>
                  <a:pt x="574" y="1511"/>
                  <a:pt x="574" y="1511"/>
                  <a:pt x="574" y="1519"/>
                </a:cubicBezTo>
                <a:close/>
                <a:moveTo>
                  <a:pt x="566" y="1660"/>
                </a:moveTo>
                <a:cubicBezTo>
                  <a:pt x="566" y="1660"/>
                  <a:pt x="566" y="1668"/>
                  <a:pt x="566" y="1668"/>
                </a:cubicBezTo>
                <a:cubicBezTo>
                  <a:pt x="574" y="1660"/>
                  <a:pt x="566" y="1668"/>
                  <a:pt x="574" y="1652"/>
                </a:cubicBezTo>
                <a:cubicBezTo>
                  <a:pt x="574" y="1652"/>
                  <a:pt x="574" y="1652"/>
                  <a:pt x="566" y="1652"/>
                </a:cubicBezTo>
                <a:cubicBezTo>
                  <a:pt x="566" y="1652"/>
                  <a:pt x="566" y="1652"/>
                  <a:pt x="566" y="1660"/>
                </a:cubicBezTo>
                <a:cubicBezTo>
                  <a:pt x="566" y="1660"/>
                  <a:pt x="566" y="1660"/>
                  <a:pt x="566" y="1660"/>
                </a:cubicBezTo>
                <a:close/>
                <a:moveTo>
                  <a:pt x="582" y="1315"/>
                </a:moveTo>
                <a:cubicBezTo>
                  <a:pt x="582" y="1315"/>
                  <a:pt x="582" y="1315"/>
                  <a:pt x="582" y="1315"/>
                </a:cubicBezTo>
                <a:cubicBezTo>
                  <a:pt x="582" y="1308"/>
                  <a:pt x="582" y="1308"/>
                  <a:pt x="582" y="1308"/>
                </a:cubicBezTo>
                <a:cubicBezTo>
                  <a:pt x="582" y="1308"/>
                  <a:pt x="582" y="1308"/>
                  <a:pt x="582" y="1300"/>
                </a:cubicBezTo>
                <a:cubicBezTo>
                  <a:pt x="582" y="1300"/>
                  <a:pt x="582" y="1300"/>
                  <a:pt x="582" y="1300"/>
                </a:cubicBezTo>
                <a:cubicBezTo>
                  <a:pt x="582" y="1300"/>
                  <a:pt x="582" y="1292"/>
                  <a:pt x="582" y="1292"/>
                </a:cubicBezTo>
                <a:cubicBezTo>
                  <a:pt x="574" y="1292"/>
                  <a:pt x="574" y="1300"/>
                  <a:pt x="574" y="1292"/>
                </a:cubicBezTo>
                <a:cubicBezTo>
                  <a:pt x="574" y="1292"/>
                  <a:pt x="574" y="1292"/>
                  <a:pt x="574" y="1292"/>
                </a:cubicBezTo>
                <a:cubicBezTo>
                  <a:pt x="574" y="1292"/>
                  <a:pt x="574" y="1300"/>
                  <a:pt x="574" y="1300"/>
                </a:cubicBezTo>
                <a:cubicBezTo>
                  <a:pt x="574" y="1300"/>
                  <a:pt x="574" y="1300"/>
                  <a:pt x="574" y="1300"/>
                </a:cubicBezTo>
                <a:cubicBezTo>
                  <a:pt x="574" y="1331"/>
                  <a:pt x="574" y="1331"/>
                  <a:pt x="574" y="1331"/>
                </a:cubicBezTo>
                <a:cubicBezTo>
                  <a:pt x="574" y="1347"/>
                  <a:pt x="574" y="1347"/>
                  <a:pt x="574" y="1347"/>
                </a:cubicBezTo>
                <a:cubicBezTo>
                  <a:pt x="574" y="1339"/>
                  <a:pt x="582" y="1323"/>
                  <a:pt x="582" y="1315"/>
                </a:cubicBezTo>
                <a:cubicBezTo>
                  <a:pt x="582" y="1315"/>
                  <a:pt x="582" y="1315"/>
                  <a:pt x="582" y="1315"/>
                </a:cubicBezTo>
                <a:close/>
                <a:moveTo>
                  <a:pt x="574" y="1276"/>
                </a:moveTo>
                <a:cubicBezTo>
                  <a:pt x="582" y="1268"/>
                  <a:pt x="582" y="1268"/>
                  <a:pt x="582" y="1268"/>
                </a:cubicBezTo>
                <a:cubicBezTo>
                  <a:pt x="582" y="1268"/>
                  <a:pt x="582" y="1268"/>
                  <a:pt x="574" y="1229"/>
                </a:cubicBezTo>
                <a:cubicBezTo>
                  <a:pt x="574" y="1261"/>
                  <a:pt x="574" y="1261"/>
                  <a:pt x="574" y="1276"/>
                </a:cubicBezTo>
                <a:close/>
                <a:moveTo>
                  <a:pt x="582" y="1284"/>
                </a:moveTo>
                <a:cubicBezTo>
                  <a:pt x="582" y="1284"/>
                  <a:pt x="582" y="1284"/>
                  <a:pt x="582" y="1268"/>
                </a:cubicBezTo>
                <a:cubicBezTo>
                  <a:pt x="574" y="1276"/>
                  <a:pt x="574" y="1276"/>
                  <a:pt x="574" y="1276"/>
                </a:cubicBezTo>
                <a:lnTo>
                  <a:pt x="582" y="1284"/>
                </a:lnTo>
                <a:close/>
                <a:moveTo>
                  <a:pt x="558" y="752"/>
                </a:moveTo>
                <a:cubicBezTo>
                  <a:pt x="558" y="760"/>
                  <a:pt x="558" y="760"/>
                  <a:pt x="558" y="760"/>
                </a:cubicBezTo>
                <a:cubicBezTo>
                  <a:pt x="566" y="767"/>
                  <a:pt x="566" y="767"/>
                  <a:pt x="566" y="767"/>
                </a:cubicBezTo>
                <a:lnTo>
                  <a:pt x="558" y="752"/>
                </a:lnTo>
                <a:close/>
                <a:moveTo>
                  <a:pt x="574" y="1120"/>
                </a:moveTo>
                <a:cubicBezTo>
                  <a:pt x="574" y="1135"/>
                  <a:pt x="574" y="1135"/>
                  <a:pt x="574" y="1135"/>
                </a:cubicBezTo>
                <a:cubicBezTo>
                  <a:pt x="582" y="1128"/>
                  <a:pt x="582" y="1128"/>
                  <a:pt x="582" y="1128"/>
                </a:cubicBezTo>
                <a:lnTo>
                  <a:pt x="574" y="112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0279" tIns="55140" rIns="110279" bIns="55140" numCol="1" anchor="t" anchorCtr="0" compatLnSpc="1">
            <a:prstTxWarp prst="textNoShape">
              <a:avLst/>
            </a:prstTxWarp>
          </a:bodyPr>
          <a:lstStyle/>
          <a:p>
            <a:pPr defTabSz="895743"/>
            <a:endParaRPr lang="en-US" sz="1568" dirty="0">
              <a:solidFill>
                <a:prstClr val="black"/>
              </a:solidFill>
            </a:endParaRPr>
          </a:p>
        </p:txBody>
      </p:sp>
      <p:sp>
        <p:nvSpPr>
          <p:cNvPr id="176" name="RedArrow4"/>
          <p:cNvSpPr>
            <a:spLocks noEditPoints="1"/>
          </p:cNvSpPr>
          <p:nvPr/>
        </p:nvSpPr>
        <p:spPr bwMode="auto">
          <a:xfrm rot="14436191">
            <a:off x="4618437" y="1100430"/>
            <a:ext cx="537415" cy="3412907"/>
          </a:xfrm>
          <a:custGeom>
            <a:avLst/>
            <a:gdLst>
              <a:gd name="T0" fmla="*/ 495 w 848"/>
              <a:gd name="T1" fmla="*/ 2427 h 2528"/>
              <a:gd name="T2" fmla="*/ 244 w 848"/>
              <a:gd name="T3" fmla="*/ 2129 h 2528"/>
              <a:gd name="T4" fmla="*/ 118 w 848"/>
              <a:gd name="T5" fmla="*/ 1981 h 2528"/>
              <a:gd name="T6" fmla="*/ 275 w 848"/>
              <a:gd name="T7" fmla="*/ 2176 h 2528"/>
              <a:gd name="T8" fmla="*/ 550 w 848"/>
              <a:gd name="T9" fmla="*/ 2372 h 2528"/>
              <a:gd name="T10" fmla="*/ 55 w 848"/>
              <a:gd name="T11" fmla="*/ 1949 h 2528"/>
              <a:gd name="T12" fmla="*/ 142 w 848"/>
              <a:gd name="T13" fmla="*/ 2012 h 2528"/>
              <a:gd name="T14" fmla="*/ 212 w 848"/>
              <a:gd name="T15" fmla="*/ 2106 h 2528"/>
              <a:gd name="T16" fmla="*/ 32 w 848"/>
              <a:gd name="T17" fmla="*/ 1941 h 2528"/>
              <a:gd name="T18" fmla="*/ 841 w 848"/>
              <a:gd name="T19" fmla="*/ 1926 h 2528"/>
              <a:gd name="T20" fmla="*/ 118 w 848"/>
              <a:gd name="T21" fmla="*/ 2020 h 2528"/>
              <a:gd name="T22" fmla="*/ 723 w 848"/>
              <a:gd name="T23" fmla="*/ 2145 h 2528"/>
              <a:gd name="T24" fmla="*/ 660 w 848"/>
              <a:gd name="T25" fmla="*/ 2223 h 2528"/>
              <a:gd name="T26" fmla="*/ 519 w 848"/>
              <a:gd name="T27" fmla="*/ 2450 h 2528"/>
              <a:gd name="T28" fmla="*/ 495 w 848"/>
              <a:gd name="T29" fmla="*/ 2435 h 2528"/>
              <a:gd name="T30" fmla="*/ 322 w 848"/>
              <a:gd name="T31" fmla="*/ 2239 h 2528"/>
              <a:gd name="T32" fmla="*/ 440 w 848"/>
              <a:gd name="T33" fmla="*/ 2403 h 2528"/>
              <a:gd name="T34" fmla="*/ 55 w 848"/>
              <a:gd name="T35" fmla="*/ 1957 h 2528"/>
              <a:gd name="T36" fmla="*/ 63 w 848"/>
              <a:gd name="T37" fmla="*/ 1996 h 2528"/>
              <a:gd name="T38" fmla="*/ 150 w 848"/>
              <a:gd name="T39" fmla="*/ 2121 h 2528"/>
              <a:gd name="T40" fmla="*/ 197 w 848"/>
              <a:gd name="T41" fmla="*/ 2215 h 2528"/>
              <a:gd name="T42" fmla="*/ 409 w 848"/>
              <a:gd name="T43" fmla="*/ 2482 h 2528"/>
              <a:gd name="T44" fmla="*/ 668 w 848"/>
              <a:gd name="T45" fmla="*/ 2356 h 2528"/>
              <a:gd name="T46" fmla="*/ 778 w 848"/>
              <a:gd name="T47" fmla="*/ 2161 h 2528"/>
              <a:gd name="T48" fmla="*/ 134 w 848"/>
              <a:gd name="T49" fmla="*/ 2028 h 2528"/>
              <a:gd name="T50" fmla="*/ 511 w 848"/>
              <a:gd name="T51" fmla="*/ 2466 h 2528"/>
              <a:gd name="T52" fmla="*/ 495 w 848"/>
              <a:gd name="T53" fmla="*/ 2466 h 2528"/>
              <a:gd name="T54" fmla="*/ 527 w 848"/>
              <a:gd name="T55" fmla="*/ 2489 h 2528"/>
              <a:gd name="T56" fmla="*/ 691 w 848"/>
              <a:gd name="T57" fmla="*/ 2153 h 2528"/>
              <a:gd name="T58" fmla="*/ 95 w 848"/>
              <a:gd name="T59" fmla="*/ 2082 h 2528"/>
              <a:gd name="T60" fmla="*/ 746 w 848"/>
              <a:gd name="T61" fmla="*/ 2239 h 2528"/>
              <a:gd name="T62" fmla="*/ 597 w 848"/>
              <a:gd name="T63" fmla="*/ 2325 h 2528"/>
              <a:gd name="T64" fmla="*/ 48 w 848"/>
              <a:gd name="T65" fmla="*/ 1973 h 2528"/>
              <a:gd name="T66" fmla="*/ 95 w 848"/>
              <a:gd name="T67" fmla="*/ 2028 h 2528"/>
              <a:gd name="T68" fmla="*/ 87 w 848"/>
              <a:gd name="T69" fmla="*/ 2067 h 2528"/>
              <a:gd name="T70" fmla="*/ 283 w 848"/>
              <a:gd name="T71" fmla="*/ 2341 h 2528"/>
              <a:gd name="T72" fmla="*/ 346 w 848"/>
              <a:gd name="T73" fmla="*/ 2411 h 2528"/>
              <a:gd name="T74" fmla="*/ 260 w 848"/>
              <a:gd name="T75" fmla="*/ 2317 h 2528"/>
              <a:gd name="T76" fmla="*/ 464 w 848"/>
              <a:gd name="T77" fmla="*/ 1668 h 2528"/>
              <a:gd name="T78" fmla="*/ 472 w 848"/>
              <a:gd name="T79" fmla="*/ 1644 h 2528"/>
              <a:gd name="T80" fmla="*/ 456 w 848"/>
              <a:gd name="T81" fmla="*/ 642 h 2528"/>
              <a:gd name="T82" fmla="*/ 487 w 848"/>
              <a:gd name="T83" fmla="*/ 2121 h 2528"/>
              <a:gd name="T84" fmla="*/ 550 w 848"/>
              <a:gd name="T85" fmla="*/ 2090 h 2528"/>
              <a:gd name="T86" fmla="*/ 464 w 848"/>
              <a:gd name="T87" fmla="*/ 611 h 2528"/>
              <a:gd name="T88" fmla="*/ 456 w 848"/>
              <a:gd name="T89" fmla="*/ 454 h 2528"/>
              <a:gd name="T90" fmla="*/ 464 w 848"/>
              <a:gd name="T91" fmla="*/ 658 h 2528"/>
              <a:gd name="T92" fmla="*/ 472 w 848"/>
              <a:gd name="T93" fmla="*/ 1182 h 2528"/>
              <a:gd name="T94" fmla="*/ 479 w 848"/>
              <a:gd name="T95" fmla="*/ 1026 h 2528"/>
              <a:gd name="T96" fmla="*/ 479 w 848"/>
              <a:gd name="T97" fmla="*/ 1691 h 2528"/>
              <a:gd name="T98" fmla="*/ 503 w 848"/>
              <a:gd name="T99" fmla="*/ 2067 h 2528"/>
              <a:gd name="T100" fmla="*/ 519 w 848"/>
              <a:gd name="T101" fmla="*/ 2012 h 2528"/>
              <a:gd name="T102" fmla="*/ 542 w 848"/>
              <a:gd name="T103" fmla="*/ 2043 h 2528"/>
              <a:gd name="T104" fmla="*/ 582 w 848"/>
              <a:gd name="T105" fmla="*/ 1409 h 2528"/>
              <a:gd name="T106" fmla="*/ 534 w 848"/>
              <a:gd name="T107" fmla="*/ 564 h 2528"/>
              <a:gd name="T108" fmla="*/ 440 w 848"/>
              <a:gd name="T109" fmla="*/ 110 h 2528"/>
              <a:gd name="T110" fmla="*/ 424 w 848"/>
              <a:gd name="T111" fmla="*/ 165 h 2528"/>
              <a:gd name="T112" fmla="*/ 487 w 848"/>
              <a:gd name="T113" fmla="*/ 1934 h 2528"/>
              <a:gd name="T114" fmla="*/ 495 w 848"/>
              <a:gd name="T115" fmla="*/ 282 h 2528"/>
              <a:gd name="T116" fmla="*/ 440 w 848"/>
              <a:gd name="T117" fmla="*/ 400 h 2528"/>
              <a:gd name="T118" fmla="*/ 527 w 848"/>
              <a:gd name="T119" fmla="*/ 2153 h 2528"/>
              <a:gd name="T120" fmla="*/ 534 w 848"/>
              <a:gd name="T121" fmla="*/ 2121 h 2528"/>
              <a:gd name="T122" fmla="*/ 542 w 848"/>
              <a:gd name="T123" fmla="*/ 1957 h 2528"/>
              <a:gd name="T124" fmla="*/ 574 w 848"/>
              <a:gd name="T125" fmla="*/ 1652 h 2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48" h="2528">
                <a:moveTo>
                  <a:pt x="684" y="2161"/>
                </a:moveTo>
                <a:cubicBezTo>
                  <a:pt x="684" y="2153"/>
                  <a:pt x="684" y="2153"/>
                  <a:pt x="691" y="2153"/>
                </a:cubicBezTo>
                <a:cubicBezTo>
                  <a:pt x="691" y="2153"/>
                  <a:pt x="691" y="2153"/>
                  <a:pt x="676" y="2145"/>
                </a:cubicBezTo>
                <a:cubicBezTo>
                  <a:pt x="684" y="2145"/>
                  <a:pt x="684" y="2153"/>
                  <a:pt x="684" y="2161"/>
                </a:cubicBezTo>
                <a:close/>
                <a:moveTo>
                  <a:pt x="205" y="2075"/>
                </a:moveTo>
                <a:cubicBezTo>
                  <a:pt x="205" y="2067"/>
                  <a:pt x="205" y="2067"/>
                  <a:pt x="205" y="2067"/>
                </a:cubicBezTo>
                <a:cubicBezTo>
                  <a:pt x="212" y="2075"/>
                  <a:pt x="212" y="2082"/>
                  <a:pt x="212" y="2082"/>
                </a:cubicBezTo>
                <a:cubicBezTo>
                  <a:pt x="212" y="2075"/>
                  <a:pt x="212" y="2075"/>
                  <a:pt x="205" y="2075"/>
                </a:cubicBezTo>
                <a:close/>
                <a:moveTo>
                  <a:pt x="228" y="2098"/>
                </a:moveTo>
                <a:cubicBezTo>
                  <a:pt x="228" y="2098"/>
                  <a:pt x="228" y="2098"/>
                  <a:pt x="212" y="2082"/>
                </a:cubicBezTo>
                <a:cubicBezTo>
                  <a:pt x="212" y="2082"/>
                  <a:pt x="212" y="2082"/>
                  <a:pt x="212" y="2082"/>
                </a:cubicBezTo>
                <a:cubicBezTo>
                  <a:pt x="212" y="2082"/>
                  <a:pt x="220" y="2090"/>
                  <a:pt x="220" y="2090"/>
                </a:cubicBezTo>
                <a:cubicBezTo>
                  <a:pt x="220" y="2090"/>
                  <a:pt x="220" y="2090"/>
                  <a:pt x="228" y="2098"/>
                </a:cubicBezTo>
                <a:close/>
                <a:moveTo>
                  <a:pt x="644" y="2247"/>
                </a:moveTo>
                <a:cubicBezTo>
                  <a:pt x="636" y="2255"/>
                  <a:pt x="636" y="2255"/>
                  <a:pt x="636" y="2255"/>
                </a:cubicBezTo>
                <a:cubicBezTo>
                  <a:pt x="629" y="2255"/>
                  <a:pt x="629" y="2255"/>
                  <a:pt x="629" y="2255"/>
                </a:cubicBezTo>
                <a:cubicBezTo>
                  <a:pt x="629" y="2262"/>
                  <a:pt x="629" y="2270"/>
                  <a:pt x="621" y="2270"/>
                </a:cubicBezTo>
                <a:cubicBezTo>
                  <a:pt x="621" y="2278"/>
                  <a:pt x="621" y="2278"/>
                  <a:pt x="613" y="2286"/>
                </a:cubicBezTo>
                <a:cubicBezTo>
                  <a:pt x="613" y="2286"/>
                  <a:pt x="621" y="2286"/>
                  <a:pt x="621" y="2286"/>
                </a:cubicBezTo>
                <a:cubicBezTo>
                  <a:pt x="613" y="2286"/>
                  <a:pt x="613" y="2294"/>
                  <a:pt x="605" y="2301"/>
                </a:cubicBezTo>
                <a:cubicBezTo>
                  <a:pt x="613" y="2301"/>
                  <a:pt x="613" y="2301"/>
                  <a:pt x="613" y="2301"/>
                </a:cubicBezTo>
                <a:cubicBezTo>
                  <a:pt x="613" y="2301"/>
                  <a:pt x="613" y="2301"/>
                  <a:pt x="613" y="2301"/>
                </a:cubicBezTo>
                <a:cubicBezTo>
                  <a:pt x="613" y="2301"/>
                  <a:pt x="613" y="2301"/>
                  <a:pt x="613" y="2294"/>
                </a:cubicBezTo>
                <a:cubicBezTo>
                  <a:pt x="613" y="2286"/>
                  <a:pt x="613" y="2286"/>
                  <a:pt x="621" y="2286"/>
                </a:cubicBezTo>
                <a:cubicBezTo>
                  <a:pt x="621" y="2286"/>
                  <a:pt x="621" y="2286"/>
                  <a:pt x="621" y="2286"/>
                </a:cubicBezTo>
                <a:cubicBezTo>
                  <a:pt x="621" y="2286"/>
                  <a:pt x="621" y="2286"/>
                  <a:pt x="621" y="2278"/>
                </a:cubicBezTo>
                <a:cubicBezTo>
                  <a:pt x="621" y="2278"/>
                  <a:pt x="621" y="2278"/>
                  <a:pt x="629" y="2278"/>
                </a:cubicBezTo>
                <a:cubicBezTo>
                  <a:pt x="629" y="2278"/>
                  <a:pt x="629" y="2278"/>
                  <a:pt x="629" y="2278"/>
                </a:cubicBezTo>
                <a:cubicBezTo>
                  <a:pt x="629" y="2270"/>
                  <a:pt x="629" y="2270"/>
                  <a:pt x="629" y="2270"/>
                </a:cubicBezTo>
                <a:cubicBezTo>
                  <a:pt x="636" y="2255"/>
                  <a:pt x="636" y="2262"/>
                  <a:pt x="644" y="2255"/>
                </a:cubicBezTo>
                <a:cubicBezTo>
                  <a:pt x="644" y="2255"/>
                  <a:pt x="644" y="2255"/>
                  <a:pt x="636" y="2255"/>
                </a:cubicBezTo>
                <a:cubicBezTo>
                  <a:pt x="636" y="2255"/>
                  <a:pt x="636" y="2247"/>
                  <a:pt x="644" y="2247"/>
                </a:cubicBezTo>
                <a:cubicBezTo>
                  <a:pt x="644" y="2255"/>
                  <a:pt x="644" y="2255"/>
                  <a:pt x="644" y="2255"/>
                </a:cubicBezTo>
                <a:cubicBezTo>
                  <a:pt x="644" y="2247"/>
                  <a:pt x="644" y="2247"/>
                  <a:pt x="644" y="2247"/>
                </a:cubicBezTo>
                <a:cubicBezTo>
                  <a:pt x="644" y="2247"/>
                  <a:pt x="644" y="2247"/>
                  <a:pt x="644" y="2247"/>
                </a:cubicBezTo>
                <a:cubicBezTo>
                  <a:pt x="644" y="2239"/>
                  <a:pt x="652" y="2239"/>
                  <a:pt x="652" y="2223"/>
                </a:cubicBezTo>
                <a:cubicBezTo>
                  <a:pt x="652" y="2223"/>
                  <a:pt x="652" y="2223"/>
                  <a:pt x="644" y="2239"/>
                </a:cubicBezTo>
                <a:cubicBezTo>
                  <a:pt x="644" y="2239"/>
                  <a:pt x="644" y="2239"/>
                  <a:pt x="644" y="2247"/>
                </a:cubicBezTo>
                <a:close/>
                <a:moveTo>
                  <a:pt x="597" y="2317"/>
                </a:moveTo>
                <a:cubicBezTo>
                  <a:pt x="597" y="2317"/>
                  <a:pt x="597" y="2317"/>
                  <a:pt x="597" y="2317"/>
                </a:cubicBezTo>
                <a:cubicBezTo>
                  <a:pt x="597" y="2317"/>
                  <a:pt x="597" y="2309"/>
                  <a:pt x="605" y="2309"/>
                </a:cubicBezTo>
                <a:cubicBezTo>
                  <a:pt x="597" y="2317"/>
                  <a:pt x="597" y="2317"/>
                  <a:pt x="597" y="2317"/>
                </a:cubicBezTo>
                <a:close/>
                <a:moveTo>
                  <a:pt x="589" y="2333"/>
                </a:moveTo>
                <a:cubicBezTo>
                  <a:pt x="589" y="2325"/>
                  <a:pt x="589" y="2325"/>
                  <a:pt x="589" y="2325"/>
                </a:cubicBezTo>
                <a:cubicBezTo>
                  <a:pt x="589" y="2325"/>
                  <a:pt x="589" y="2325"/>
                  <a:pt x="597" y="2317"/>
                </a:cubicBezTo>
                <a:cubicBezTo>
                  <a:pt x="589" y="2325"/>
                  <a:pt x="589" y="2325"/>
                  <a:pt x="582" y="2333"/>
                </a:cubicBezTo>
                <a:cubicBezTo>
                  <a:pt x="582" y="2341"/>
                  <a:pt x="582" y="2333"/>
                  <a:pt x="589" y="2333"/>
                </a:cubicBezTo>
                <a:close/>
                <a:moveTo>
                  <a:pt x="652" y="2215"/>
                </a:moveTo>
                <a:cubicBezTo>
                  <a:pt x="644" y="2223"/>
                  <a:pt x="652" y="2223"/>
                  <a:pt x="652" y="2223"/>
                </a:cubicBezTo>
                <a:cubicBezTo>
                  <a:pt x="644" y="2231"/>
                  <a:pt x="644" y="2231"/>
                  <a:pt x="652" y="2223"/>
                </a:cubicBezTo>
                <a:cubicBezTo>
                  <a:pt x="652" y="2223"/>
                  <a:pt x="652" y="2223"/>
                  <a:pt x="660" y="2223"/>
                </a:cubicBezTo>
                <a:cubicBezTo>
                  <a:pt x="660" y="2223"/>
                  <a:pt x="660" y="2223"/>
                  <a:pt x="660" y="2223"/>
                </a:cubicBezTo>
                <a:cubicBezTo>
                  <a:pt x="660" y="2223"/>
                  <a:pt x="660" y="2223"/>
                  <a:pt x="652" y="2215"/>
                </a:cubicBezTo>
                <a:close/>
                <a:moveTo>
                  <a:pt x="495" y="2427"/>
                </a:moveTo>
                <a:cubicBezTo>
                  <a:pt x="495" y="2427"/>
                  <a:pt x="495" y="2435"/>
                  <a:pt x="495" y="2435"/>
                </a:cubicBezTo>
                <a:cubicBezTo>
                  <a:pt x="495" y="2435"/>
                  <a:pt x="495" y="2435"/>
                  <a:pt x="495" y="2435"/>
                </a:cubicBezTo>
                <a:cubicBezTo>
                  <a:pt x="495" y="2435"/>
                  <a:pt x="495" y="2435"/>
                  <a:pt x="495" y="2435"/>
                </a:cubicBezTo>
                <a:cubicBezTo>
                  <a:pt x="495" y="2435"/>
                  <a:pt x="495" y="2435"/>
                  <a:pt x="495" y="2427"/>
                </a:cubicBezTo>
                <a:cubicBezTo>
                  <a:pt x="495" y="2427"/>
                  <a:pt x="495" y="2427"/>
                  <a:pt x="495" y="2427"/>
                </a:cubicBezTo>
                <a:close/>
                <a:moveTo>
                  <a:pt x="495" y="2427"/>
                </a:moveTo>
                <a:cubicBezTo>
                  <a:pt x="495" y="2427"/>
                  <a:pt x="495" y="2427"/>
                  <a:pt x="495" y="2427"/>
                </a:cubicBezTo>
                <a:cubicBezTo>
                  <a:pt x="495" y="2427"/>
                  <a:pt x="495" y="2435"/>
                  <a:pt x="495" y="2435"/>
                </a:cubicBezTo>
                <a:cubicBezTo>
                  <a:pt x="495" y="2427"/>
                  <a:pt x="495" y="2427"/>
                  <a:pt x="495" y="2427"/>
                </a:cubicBezTo>
                <a:close/>
                <a:moveTo>
                  <a:pt x="644" y="2223"/>
                </a:moveTo>
                <a:cubicBezTo>
                  <a:pt x="644" y="2223"/>
                  <a:pt x="644" y="2223"/>
                  <a:pt x="652" y="2223"/>
                </a:cubicBezTo>
                <a:cubicBezTo>
                  <a:pt x="644" y="2223"/>
                  <a:pt x="652" y="2223"/>
                  <a:pt x="644" y="2223"/>
                </a:cubicBezTo>
                <a:cubicBezTo>
                  <a:pt x="644" y="2223"/>
                  <a:pt x="644" y="2223"/>
                  <a:pt x="644" y="2223"/>
                </a:cubicBezTo>
                <a:close/>
                <a:moveTo>
                  <a:pt x="660" y="2231"/>
                </a:moveTo>
                <a:cubicBezTo>
                  <a:pt x="660" y="2231"/>
                  <a:pt x="660" y="2231"/>
                  <a:pt x="660" y="2223"/>
                </a:cubicBezTo>
                <a:cubicBezTo>
                  <a:pt x="652" y="2231"/>
                  <a:pt x="652" y="2231"/>
                  <a:pt x="660" y="2231"/>
                </a:cubicBezTo>
                <a:close/>
                <a:moveTo>
                  <a:pt x="636" y="2262"/>
                </a:moveTo>
                <a:cubicBezTo>
                  <a:pt x="636" y="2262"/>
                  <a:pt x="636" y="2262"/>
                  <a:pt x="629" y="2270"/>
                </a:cubicBezTo>
                <a:cubicBezTo>
                  <a:pt x="629" y="2270"/>
                  <a:pt x="629" y="2270"/>
                  <a:pt x="629" y="2278"/>
                </a:cubicBezTo>
                <a:cubicBezTo>
                  <a:pt x="629" y="2270"/>
                  <a:pt x="629" y="2270"/>
                  <a:pt x="636" y="2262"/>
                </a:cubicBezTo>
                <a:close/>
                <a:moveTo>
                  <a:pt x="479" y="2411"/>
                </a:moveTo>
                <a:cubicBezTo>
                  <a:pt x="479" y="2419"/>
                  <a:pt x="479" y="2419"/>
                  <a:pt x="479" y="2419"/>
                </a:cubicBezTo>
                <a:cubicBezTo>
                  <a:pt x="487" y="2419"/>
                  <a:pt x="487" y="2419"/>
                  <a:pt x="487" y="2419"/>
                </a:cubicBezTo>
                <a:cubicBezTo>
                  <a:pt x="487" y="2419"/>
                  <a:pt x="487" y="2419"/>
                  <a:pt x="479" y="2411"/>
                </a:cubicBezTo>
                <a:close/>
                <a:moveTo>
                  <a:pt x="621" y="2286"/>
                </a:moveTo>
                <a:cubicBezTo>
                  <a:pt x="621" y="2286"/>
                  <a:pt x="613" y="2294"/>
                  <a:pt x="613" y="2301"/>
                </a:cubicBezTo>
                <a:cubicBezTo>
                  <a:pt x="621" y="2286"/>
                  <a:pt x="621" y="2286"/>
                  <a:pt x="621" y="2286"/>
                </a:cubicBezTo>
                <a:close/>
                <a:moveTo>
                  <a:pt x="511" y="2427"/>
                </a:moveTo>
                <a:cubicBezTo>
                  <a:pt x="503" y="2427"/>
                  <a:pt x="503" y="2427"/>
                  <a:pt x="503" y="2435"/>
                </a:cubicBezTo>
                <a:cubicBezTo>
                  <a:pt x="511" y="2427"/>
                  <a:pt x="511" y="2427"/>
                  <a:pt x="511" y="2427"/>
                </a:cubicBezTo>
                <a:close/>
                <a:moveTo>
                  <a:pt x="503" y="2435"/>
                </a:moveTo>
                <a:cubicBezTo>
                  <a:pt x="503" y="2435"/>
                  <a:pt x="503" y="2435"/>
                  <a:pt x="503" y="2435"/>
                </a:cubicBezTo>
                <a:cubicBezTo>
                  <a:pt x="503" y="2435"/>
                  <a:pt x="503" y="2435"/>
                  <a:pt x="503" y="2435"/>
                </a:cubicBezTo>
                <a:close/>
                <a:moveTo>
                  <a:pt x="252" y="2137"/>
                </a:moveTo>
                <a:cubicBezTo>
                  <a:pt x="252" y="2129"/>
                  <a:pt x="252" y="2129"/>
                  <a:pt x="252" y="2129"/>
                </a:cubicBezTo>
                <a:cubicBezTo>
                  <a:pt x="252" y="2129"/>
                  <a:pt x="252" y="2137"/>
                  <a:pt x="252" y="2137"/>
                </a:cubicBezTo>
                <a:cubicBezTo>
                  <a:pt x="252" y="2137"/>
                  <a:pt x="252" y="2137"/>
                  <a:pt x="252" y="2137"/>
                </a:cubicBezTo>
                <a:close/>
                <a:moveTo>
                  <a:pt x="244" y="2129"/>
                </a:moveTo>
                <a:cubicBezTo>
                  <a:pt x="244" y="2121"/>
                  <a:pt x="244" y="2121"/>
                  <a:pt x="244" y="2121"/>
                </a:cubicBezTo>
                <a:cubicBezTo>
                  <a:pt x="244" y="2121"/>
                  <a:pt x="244" y="2121"/>
                  <a:pt x="244" y="2121"/>
                </a:cubicBezTo>
                <a:cubicBezTo>
                  <a:pt x="244" y="2121"/>
                  <a:pt x="244" y="2121"/>
                  <a:pt x="244" y="2129"/>
                </a:cubicBezTo>
                <a:close/>
                <a:moveTo>
                  <a:pt x="283" y="2176"/>
                </a:moveTo>
                <a:cubicBezTo>
                  <a:pt x="283" y="2176"/>
                  <a:pt x="283" y="2176"/>
                  <a:pt x="275" y="2161"/>
                </a:cubicBezTo>
                <a:cubicBezTo>
                  <a:pt x="260" y="2145"/>
                  <a:pt x="260" y="2145"/>
                  <a:pt x="260" y="2145"/>
                </a:cubicBezTo>
                <a:cubicBezTo>
                  <a:pt x="260" y="2145"/>
                  <a:pt x="260" y="2145"/>
                  <a:pt x="267" y="2153"/>
                </a:cubicBezTo>
                <a:cubicBezTo>
                  <a:pt x="260" y="2145"/>
                  <a:pt x="260" y="2145"/>
                  <a:pt x="252" y="2137"/>
                </a:cubicBezTo>
                <a:cubicBezTo>
                  <a:pt x="252" y="2137"/>
                  <a:pt x="267" y="2161"/>
                  <a:pt x="275" y="2168"/>
                </a:cubicBezTo>
                <a:cubicBezTo>
                  <a:pt x="275" y="2168"/>
                  <a:pt x="275" y="2168"/>
                  <a:pt x="283" y="2176"/>
                </a:cubicBezTo>
                <a:close/>
                <a:moveTo>
                  <a:pt x="252" y="2129"/>
                </a:moveTo>
                <a:cubicBezTo>
                  <a:pt x="252" y="2129"/>
                  <a:pt x="252" y="2129"/>
                  <a:pt x="244" y="2129"/>
                </a:cubicBezTo>
                <a:cubicBezTo>
                  <a:pt x="244" y="2129"/>
                  <a:pt x="244" y="2129"/>
                  <a:pt x="244" y="2129"/>
                </a:cubicBezTo>
                <a:cubicBezTo>
                  <a:pt x="244" y="2129"/>
                  <a:pt x="244" y="2129"/>
                  <a:pt x="252" y="2129"/>
                </a:cubicBezTo>
                <a:close/>
                <a:moveTo>
                  <a:pt x="244" y="2129"/>
                </a:moveTo>
                <a:cubicBezTo>
                  <a:pt x="244" y="2129"/>
                  <a:pt x="244" y="2129"/>
                  <a:pt x="244" y="2129"/>
                </a:cubicBezTo>
                <a:cubicBezTo>
                  <a:pt x="244" y="2129"/>
                  <a:pt x="244" y="2129"/>
                  <a:pt x="244" y="2129"/>
                </a:cubicBezTo>
                <a:close/>
                <a:moveTo>
                  <a:pt x="236" y="2114"/>
                </a:moveTo>
                <a:cubicBezTo>
                  <a:pt x="236" y="2114"/>
                  <a:pt x="236" y="2114"/>
                  <a:pt x="236" y="2114"/>
                </a:cubicBezTo>
                <a:cubicBezTo>
                  <a:pt x="244" y="2121"/>
                  <a:pt x="236" y="2121"/>
                  <a:pt x="244" y="2121"/>
                </a:cubicBezTo>
                <a:cubicBezTo>
                  <a:pt x="244" y="2121"/>
                  <a:pt x="244" y="2121"/>
                  <a:pt x="236" y="2121"/>
                </a:cubicBezTo>
                <a:cubicBezTo>
                  <a:pt x="236" y="2121"/>
                  <a:pt x="236" y="2121"/>
                  <a:pt x="244" y="2121"/>
                </a:cubicBezTo>
                <a:cubicBezTo>
                  <a:pt x="236" y="2114"/>
                  <a:pt x="228" y="2106"/>
                  <a:pt x="228" y="2106"/>
                </a:cubicBezTo>
                <a:cubicBezTo>
                  <a:pt x="228" y="2106"/>
                  <a:pt x="236" y="2114"/>
                  <a:pt x="236" y="2114"/>
                </a:cubicBezTo>
                <a:close/>
                <a:moveTo>
                  <a:pt x="346" y="2255"/>
                </a:moveTo>
                <a:cubicBezTo>
                  <a:pt x="346" y="2255"/>
                  <a:pt x="346" y="2255"/>
                  <a:pt x="346" y="2255"/>
                </a:cubicBezTo>
                <a:cubicBezTo>
                  <a:pt x="346" y="2255"/>
                  <a:pt x="346" y="2255"/>
                  <a:pt x="346" y="2262"/>
                </a:cubicBezTo>
                <a:cubicBezTo>
                  <a:pt x="346" y="2255"/>
                  <a:pt x="346" y="2255"/>
                  <a:pt x="346" y="2255"/>
                </a:cubicBezTo>
                <a:close/>
                <a:moveTo>
                  <a:pt x="354" y="2262"/>
                </a:moveTo>
                <a:cubicBezTo>
                  <a:pt x="354" y="2262"/>
                  <a:pt x="354" y="2262"/>
                  <a:pt x="346" y="2262"/>
                </a:cubicBezTo>
                <a:cubicBezTo>
                  <a:pt x="346" y="2262"/>
                  <a:pt x="354" y="2262"/>
                  <a:pt x="354" y="2262"/>
                </a:cubicBezTo>
                <a:cubicBezTo>
                  <a:pt x="354" y="2262"/>
                  <a:pt x="354" y="2262"/>
                  <a:pt x="354" y="2262"/>
                </a:cubicBezTo>
                <a:close/>
                <a:moveTo>
                  <a:pt x="354" y="2262"/>
                </a:moveTo>
                <a:cubicBezTo>
                  <a:pt x="354" y="2262"/>
                  <a:pt x="354" y="2262"/>
                  <a:pt x="354" y="2262"/>
                </a:cubicBezTo>
                <a:cubicBezTo>
                  <a:pt x="346" y="2262"/>
                  <a:pt x="346" y="2262"/>
                  <a:pt x="346" y="2262"/>
                </a:cubicBezTo>
                <a:cubicBezTo>
                  <a:pt x="354" y="2262"/>
                  <a:pt x="354" y="2262"/>
                  <a:pt x="354" y="2262"/>
                </a:cubicBezTo>
                <a:close/>
                <a:moveTo>
                  <a:pt x="354" y="2262"/>
                </a:moveTo>
                <a:cubicBezTo>
                  <a:pt x="354" y="2262"/>
                  <a:pt x="354" y="2262"/>
                  <a:pt x="354" y="2270"/>
                </a:cubicBezTo>
                <a:cubicBezTo>
                  <a:pt x="354" y="2262"/>
                  <a:pt x="354" y="2262"/>
                  <a:pt x="354" y="2262"/>
                </a:cubicBezTo>
                <a:close/>
                <a:moveTo>
                  <a:pt x="424" y="2348"/>
                </a:moveTo>
                <a:cubicBezTo>
                  <a:pt x="424" y="2341"/>
                  <a:pt x="424" y="2348"/>
                  <a:pt x="424" y="2341"/>
                </a:cubicBezTo>
                <a:cubicBezTo>
                  <a:pt x="424" y="2341"/>
                  <a:pt x="424" y="2341"/>
                  <a:pt x="417" y="2341"/>
                </a:cubicBezTo>
                <a:cubicBezTo>
                  <a:pt x="424" y="2341"/>
                  <a:pt x="424" y="2356"/>
                  <a:pt x="424" y="2348"/>
                </a:cubicBezTo>
                <a:cubicBezTo>
                  <a:pt x="424" y="2348"/>
                  <a:pt x="424" y="2348"/>
                  <a:pt x="424" y="2356"/>
                </a:cubicBezTo>
                <a:cubicBezTo>
                  <a:pt x="424" y="2356"/>
                  <a:pt x="424" y="2356"/>
                  <a:pt x="440" y="2364"/>
                </a:cubicBezTo>
                <a:cubicBezTo>
                  <a:pt x="440" y="2356"/>
                  <a:pt x="440" y="2356"/>
                  <a:pt x="432" y="2356"/>
                </a:cubicBezTo>
                <a:cubicBezTo>
                  <a:pt x="432" y="2356"/>
                  <a:pt x="432" y="2356"/>
                  <a:pt x="424" y="2348"/>
                </a:cubicBezTo>
                <a:close/>
                <a:moveTo>
                  <a:pt x="676" y="2161"/>
                </a:moveTo>
                <a:cubicBezTo>
                  <a:pt x="676" y="2161"/>
                  <a:pt x="676" y="2161"/>
                  <a:pt x="668" y="2168"/>
                </a:cubicBezTo>
                <a:cubicBezTo>
                  <a:pt x="676" y="2168"/>
                  <a:pt x="668" y="2168"/>
                  <a:pt x="676" y="2161"/>
                </a:cubicBezTo>
                <a:close/>
                <a:moveTo>
                  <a:pt x="236" y="2114"/>
                </a:moveTo>
                <a:cubicBezTo>
                  <a:pt x="244" y="2114"/>
                  <a:pt x="236" y="2114"/>
                  <a:pt x="244" y="2114"/>
                </a:cubicBezTo>
                <a:cubicBezTo>
                  <a:pt x="236" y="2114"/>
                  <a:pt x="236" y="2114"/>
                  <a:pt x="236" y="2114"/>
                </a:cubicBezTo>
                <a:close/>
                <a:moveTo>
                  <a:pt x="244" y="2114"/>
                </a:moveTo>
                <a:cubicBezTo>
                  <a:pt x="244" y="2114"/>
                  <a:pt x="244" y="2114"/>
                  <a:pt x="244" y="2114"/>
                </a:cubicBezTo>
                <a:cubicBezTo>
                  <a:pt x="244" y="2114"/>
                  <a:pt x="244" y="2114"/>
                  <a:pt x="244" y="2114"/>
                </a:cubicBezTo>
                <a:close/>
                <a:moveTo>
                  <a:pt x="228" y="2129"/>
                </a:moveTo>
                <a:cubicBezTo>
                  <a:pt x="228" y="2121"/>
                  <a:pt x="228" y="2121"/>
                  <a:pt x="228" y="2121"/>
                </a:cubicBezTo>
                <a:cubicBezTo>
                  <a:pt x="228" y="2121"/>
                  <a:pt x="228" y="2121"/>
                  <a:pt x="228" y="2121"/>
                </a:cubicBezTo>
                <a:cubicBezTo>
                  <a:pt x="228" y="2121"/>
                  <a:pt x="228" y="2121"/>
                  <a:pt x="228" y="2121"/>
                </a:cubicBezTo>
                <a:cubicBezTo>
                  <a:pt x="228" y="2121"/>
                  <a:pt x="228" y="2121"/>
                  <a:pt x="228" y="2129"/>
                </a:cubicBezTo>
                <a:close/>
                <a:moveTo>
                  <a:pt x="401" y="2333"/>
                </a:moveTo>
                <a:cubicBezTo>
                  <a:pt x="401" y="2341"/>
                  <a:pt x="401" y="2341"/>
                  <a:pt x="409" y="2341"/>
                </a:cubicBezTo>
                <a:cubicBezTo>
                  <a:pt x="401" y="2333"/>
                  <a:pt x="401" y="2333"/>
                  <a:pt x="401" y="2333"/>
                </a:cubicBezTo>
                <a:close/>
                <a:moveTo>
                  <a:pt x="79" y="1949"/>
                </a:moveTo>
                <a:cubicBezTo>
                  <a:pt x="79" y="1949"/>
                  <a:pt x="79" y="1949"/>
                  <a:pt x="71" y="1941"/>
                </a:cubicBezTo>
                <a:cubicBezTo>
                  <a:pt x="71" y="1941"/>
                  <a:pt x="71" y="1941"/>
                  <a:pt x="71" y="1941"/>
                </a:cubicBezTo>
                <a:cubicBezTo>
                  <a:pt x="71" y="1941"/>
                  <a:pt x="71" y="1941"/>
                  <a:pt x="71" y="1941"/>
                </a:cubicBezTo>
                <a:cubicBezTo>
                  <a:pt x="71" y="1941"/>
                  <a:pt x="71" y="1941"/>
                  <a:pt x="79" y="1949"/>
                </a:cubicBezTo>
                <a:close/>
                <a:moveTo>
                  <a:pt x="118" y="1981"/>
                </a:moveTo>
                <a:cubicBezTo>
                  <a:pt x="118" y="1981"/>
                  <a:pt x="126" y="1981"/>
                  <a:pt x="126" y="1981"/>
                </a:cubicBezTo>
                <a:cubicBezTo>
                  <a:pt x="126" y="1981"/>
                  <a:pt x="126" y="1988"/>
                  <a:pt x="126" y="1988"/>
                </a:cubicBezTo>
                <a:cubicBezTo>
                  <a:pt x="118" y="1981"/>
                  <a:pt x="118" y="1981"/>
                  <a:pt x="118" y="1981"/>
                </a:cubicBezTo>
                <a:close/>
                <a:moveTo>
                  <a:pt x="134" y="1988"/>
                </a:moveTo>
                <a:cubicBezTo>
                  <a:pt x="126" y="1988"/>
                  <a:pt x="126" y="1988"/>
                  <a:pt x="126" y="1981"/>
                </a:cubicBezTo>
                <a:cubicBezTo>
                  <a:pt x="126" y="1981"/>
                  <a:pt x="118" y="1981"/>
                  <a:pt x="110" y="1973"/>
                </a:cubicBezTo>
                <a:cubicBezTo>
                  <a:pt x="118" y="1981"/>
                  <a:pt x="126" y="1988"/>
                  <a:pt x="134" y="1988"/>
                </a:cubicBezTo>
                <a:close/>
                <a:moveTo>
                  <a:pt x="134" y="1996"/>
                </a:moveTo>
                <a:cubicBezTo>
                  <a:pt x="134" y="1996"/>
                  <a:pt x="134" y="1996"/>
                  <a:pt x="134" y="1996"/>
                </a:cubicBezTo>
                <a:cubicBezTo>
                  <a:pt x="142" y="1996"/>
                  <a:pt x="142" y="2004"/>
                  <a:pt x="142" y="2004"/>
                </a:cubicBezTo>
                <a:cubicBezTo>
                  <a:pt x="142" y="2004"/>
                  <a:pt x="142" y="2004"/>
                  <a:pt x="134" y="1996"/>
                </a:cubicBezTo>
                <a:close/>
                <a:moveTo>
                  <a:pt x="134" y="1996"/>
                </a:moveTo>
                <a:cubicBezTo>
                  <a:pt x="134" y="1996"/>
                  <a:pt x="134" y="1996"/>
                  <a:pt x="134" y="1988"/>
                </a:cubicBezTo>
                <a:cubicBezTo>
                  <a:pt x="134" y="1996"/>
                  <a:pt x="134" y="1996"/>
                  <a:pt x="134" y="1996"/>
                </a:cubicBezTo>
                <a:cubicBezTo>
                  <a:pt x="134" y="1996"/>
                  <a:pt x="134" y="1996"/>
                  <a:pt x="134" y="1996"/>
                </a:cubicBezTo>
                <a:close/>
                <a:moveTo>
                  <a:pt x="236" y="2114"/>
                </a:moveTo>
                <a:cubicBezTo>
                  <a:pt x="236" y="2114"/>
                  <a:pt x="236" y="2114"/>
                  <a:pt x="228" y="2114"/>
                </a:cubicBezTo>
                <a:cubicBezTo>
                  <a:pt x="236" y="2114"/>
                  <a:pt x="236" y="2114"/>
                  <a:pt x="236" y="2114"/>
                </a:cubicBezTo>
                <a:close/>
                <a:moveTo>
                  <a:pt x="409" y="2333"/>
                </a:moveTo>
                <a:cubicBezTo>
                  <a:pt x="401" y="2317"/>
                  <a:pt x="401" y="2317"/>
                  <a:pt x="401" y="2317"/>
                </a:cubicBezTo>
                <a:cubicBezTo>
                  <a:pt x="401" y="2325"/>
                  <a:pt x="409" y="2325"/>
                  <a:pt x="409" y="2341"/>
                </a:cubicBezTo>
                <a:cubicBezTo>
                  <a:pt x="409" y="2341"/>
                  <a:pt x="409" y="2341"/>
                  <a:pt x="409" y="2333"/>
                </a:cubicBezTo>
                <a:close/>
                <a:moveTo>
                  <a:pt x="550" y="2372"/>
                </a:moveTo>
                <a:cubicBezTo>
                  <a:pt x="550" y="2372"/>
                  <a:pt x="550" y="2372"/>
                  <a:pt x="550" y="2372"/>
                </a:cubicBezTo>
                <a:cubicBezTo>
                  <a:pt x="550" y="2372"/>
                  <a:pt x="550" y="2372"/>
                  <a:pt x="550" y="2372"/>
                </a:cubicBezTo>
                <a:cubicBezTo>
                  <a:pt x="550" y="2372"/>
                  <a:pt x="550" y="2372"/>
                  <a:pt x="550" y="2372"/>
                </a:cubicBezTo>
                <a:close/>
                <a:moveTo>
                  <a:pt x="582" y="2325"/>
                </a:moveTo>
                <a:cubicBezTo>
                  <a:pt x="574" y="2341"/>
                  <a:pt x="566" y="2341"/>
                  <a:pt x="566" y="2348"/>
                </a:cubicBezTo>
                <a:cubicBezTo>
                  <a:pt x="566" y="2356"/>
                  <a:pt x="566" y="2356"/>
                  <a:pt x="566" y="2356"/>
                </a:cubicBezTo>
                <a:cubicBezTo>
                  <a:pt x="574" y="2341"/>
                  <a:pt x="582" y="2333"/>
                  <a:pt x="582" y="2333"/>
                </a:cubicBezTo>
                <a:cubicBezTo>
                  <a:pt x="582" y="2325"/>
                  <a:pt x="582" y="2325"/>
                  <a:pt x="582" y="2325"/>
                </a:cubicBezTo>
                <a:close/>
                <a:moveTo>
                  <a:pt x="582" y="2333"/>
                </a:moveTo>
                <a:cubicBezTo>
                  <a:pt x="582" y="2333"/>
                  <a:pt x="582" y="2341"/>
                  <a:pt x="574" y="2341"/>
                </a:cubicBezTo>
                <a:cubicBezTo>
                  <a:pt x="582" y="2341"/>
                  <a:pt x="582" y="2341"/>
                  <a:pt x="582" y="2341"/>
                </a:cubicBezTo>
                <a:cubicBezTo>
                  <a:pt x="582" y="2333"/>
                  <a:pt x="582" y="2333"/>
                  <a:pt x="582" y="2333"/>
                </a:cubicBezTo>
                <a:close/>
                <a:moveTo>
                  <a:pt x="566" y="2348"/>
                </a:moveTo>
                <a:cubicBezTo>
                  <a:pt x="558" y="2356"/>
                  <a:pt x="566" y="2356"/>
                  <a:pt x="566" y="2364"/>
                </a:cubicBezTo>
                <a:cubicBezTo>
                  <a:pt x="566" y="2364"/>
                  <a:pt x="566" y="2364"/>
                  <a:pt x="566" y="2356"/>
                </a:cubicBezTo>
                <a:cubicBezTo>
                  <a:pt x="566" y="2356"/>
                  <a:pt x="566" y="2356"/>
                  <a:pt x="566" y="2348"/>
                </a:cubicBezTo>
                <a:close/>
                <a:moveTo>
                  <a:pt x="574" y="2341"/>
                </a:moveTo>
                <a:cubicBezTo>
                  <a:pt x="574" y="2341"/>
                  <a:pt x="574" y="2348"/>
                  <a:pt x="566" y="2348"/>
                </a:cubicBezTo>
                <a:cubicBezTo>
                  <a:pt x="574" y="2348"/>
                  <a:pt x="574" y="2341"/>
                  <a:pt x="574" y="2341"/>
                </a:cubicBezTo>
                <a:close/>
                <a:moveTo>
                  <a:pt x="644" y="2215"/>
                </a:moveTo>
                <a:cubicBezTo>
                  <a:pt x="644" y="2223"/>
                  <a:pt x="644" y="2223"/>
                  <a:pt x="644" y="2223"/>
                </a:cubicBezTo>
                <a:cubicBezTo>
                  <a:pt x="644" y="2215"/>
                  <a:pt x="652" y="2208"/>
                  <a:pt x="644" y="2215"/>
                </a:cubicBezTo>
                <a:close/>
                <a:moveTo>
                  <a:pt x="291" y="2184"/>
                </a:moveTo>
                <a:cubicBezTo>
                  <a:pt x="291" y="2192"/>
                  <a:pt x="291" y="2192"/>
                  <a:pt x="291" y="2192"/>
                </a:cubicBezTo>
                <a:cubicBezTo>
                  <a:pt x="291" y="2192"/>
                  <a:pt x="291" y="2192"/>
                  <a:pt x="283" y="2176"/>
                </a:cubicBezTo>
                <a:cubicBezTo>
                  <a:pt x="291" y="2192"/>
                  <a:pt x="291" y="2192"/>
                  <a:pt x="291" y="2200"/>
                </a:cubicBezTo>
                <a:cubicBezTo>
                  <a:pt x="299" y="2200"/>
                  <a:pt x="299" y="2200"/>
                  <a:pt x="299" y="2200"/>
                </a:cubicBezTo>
                <a:cubicBezTo>
                  <a:pt x="291" y="2192"/>
                  <a:pt x="291" y="2192"/>
                  <a:pt x="291" y="2184"/>
                </a:cubicBezTo>
                <a:close/>
                <a:moveTo>
                  <a:pt x="275" y="2176"/>
                </a:moveTo>
                <a:cubicBezTo>
                  <a:pt x="275" y="2176"/>
                  <a:pt x="283" y="2176"/>
                  <a:pt x="283" y="2176"/>
                </a:cubicBezTo>
                <a:cubicBezTo>
                  <a:pt x="283" y="2176"/>
                  <a:pt x="283" y="2176"/>
                  <a:pt x="275" y="2176"/>
                </a:cubicBezTo>
                <a:close/>
                <a:moveTo>
                  <a:pt x="558" y="2356"/>
                </a:moveTo>
                <a:cubicBezTo>
                  <a:pt x="558" y="2356"/>
                  <a:pt x="558" y="2356"/>
                  <a:pt x="550" y="2364"/>
                </a:cubicBezTo>
                <a:cubicBezTo>
                  <a:pt x="550" y="2372"/>
                  <a:pt x="550" y="2364"/>
                  <a:pt x="558" y="2356"/>
                </a:cubicBezTo>
                <a:close/>
                <a:moveTo>
                  <a:pt x="676" y="2161"/>
                </a:moveTo>
                <a:cubicBezTo>
                  <a:pt x="676" y="2161"/>
                  <a:pt x="676" y="2161"/>
                  <a:pt x="676" y="2161"/>
                </a:cubicBezTo>
                <a:cubicBezTo>
                  <a:pt x="676" y="2161"/>
                  <a:pt x="676" y="2161"/>
                  <a:pt x="676" y="2161"/>
                </a:cubicBezTo>
                <a:cubicBezTo>
                  <a:pt x="676" y="2161"/>
                  <a:pt x="676" y="2161"/>
                  <a:pt x="676" y="2161"/>
                </a:cubicBezTo>
                <a:close/>
                <a:moveTo>
                  <a:pt x="244" y="2129"/>
                </a:moveTo>
                <a:cubicBezTo>
                  <a:pt x="244" y="2129"/>
                  <a:pt x="244" y="2129"/>
                  <a:pt x="260" y="2145"/>
                </a:cubicBezTo>
                <a:cubicBezTo>
                  <a:pt x="260" y="2145"/>
                  <a:pt x="260" y="2145"/>
                  <a:pt x="260" y="2153"/>
                </a:cubicBezTo>
                <a:cubicBezTo>
                  <a:pt x="260" y="2153"/>
                  <a:pt x="260" y="2153"/>
                  <a:pt x="260" y="2145"/>
                </a:cubicBezTo>
                <a:cubicBezTo>
                  <a:pt x="252" y="2137"/>
                  <a:pt x="252" y="2137"/>
                  <a:pt x="244" y="2129"/>
                </a:cubicBezTo>
                <a:cubicBezTo>
                  <a:pt x="244" y="2129"/>
                  <a:pt x="244" y="2129"/>
                  <a:pt x="236" y="2121"/>
                </a:cubicBezTo>
                <a:cubicBezTo>
                  <a:pt x="236" y="2121"/>
                  <a:pt x="244" y="2121"/>
                  <a:pt x="244" y="2129"/>
                </a:cubicBezTo>
                <a:close/>
                <a:moveTo>
                  <a:pt x="597" y="2309"/>
                </a:moveTo>
                <a:cubicBezTo>
                  <a:pt x="597" y="2309"/>
                  <a:pt x="597" y="2301"/>
                  <a:pt x="597" y="2301"/>
                </a:cubicBezTo>
                <a:cubicBezTo>
                  <a:pt x="597" y="2301"/>
                  <a:pt x="597" y="2301"/>
                  <a:pt x="597" y="2301"/>
                </a:cubicBezTo>
                <a:cubicBezTo>
                  <a:pt x="597" y="2309"/>
                  <a:pt x="597" y="2309"/>
                  <a:pt x="597" y="2309"/>
                </a:cubicBezTo>
                <a:close/>
                <a:moveTo>
                  <a:pt x="613" y="2286"/>
                </a:moveTo>
                <a:cubicBezTo>
                  <a:pt x="613" y="2286"/>
                  <a:pt x="613" y="2286"/>
                  <a:pt x="613" y="2270"/>
                </a:cubicBezTo>
                <a:cubicBezTo>
                  <a:pt x="613" y="2270"/>
                  <a:pt x="613" y="2270"/>
                  <a:pt x="613" y="2278"/>
                </a:cubicBezTo>
                <a:cubicBezTo>
                  <a:pt x="613" y="2286"/>
                  <a:pt x="605" y="2294"/>
                  <a:pt x="597" y="2301"/>
                </a:cubicBezTo>
                <a:cubicBezTo>
                  <a:pt x="597" y="2301"/>
                  <a:pt x="597" y="2301"/>
                  <a:pt x="597" y="2301"/>
                </a:cubicBezTo>
                <a:cubicBezTo>
                  <a:pt x="597" y="2301"/>
                  <a:pt x="597" y="2301"/>
                  <a:pt x="597" y="2301"/>
                </a:cubicBezTo>
                <a:cubicBezTo>
                  <a:pt x="597" y="2301"/>
                  <a:pt x="597" y="2301"/>
                  <a:pt x="597" y="2301"/>
                </a:cubicBezTo>
                <a:cubicBezTo>
                  <a:pt x="597" y="2301"/>
                  <a:pt x="597" y="2301"/>
                  <a:pt x="597" y="2301"/>
                </a:cubicBezTo>
                <a:cubicBezTo>
                  <a:pt x="605" y="2294"/>
                  <a:pt x="605" y="2294"/>
                  <a:pt x="613" y="2294"/>
                </a:cubicBezTo>
                <a:cubicBezTo>
                  <a:pt x="613" y="2294"/>
                  <a:pt x="613" y="2294"/>
                  <a:pt x="613" y="2286"/>
                </a:cubicBezTo>
                <a:cubicBezTo>
                  <a:pt x="613" y="2286"/>
                  <a:pt x="613" y="2286"/>
                  <a:pt x="613" y="2286"/>
                </a:cubicBezTo>
                <a:cubicBezTo>
                  <a:pt x="613" y="2286"/>
                  <a:pt x="613" y="2286"/>
                  <a:pt x="613" y="2286"/>
                </a:cubicBezTo>
                <a:cubicBezTo>
                  <a:pt x="613" y="2286"/>
                  <a:pt x="613" y="2286"/>
                  <a:pt x="613" y="2286"/>
                </a:cubicBezTo>
                <a:close/>
                <a:moveTo>
                  <a:pt x="613" y="2286"/>
                </a:moveTo>
                <a:cubicBezTo>
                  <a:pt x="613" y="2286"/>
                  <a:pt x="613" y="2286"/>
                  <a:pt x="613" y="2286"/>
                </a:cubicBezTo>
                <a:cubicBezTo>
                  <a:pt x="613" y="2278"/>
                  <a:pt x="613" y="2278"/>
                  <a:pt x="613" y="2270"/>
                </a:cubicBezTo>
                <a:cubicBezTo>
                  <a:pt x="613" y="2278"/>
                  <a:pt x="613" y="2278"/>
                  <a:pt x="613" y="2286"/>
                </a:cubicBezTo>
                <a:close/>
                <a:moveTo>
                  <a:pt x="629" y="2247"/>
                </a:moveTo>
                <a:cubicBezTo>
                  <a:pt x="636" y="2247"/>
                  <a:pt x="636" y="2239"/>
                  <a:pt x="636" y="2239"/>
                </a:cubicBezTo>
                <a:cubicBezTo>
                  <a:pt x="636" y="2239"/>
                  <a:pt x="636" y="2239"/>
                  <a:pt x="636" y="2239"/>
                </a:cubicBezTo>
                <a:cubicBezTo>
                  <a:pt x="636" y="2239"/>
                  <a:pt x="636" y="2239"/>
                  <a:pt x="636" y="2231"/>
                </a:cubicBezTo>
                <a:cubicBezTo>
                  <a:pt x="636" y="2231"/>
                  <a:pt x="636" y="2231"/>
                  <a:pt x="636" y="2231"/>
                </a:cubicBezTo>
                <a:cubicBezTo>
                  <a:pt x="636" y="2231"/>
                  <a:pt x="636" y="2231"/>
                  <a:pt x="644" y="2231"/>
                </a:cubicBezTo>
                <a:cubicBezTo>
                  <a:pt x="644" y="2231"/>
                  <a:pt x="644" y="2231"/>
                  <a:pt x="644" y="2223"/>
                </a:cubicBezTo>
                <a:cubicBezTo>
                  <a:pt x="644" y="2223"/>
                  <a:pt x="644" y="2223"/>
                  <a:pt x="629" y="2239"/>
                </a:cubicBezTo>
                <a:cubicBezTo>
                  <a:pt x="629" y="2247"/>
                  <a:pt x="629" y="2247"/>
                  <a:pt x="629" y="2247"/>
                </a:cubicBezTo>
                <a:cubicBezTo>
                  <a:pt x="629" y="2247"/>
                  <a:pt x="629" y="2247"/>
                  <a:pt x="629" y="2255"/>
                </a:cubicBezTo>
                <a:cubicBezTo>
                  <a:pt x="629" y="2255"/>
                  <a:pt x="629" y="2255"/>
                  <a:pt x="629" y="2239"/>
                </a:cubicBezTo>
                <a:cubicBezTo>
                  <a:pt x="629" y="2239"/>
                  <a:pt x="629" y="2239"/>
                  <a:pt x="629" y="2247"/>
                </a:cubicBezTo>
                <a:close/>
                <a:moveTo>
                  <a:pt x="550" y="2372"/>
                </a:moveTo>
                <a:cubicBezTo>
                  <a:pt x="550" y="2372"/>
                  <a:pt x="550" y="2372"/>
                  <a:pt x="550" y="2372"/>
                </a:cubicBezTo>
                <a:cubicBezTo>
                  <a:pt x="550" y="2372"/>
                  <a:pt x="550" y="2372"/>
                  <a:pt x="550" y="2372"/>
                </a:cubicBezTo>
                <a:cubicBezTo>
                  <a:pt x="550" y="2372"/>
                  <a:pt x="550" y="2372"/>
                  <a:pt x="550" y="2372"/>
                </a:cubicBezTo>
                <a:cubicBezTo>
                  <a:pt x="550" y="2372"/>
                  <a:pt x="550" y="2372"/>
                  <a:pt x="542" y="2372"/>
                </a:cubicBezTo>
                <a:cubicBezTo>
                  <a:pt x="542" y="2388"/>
                  <a:pt x="542" y="2388"/>
                  <a:pt x="542" y="2388"/>
                </a:cubicBezTo>
                <a:cubicBezTo>
                  <a:pt x="550" y="2372"/>
                  <a:pt x="550" y="2380"/>
                  <a:pt x="550" y="2372"/>
                </a:cubicBezTo>
                <a:close/>
                <a:moveTo>
                  <a:pt x="597" y="2309"/>
                </a:moveTo>
                <a:cubicBezTo>
                  <a:pt x="597" y="2309"/>
                  <a:pt x="597" y="2309"/>
                  <a:pt x="597" y="2309"/>
                </a:cubicBezTo>
                <a:cubicBezTo>
                  <a:pt x="597" y="2309"/>
                  <a:pt x="597" y="2309"/>
                  <a:pt x="597" y="2309"/>
                </a:cubicBezTo>
                <a:cubicBezTo>
                  <a:pt x="597" y="2309"/>
                  <a:pt x="597" y="2309"/>
                  <a:pt x="597" y="2309"/>
                </a:cubicBezTo>
                <a:close/>
                <a:moveTo>
                  <a:pt x="589" y="2317"/>
                </a:moveTo>
                <a:cubicBezTo>
                  <a:pt x="589" y="2317"/>
                  <a:pt x="589" y="2317"/>
                  <a:pt x="597" y="2309"/>
                </a:cubicBezTo>
                <a:cubicBezTo>
                  <a:pt x="589" y="2309"/>
                  <a:pt x="589" y="2309"/>
                  <a:pt x="589" y="2309"/>
                </a:cubicBezTo>
                <a:cubicBezTo>
                  <a:pt x="589" y="2309"/>
                  <a:pt x="589" y="2309"/>
                  <a:pt x="589" y="2317"/>
                </a:cubicBezTo>
                <a:close/>
                <a:moveTo>
                  <a:pt x="40" y="1926"/>
                </a:moveTo>
                <a:cubicBezTo>
                  <a:pt x="32" y="1926"/>
                  <a:pt x="32" y="1926"/>
                  <a:pt x="32" y="1926"/>
                </a:cubicBezTo>
                <a:cubicBezTo>
                  <a:pt x="40" y="1934"/>
                  <a:pt x="40" y="1934"/>
                  <a:pt x="48" y="1941"/>
                </a:cubicBezTo>
                <a:cubicBezTo>
                  <a:pt x="48" y="1941"/>
                  <a:pt x="48" y="1941"/>
                  <a:pt x="40" y="1926"/>
                </a:cubicBezTo>
                <a:close/>
                <a:moveTo>
                  <a:pt x="87" y="1957"/>
                </a:moveTo>
                <a:cubicBezTo>
                  <a:pt x="87" y="1965"/>
                  <a:pt x="87" y="1965"/>
                  <a:pt x="87" y="1965"/>
                </a:cubicBezTo>
                <a:cubicBezTo>
                  <a:pt x="95" y="1965"/>
                  <a:pt x="95" y="1965"/>
                  <a:pt x="95" y="1965"/>
                </a:cubicBezTo>
                <a:lnTo>
                  <a:pt x="87" y="1957"/>
                </a:lnTo>
                <a:close/>
                <a:moveTo>
                  <a:pt x="644" y="2223"/>
                </a:moveTo>
                <a:cubicBezTo>
                  <a:pt x="652" y="2215"/>
                  <a:pt x="652" y="2215"/>
                  <a:pt x="652" y="2215"/>
                </a:cubicBezTo>
                <a:cubicBezTo>
                  <a:pt x="644" y="2215"/>
                  <a:pt x="652" y="2215"/>
                  <a:pt x="644" y="2223"/>
                </a:cubicBezTo>
                <a:close/>
                <a:moveTo>
                  <a:pt x="220" y="2098"/>
                </a:moveTo>
                <a:cubicBezTo>
                  <a:pt x="220" y="2098"/>
                  <a:pt x="220" y="2098"/>
                  <a:pt x="220" y="2106"/>
                </a:cubicBezTo>
                <a:cubicBezTo>
                  <a:pt x="220" y="2098"/>
                  <a:pt x="220" y="2098"/>
                  <a:pt x="220" y="2098"/>
                </a:cubicBezTo>
                <a:close/>
                <a:moveTo>
                  <a:pt x="644" y="2231"/>
                </a:moveTo>
                <a:cubicBezTo>
                  <a:pt x="644" y="2231"/>
                  <a:pt x="636" y="2231"/>
                  <a:pt x="636" y="2231"/>
                </a:cubicBezTo>
                <a:cubicBezTo>
                  <a:pt x="644" y="2231"/>
                  <a:pt x="644" y="2231"/>
                  <a:pt x="644" y="2231"/>
                </a:cubicBezTo>
                <a:close/>
                <a:moveTo>
                  <a:pt x="71" y="1957"/>
                </a:moveTo>
                <a:cubicBezTo>
                  <a:pt x="71" y="1957"/>
                  <a:pt x="79" y="1957"/>
                  <a:pt x="79" y="1957"/>
                </a:cubicBezTo>
                <a:cubicBezTo>
                  <a:pt x="71" y="1957"/>
                  <a:pt x="71" y="1957"/>
                  <a:pt x="71" y="1957"/>
                </a:cubicBezTo>
                <a:close/>
                <a:moveTo>
                  <a:pt x="79" y="1957"/>
                </a:moveTo>
                <a:cubicBezTo>
                  <a:pt x="79" y="1957"/>
                  <a:pt x="79" y="1957"/>
                  <a:pt x="87" y="1957"/>
                </a:cubicBezTo>
                <a:cubicBezTo>
                  <a:pt x="87" y="1957"/>
                  <a:pt x="79" y="1957"/>
                  <a:pt x="79" y="1957"/>
                </a:cubicBezTo>
                <a:close/>
                <a:moveTo>
                  <a:pt x="212" y="2106"/>
                </a:moveTo>
                <a:cubicBezTo>
                  <a:pt x="212" y="2090"/>
                  <a:pt x="212" y="2090"/>
                  <a:pt x="212" y="2090"/>
                </a:cubicBezTo>
                <a:cubicBezTo>
                  <a:pt x="212" y="2098"/>
                  <a:pt x="212" y="2098"/>
                  <a:pt x="212" y="2098"/>
                </a:cubicBezTo>
                <a:cubicBezTo>
                  <a:pt x="212" y="2098"/>
                  <a:pt x="212" y="2098"/>
                  <a:pt x="212" y="2098"/>
                </a:cubicBezTo>
                <a:cubicBezTo>
                  <a:pt x="212" y="2098"/>
                  <a:pt x="212" y="2098"/>
                  <a:pt x="212" y="2098"/>
                </a:cubicBezTo>
                <a:cubicBezTo>
                  <a:pt x="212" y="2098"/>
                  <a:pt x="212" y="2098"/>
                  <a:pt x="212" y="2098"/>
                </a:cubicBezTo>
                <a:cubicBezTo>
                  <a:pt x="212" y="2098"/>
                  <a:pt x="212" y="2098"/>
                  <a:pt x="212" y="2106"/>
                </a:cubicBezTo>
                <a:close/>
                <a:moveTo>
                  <a:pt x="63" y="1949"/>
                </a:moveTo>
                <a:cubicBezTo>
                  <a:pt x="71" y="1957"/>
                  <a:pt x="71" y="1957"/>
                  <a:pt x="71" y="1957"/>
                </a:cubicBezTo>
                <a:cubicBezTo>
                  <a:pt x="71" y="1949"/>
                  <a:pt x="71" y="1949"/>
                  <a:pt x="63" y="1949"/>
                </a:cubicBezTo>
                <a:close/>
                <a:moveTo>
                  <a:pt x="48" y="1941"/>
                </a:moveTo>
                <a:cubicBezTo>
                  <a:pt x="48" y="1941"/>
                  <a:pt x="48" y="1941"/>
                  <a:pt x="55" y="1941"/>
                </a:cubicBezTo>
                <a:cubicBezTo>
                  <a:pt x="55" y="1941"/>
                  <a:pt x="55" y="1941"/>
                  <a:pt x="48" y="1941"/>
                </a:cubicBezTo>
                <a:close/>
                <a:moveTo>
                  <a:pt x="260" y="2161"/>
                </a:moveTo>
                <a:cubicBezTo>
                  <a:pt x="260" y="2153"/>
                  <a:pt x="260" y="2153"/>
                  <a:pt x="252" y="2145"/>
                </a:cubicBezTo>
                <a:lnTo>
                  <a:pt x="260" y="2161"/>
                </a:lnTo>
                <a:close/>
                <a:moveTo>
                  <a:pt x="40" y="1934"/>
                </a:moveTo>
                <a:cubicBezTo>
                  <a:pt x="40" y="1934"/>
                  <a:pt x="40" y="1934"/>
                  <a:pt x="32" y="1934"/>
                </a:cubicBezTo>
                <a:cubicBezTo>
                  <a:pt x="40" y="1934"/>
                  <a:pt x="40" y="1934"/>
                  <a:pt x="40" y="1941"/>
                </a:cubicBezTo>
                <a:cubicBezTo>
                  <a:pt x="40" y="1941"/>
                  <a:pt x="40" y="1941"/>
                  <a:pt x="40" y="1941"/>
                </a:cubicBezTo>
                <a:cubicBezTo>
                  <a:pt x="40" y="1941"/>
                  <a:pt x="48" y="1941"/>
                  <a:pt x="55" y="1949"/>
                </a:cubicBezTo>
                <a:cubicBezTo>
                  <a:pt x="55" y="1949"/>
                  <a:pt x="55" y="1949"/>
                  <a:pt x="55" y="1949"/>
                </a:cubicBezTo>
                <a:cubicBezTo>
                  <a:pt x="55" y="1949"/>
                  <a:pt x="55" y="1949"/>
                  <a:pt x="55" y="1949"/>
                </a:cubicBezTo>
                <a:cubicBezTo>
                  <a:pt x="71" y="1957"/>
                  <a:pt x="55" y="1949"/>
                  <a:pt x="71" y="1957"/>
                </a:cubicBezTo>
                <a:cubicBezTo>
                  <a:pt x="71" y="1957"/>
                  <a:pt x="71" y="1957"/>
                  <a:pt x="87" y="1965"/>
                </a:cubicBezTo>
                <a:cubicBezTo>
                  <a:pt x="87" y="1973"/>
                  <a:pt x="87" y="1973"/>
                  <a:pt x="87" y="1965"/>
                </a:cubicBezTo>
                <a:cubicBezTo>
                  <a:pt x="87" y="1965"/>
                  <a:pt x="87" y="1965"/>
                  <a:pt x="71" y="1957"/>
                </a:cubicBezTo>
                <a:cubicBezTo>
                  <a:pt x="63" y="1949"/>
                  <a:pt x="63" y="1949"/>
                  <a:pt x="55" y="1941"/>
                </a:cubicBezTo>
                <a:cubicBezTo>
                  <a:pt x="55" y="1941"/>
                  <a:pt x="55" y="1941"/>
                  <a:pt x="63" y="1949"/>
                </a:cubicBezTo>
                <a:cubicBezTo>
                  <a:pt x="63" y="1949"/>
                  <a:pt x="63" y="1949"/>
                  <a:pt x="63" y="1949"/>
                </a:cubicBezTo>
                <a:cubicBezTo>
                  <a:pt x="63" y="1949"/>
                  <a:pt x="55" y="1941"/>
                  <a:pt x="55" y="1941"/>
                </a:cubicBezTo>
                <a:cubicBezTo>
                  <a:pt x="55" y="1941"/>
                  <a:pt x="55" y="1941"/>
                  <a:pt x="55" y="1941"/>
                </a:cubicBezTo>
                <a:cubicBezTo>
                  <a:pt x="48" y="1941"/>
                  <a:pt x="40" y="1941"/>
                  <a:pt x="40" y="1934"/>
                </a:cubicBezTo>
                <a:close/>
                <a:moveTo>
                  <a:pt x="644" y="2239"/>
                </a:moveTo>
                <a:cubicBezTo>
                  <a:pt x="644" y="2239"/>
                  <a:pt x="644" y="2239"/>
                  <a:pt x="644" y="2239"/>
                </a:cubicBezTo>
                <a:cubicBezTo>
                  <a:pt x="644" y="2239"/>
                  <a:pt x="644" y="2239"/>
                  <a:pt x="644" y="2239"/>
                </a:cubicBezTo>
                <a:cubicBezTo>
                  <a:pt x="644" y="2231"/>
                  <a:pt x="644" y="2231"/>
                  <a:pt x="644" y="2231"/>
                </a:cubicBezTo>
                <a:cubicBezTo>
                  <a:pt x="644" y="2231"/>
                  <a:pt x="644" y="2231"/>
                  <a:pt x="644" y="2239"/>
                </a:cubicBezTo>
                <a:close/>
                <a:moveTo>
                  <a:pt x="197" y="2075"/>
                </a:moveTo>
                <a:cubicBezTo>
                  <a:pt x="197" y="2082"/>
                  <a:pt x="197" y="2075"/>
                  <a:pt x="197" y="2082"/>
                </a:cubicBezTo>
                <a:cubicBezTo>
                  <a:pt x="197" y="2082"/>
                  <a:pt x="197" y="2082"/>
                  <a:pt x="197" y="2075"/>
                </a:cubicBezTo>
                <a:close/>
                <a:moveTo>
                  <a:pt x="32" y="1926"/>
                </a:moveTo>
                <a:cubicBezTo>
                  <a:pt x="24" y="1926"/>
                  <a:pt x="24" y="1926"/>
                  <a:pt x="24" y="1926"/>
                </a:cubicBezTo>
                <a:cubicBezTo>
                  <a:pt x="32" y="1934"/>
                  <a:pt x="32" y="1934"/>
                  <a:pt x="32" y="1934"/>
                </a:cubicBezTo>
                <a:cubicBezTo>
                  <a:pt x="32" y="1934"/>
                  <a:pt x="32" y="1934"/>
                  <a:pt x="32" y="1926"/>
                </a:cubicBezTo>
                <a:close/>
                <a:moveTo>
                  <a:pt x="32" y="1934"/>
                </a:moveTo>
                <a:cubicBezTo>
                  <a:pt x="32" y="1934"/>
                  <a:pt x="32" y="1934"/>
                  <a:pt x="32" y="1934"/>
                </a:cubicBezTo>
                <a:cubicBezTo>
                  <a:pt x="32" y="1934"/>
                  <a:pt x="32" y="1934"/>
                  <a:pt x="32" y="1934"/>
                </a:cubicBezTo>
                <a:cubicBezTo>
                  <a:pt x="32" y="1934"/>
                  <a:pt x="32" y="1934"/>
                  <a:pt x="32" y="1934"/>
                </a:cubicBezTo>
                <a:close/>
                <a:moveTo>
                  <a:pt x="189" y="2075"/>
                </a:moveTo>
                <a:cubicBezTo>
                  <a:pt x="189" y="2067"/>
                  <a:pt x="189" y="2067"/>
                  <a:pt x="189" y="2067"/>
                </a:cubicBezTo>
                <a:cubicBezTo>
                  <a:pt x="189" y="2059"/>
                  <a:pt x="189" y="2059"/>
                  <a:pt x="189" y="2059"/>
                </a:cubicBezTo>
                <a:cubicBezTo>
                  <a:pt x="181" y="2059"/>
                  <a:pt x="181" y="2059"/>
                  <a:pt x="181" y="2059"/>
                </a:cubicBezTo>
                <a:cubicBezTo>
                  <a:pt x="189" y="2067"/>
                  <a:pt x="189" y="2067"/>
                  <a:pt x="189" y="2067"/>
                </a:cubicBezTo>
                <a:cubicBezTo>
                  <a:pt x="189" y="2067"/>
                  <a:pt x="189" y="2075"/>
                  <a:pt x="197" y="2082"/>
                </a:cubicBezTo>
                <a:cubicBezTo>
                  <a:pt x="197" y="2082"/>
                  <a:pt x="197" y="2082"/>
                  <a:pt x="197" y="2082"/>
                </a:cubicBezTo>
                <a:cubicBezTo>
                  <a:pt x="197" y="2082"/>
                  <a:pt x="197" y="2075"/>
                  <a:pt x="189" y="2075"/>
                </a:cubicBezTo>
                <a:close/>
                <a:moveTo>
                  <a:pt x="205" y="2082"/>
                </a:moveTo>
                <a:cubicBezTo>
                  <a:pt x="197" y="2082"/>
                  <a:pt x="197" y="2082"/>
                  <a:pt x="197" y="2082"/>
                </a:cubicBezTo>
                <a:cubicBezTo>
                  <a:pt x="197" y="2082"/>
                  <a:pt x="205" y="2082"/>
                  <a:pt x="205" y="2082"/>
                </a:cubicBezTo>
                <a:cubicBezTo>
                  <a:pt x="205" y="2082"/>
                  <a:pt x="205" y="2082"/>
                  <a:pt x="205" y="2082"/>
                </a:cubicBezTo>
                <a:close/>
                <a:moveTo>
                  <a:pt x="205" y="2090"/>
                </a:moveTo>
                <a:cubicBezTo>
                  <a:pt x="205" y="2090"/>
                  <a:pt x="205" y="2090"/>
                  <a:pt x="205" y="2090"/>
                </a:cubicBezTo>
                <a:cubicBezTo>
                  <a:pt x="205" y="2090"/>
                  <a:pt x="212" y="2098"/>
                  <a:pt x="212" y="2098"/>
                </a:cubicBezTo>
                <a:cubicBezTo>
                  <a:pt x="212" y="2098"/>
                  <a:pt x="212" y="2098"/>
                  <a:pt x="205" y="2090"/>
                </a:cubicBezTo>
                <a:cubicBezTo>
                  <a:pt x="205" y="2090"/>
                  <a:pt x="205" y="2090"/>
                  <a:pt x="205" y="2090"/>
                </a:cubicBezTo>
                <a:cubicBezTo>
                  <a:pt x="205" y="2090"/>
                  <a:pt x="205" y="2090"/>
                  <a:pt x="205" y="2090"/>
                </a:cubicBezTo>
                <a:cubicBezTo>
                  <a:pt x="205" y="2090"/>
                  <a:pt x="205" y="2090"/>
                  <a:pt x="205" y="2090"/>
                </a:cubicBezTo>
                <a:cubicBezTo>
                  <a:pt x="205" y="2090"/>
                  <a:pt x="205" y="2082"/>
                  <a:pt x="205" y="2082"/>
                </a:cubicBezTo>
                <a:cubicBezTo>
                  <a:pt x="205" y="2082"/>
                  <a:pt x="205" y="2090"/>
                  <a:pt x="205" y="2090"/>
                </a:cubicBezTo>
                <a:cubicBezTo>
                  <a:pt x="205" y="2090"/>
                  <a:pt x="205" y="2090"/>
                  <a:pt x="205" y="2090"/>
                </a:cubicBezTo>
                <a:close/>
                <a:moveTo>
                  <a:pt x="142" y="2012"/>
                </a:moveTo>
                <a:cubicBezTo>
                  <a:pt x="142" y="2012"/>
                  <a:pt x="142" y="2012"/>
                  <a:pt x="142" y="2012"/>
                </a:cubicBezTo>
                <a:cubicBezTo>
                  <a:pt x="150" y="2020"/>
                  <a:pt x="158" y="2035"/>
                  <a:pt x="158" y="2035"/>
                </a:cubicBezTo>
                <a:cubicBezTo>
                  <a:pt x="158" y="2035"/>
                  <a:pt x="165" y="2035"/>
                  <a:pt x="165" y="2035"/>
                </a:cubicBezTo>
                <a:cubicBezTo>
                  <a:pt x="158" y="2028"/>
                  <a:pt x="150" y="2028"/>
                  <a:pt x="142" y="2020"/>
                </a:cubicBezTo>
                <a:cubicBezTo>
                  <a:pt x="142" y="2012"/>
                  <a:pt x="142" y="2012"/>
                  <a:pt x="142" y="2012"/>
                </a:cubicBezTo>
                <a:close/>
                <a:moveTo>
                  <a:pt x="71" y="1957"/>
                </a:moveTo>
                <a:cubicBezTo>
                  <a:pt x="71" y="1957"/>
                  <a:pt x="71" y="1957"/>
                  <a:pt x="71" y="1957"/>
                </a:cubicBezTo>
                <a:cubicBezTo>
                  <a:pt x="71" y="1957"/>
                  <a:pt x="71" y="1957"/>
                  <a:pt x="71" y="1957"/>
                </a:cubicBezTo>
                <a:close/>
                <a:moveTo>
                  <a:pt x="126" y="1996"/>
                </a:moveTo>
                <a:cubicBezTo>
                  <a:pt x="118" y="1996"/>
                  <a:pt x="110" y="1988"/>
                  <a:pt x="103" y="1981"/>
                </a:cubicBezTo>
                <a:cubicBezTo>
                  <a:pt x="110" y="1981"/>
                  <a:pt x="110" y="1988"/>
                  <a:pt x="118" y="1988"/>
                </a:cubicBezTo>
                <a:cubicBezTo>
                  <a:pt x="118" y="1988"/>
                  <a:pt x="118" y="1988"/>
                  <a:pt x="118" y="1988"/>
                </a:cubicBezTo>
                <a:cubicBezTo>
                  <a:pt x="110" y="1988"/>
                  <a:pt x="110" y="1981"/>
                  <a:pt x="103" y="1973"/>
                </a:cubicBezTo>
                <a:cubicBezTo>
                  <a:pt x="95" y="1973"/>
                  <a:pt x="95" y="1973"/>
                  <a:pt x="95" y="1973"/>
                </a:cubicBezTo>
                <a:cubicBezTo>
                  <a:pt x="95" y="1973"/>
                  <a:pt x="95" y="1973"/>
                  <a:pt x="95" y="1973"/>
                </a:cubicBezTo>
                <a:cubicBezTo>
                  <a:pt x="95" y="1973"/>
                  <a:pt x="95" y="1973"/>
                  <a:pt x="95" y="1973"/>
                </a:cubicBezTo>
                <a:cubicBezTo>
                  <a:pt x="87" y="1973"/>
                  <a:pt x="87" y="1973"/>
                  <a:pt x="87" y="1973"/>
                </a:cubicBezTo>
                <a:cubicBezTo>
                  <a:pt x="79" y="1957"/>
                  <a:pt x="87" y="1965"/>
                  <a:pt x="71" y="1957"/>
                </a:cubicBezTo>
                <a:cubicBezTo>
                  <a:pt x="95" y="1973"/>
                  <a:pt x="126" y="1996"/>
                  <a:pt x="142" y="2012"/>
                </a:cubicBezTo>
                <a:cubicBezTo>
                  <a:pt x="134" y="2012"/>
                  <a:pt x="134" y="2012"/>
                  <a:pt x="134" y="2012"/>
                </a:cubicBezTo>
                <a:cubicBezTo>
                  <a:pt x="126" y="1996"/>
                  <a:pt x="126" y="2004"/>
                  <a:pt x="126" y="1996"/>
                </a:cubicBezTo>
                <a:close/>
                <a:moveTo>
                  <a:pt x="676" y="2176"/>
                </a:moveTo>
                <a:cubicBezTo>
                  <a:pt x="676" y="2176"/>
                  <a:pt x="676" y="2176"/>
                  <a:pt x="676" y="2176"/>
                </a:cubicBezTo>
                <a:cubicBezTo>
                  <a:pt x="676" y="2176"/>
                  <a:pt x="684" y="2168"/>
                  <a:pt x="684" y="2168"/>
                </a:cubicBezTo>
                <a:cubicBezTo>
                  <a:pt x="684" y="2168"/>
                  <a:pt x="684" y="2168"/>
                  <a:pt x="684" y="2161"/>
                </a:cubicBezTo>
                <a:cubicBezTo>
                  <a:pt x="684" y="2161"/>
                  <a:pt x="684" y="2161"/>
                  <a:pt x="676" y="2176"/>
                </a:cubicBezTo>
                <a:close/>
                <a:moveTo>
                  <a:pt x="165" y="2043"/>
                </a:moveTo>
                <a:cubicBezTo>
                  <a:pt x="165" y="2051"/>
                  <a:pt x="165" y="2051"/>
                  <a:pt x="165" y="2051"/>
                </a:cubicBezTo>
                <a:cubicBezTo>
                  <a:pt x="165" y="2043"/>
                  <a:pt x="165" y="2043"/>
                  <a:pt x="165" y="2043"/>
                </a:cubicBezTo>
                <a:close/>
                <a:moveTo>
                  <a:pt x="165" y="2043"/>
                </a:moveTo>
                <a:cubicBezTo>
                  <a:pt x="165" y="2043"/>
                  <a:pt x="165" y="2035"/>
                  <a:pt x="165" y="2035"/>
                </a:cubicBezTo>
                <a:cubicBezTo>
                  <a:pt x="165" y="2043"/>
                  <a:pt x="165" y="2043"/>
                  <a:pt x="165" y="2043"/>
                </a:cubicBezTo>
                <a:close/>
                <a:moveTo>
                  <a:pt x="173" y="2051"/>
                </a:moveTo>
                <a:cubicBezTo>
                  <a:pt x="173" y="2051"/>
                  <a:pt x="173" y="2051"/>
                  <a:pt x="173" y="2051"/>
                </a:cubicBezTo>
                <a:cubicBezTo>
                  <a:pt x="173" y="2043"/>
                  <a:pt x="165" y="2043"/>
                  <a:pt x="165" y="2035"/>
                </a:cubicBezTo>
                <a:cubicBezTo>
                  <a:pt x="158" y="2035"/>
                  <a:pt x="165" y="2035"/>
                  <a:pt x="158" y="2028"/>
                </a:cubicBezTo>
                <a:cubicBezTo>
                  <a:pt x="158" y="2028"/>
                  <a:pt x="158" y="2028"/>
                  <a:pt x="165" y="2043"/>
                </a:cubicBezTo>
                <a:cubicBezTo>
                  <a:pt x="165" y="2043"/>
                  <a:pt x="165" y="2043"/>
                  <a:pt x="165" y="2043"/>
                </a:cubicBezTo>
                <a:cubicBezTo>
                  <a:pt x="165" y="2043"/>
                  <a:pt x="165" y="2043"/>
                  <a:pt x="173" y="2043"/>
                </a:cubicBezTo>
                <a:cubicBezTo>
                  <a:pt x="173" y="2051"/>
                  <a:pt x="173" y="2051"/>
                  <a:pt x="173" y="2051"/>
                </a:cubicBezTo>
                <a:cubicBezTo>
                  <a:pt x="165" y="2051"/>
                  <a:pt x="165" y="2051"/>
                  <a:pt x="165" y="2051"/>
                </a:cubicBezTo>
                <a:cubicBezTo>
                  <a:pt x="165" y="2051"/>
                  <a:pt x="165" y="2051"/>
                  <a:pt x="173" y="2051"/>
                </a:cubicBezTo>
                <a:cubicBezTo>
                  <a:pt x="173" y="2051"/>
                  <a:pt x="173" y="2051"/>
                  <a:pt x="173" y="2059"/>
                </a:cubicBezTo>
                <a:cubicBezTo>
                  <a:pt x="173" y="2059"/>
                  <a:pt x="173" y="2059"/>
                  <a:pt x="181" y="2059"/>
                </a:cubicBezTo>
                <a:cubicBezTo>
                  <a:pt x="181" y="2059"/>
                  <a:pt x="181" y="2059"/>
                  <a:pt x="181" y="2059"/>
                </a:cubicBezTo>
                <a:cubicBezTo>
                  <a:pt x="181" y="2059"/>
                  <a:pt x="181" y="2059"/>
                  <a:pt x="173" y="2051"/>
                </a:cubicBezTo>
                <a:cubicBezTo>
                  <a:pt x="173" y="2051"/>
                  <a:pt x="173" y="2051"/>
                  <a:pt x="173" y="2051"/>
                </a:cubicBezTo>
                <a:close/>
                <a:moveTo>
                  <a:pt x="668" y="2208"/>
                </a:moveTo>
                <a:cubicBezTo>
                  <a:pt x="668" y="2208"/>
                  <a:pt x="668" y="2208"/>
                  <a:pt x="668" y="2200"/>
                </a:cubicBezTo>
                <a:cubicBezTo>
                  <a:pt x="668" y="2200"/>
                  <a:pt x="668" y="2200"/>
                  <a:pt x="660" y="2208"/>
                </a:cubicBezTo>
                <a:cubicBezTo>
                  <a:pt x="660" y="2208"/>
                  <a:pt x="660" y="2208"/>
                  <a:pt x="668" y="2208"/>
                </a:cubicBezTo>
                <a:close/>
                <a:moveTo>
                  <a:pt x="212" y="2106"/>
                </a:moveTo>
                <a:cubicBezTo>
                  <a:pt x="212" y="2106"/>
                  <a:pt x="212" y="2106"/>
                  <a:pt x="220" y="2114"/>
                </a:cubicBezTo>
                <a:cubicBezTo>
                  <a:pt x="220" y="2114"/>
                  <a:pt x="220" y="2114"/>
                  <a:pt x="220" y="2114"/>
                </a:cubicBezTo>
                <a:cubicBezTo>
                  <a:pt x="220" y="2114"/>
                  <a:pt x="220" y="2114"/>
                  <a:pt x="220" y="2114"/>
                </a:cubicBezTo>
                <a:cubicBezTo>
                  <a:pt x="220" y="2114"/>
                  <a:pt x="220" y="2114"/>
                  <a:pt x="220" y="2114"/>
                </a:cubicBezTo>
                <a:cubicBezTo>
                  <a:pt x="220" y="2106"/>
                  <a:pt x="220" y="2106"/>
                  <a:pt x="220" y="2106"/>
                </a:cubicBezTo>
                <a:cubicBezTo>
                  <a:pt x="220" y="2106"/>
                  <a:pt x="220" y="2106"/>
                  <a:pt x="220" y="2106"/>
                </a:cubicBezTo>
                <a:cubicBezTo>
                  <a:pt x="220" y="2106"/>
                  <a:pt x="220" y="2106"/>
                  <a:pt x="212" y="2106"/>
                </a:cubicBezTo>
                <a:cubicBezTo>
                  <a:pt x="220" y="2106"/>
                  <a:pt x="220" y="2106"/>
                  <a:pt x="220" y="2106"/>
                </a:cubicBezTo>
                <a:cubicBezTo>
                  <a:pt x="212" y="2106"/>
                  <a:pt x="212" y="2106"/>
                  <a:pt x="212" y="2106"/>
                </a:cubicBezTo>
                <a:close/>
                <a:moveTo>
                  <a:pt x="676" y="2176"/>
                </a:moveTo>
                <a:cubicBezTo>
                  <a:pt x="676" y="2176"/>
                  <a:pt x="676" y="2176"/>
                  <a:pt x="676" y="2184"/>
                </a:cubicBezTo>
                <a:cubicBezTo>
                  <a:pt x="676" y="2184"/>
                  <a:pt x="676" y="2184"/>
                  <a:pt x="676" y="2176"/>
                </a:cubicBezTo>
                <a:close/>
                <a:moveTo>
                  <a:pt x="55" y="2020"/>
                </a:moveTo>
                <a:cubicBezTo>
                  <a:pt x="55" y="2020"/>
                  <a:pt x="55" y="2020"/>
                  <a:pt x="55" y="2020"/>
                </a:cubicBezTo>
                <a:cubicBezTo>
                  <a:pt x="55" y="2020"/>
                  <a:pt x="55" y="2020"/>
                  <a:pt x="55" y="2020"/>
                </a:cubicBezTo>
                <a:cubicBezTo>
                  <a:pt x="55" y="2020"/>
                  <a:pt x="55" y="2020"/>
                  <a:pt x="48" y="2012"/>
                </a:cubicBezTo>
                <a:cubicBezTo>
                  <a:pt x="40" y="2012"/>
                  <a:pt x="48" y="2012"/>
                  <a:pt x="40" y="2012"/>
                </a:cubicBezTo>
                <a:cubicBezTo>
                  <a:pt x="40" y="2012"/>
                  <a:pt x="40" y="2012"/>
                  <a:pt x="40" y="2012"/>
                </a:cubicBezTo>
                <a:cubicBezTo>
                  <a:pt x="40" y="2012"/>
                  <a:pt x="40" y="2012"/>
                  <a:pt x="40" y="2012"/>
                </a:cubicBezTo>
                <a:cubicBezTo>
                  <a:pt x="40" y="2012"/>
                  <a:pt x="40" y="2012"/>
                  <a:pt x="40" y="2012"/>
                </a:cubicBezTo>
                <a:cubicBezTo>
                  <a:pt x="48" y="2020"/>
                  <a:pt x="48" y="2020"/>
                  <a:pt x="48" y="2020"/>
                </a:cubicBezTo>
                <a:cubicBezTo>
                  <a:pt x="48" y="2020"/>
                  <a:pt x="48" y="2020"/>
                  <a:pt x="48" y="2020"/>
                </a:cubicBezTo>
                <a:cubicBezTo>
                  <a:pt x="48" y="2020"/>
                  <a:pt x="55" y="2028"/>
                  <a:pt x="55" y="2028"/>
                </a:cubicBezTo>
                <a:cubicBezTo>
                  <a:pt x="55" y="2028"/>
                  <a:pt x="55" y="2028"/>
                  <a:pt x="55" y="2028"/>
                </a:cubicBezTo>
                <a:cubicBezTo>
                  <a:pt x="55" y="2020"/>
                  <a:pt x="55" y="2020"/>
                  <a:pt x="55" y="2020"/>
                </a:cubicBezTo>
                <a:close/>
                <a:moveTo>
                  <a:pt x="668" y="2223"/>
                </a:moveTo>
                <a:cubicBezTo>
                  <a:pt x="668" y="2215"/>
                  <a:pt x="676" y="2208"/>
                  <a:pt x="676" y="2208"/>
                </a:cubicBezTo>
                <a:cubicBezTo>
                  <a:pt x="668" y="2215"/>
                  <a:pt x="668" y="2223"/>
                  <a:pt x="668" y="2223"/>
                </a:cubicBezTo>
                <a:close/>
                <a:moveTo>
                  <a:pt x="582" y="2341"/>
                </a:moveTo>
                <a:cubicBezTo>
                  <a:pt x="582" y="2348"/>
                  <a:pt x="582" y="2356"/>
                  <a:pt x="574" y="2364"/>
                </a:cubicBezTo>
                <a:cubicBezTo>
                  <a:pt x="582" y="2356"/>
                  <a:pt x="582" y="2348"/>
                  <a:pt x="589" y="2341"/>
                </a:cubicBezTo>
                <a:cubicBezTo>
                  <a:pt x="589" y="2348"/>
                  <a:pt x="589" y="2348"/>
                  <a:pt x="582" y="2341"/>
                </a:cubicBezTo>
                <a:close/>
                <a:moveTo>
                  <a:pt x="848" y="1895"/>
                </a:moveTo>
                <a:cubicBezTo>
                  <a:pt x="848" y="1910"/>
                  <a:pt x="848" y="1910"/>
                  <a:pt x="841" y="1918"/>
                </a:cubicBezTo>
                <a:cubicBezTo>
                  <a:pt x="841" y="1918"/>
                  <a:pt x="841" y="1918"/>
                  <a:pt x="848" y="1926"/>
                </a:cubicBezTo>
                <a:cubicBezTo>
                  <a:pt x="848" y="1918"/>
                  <a:pt x="848" y="1910"/>
                  <a:pt x="848" y="1902"/>
                </a:cubicBezTo>
                <a:cubicBezTo>
                  <a:pt x="848" y="1902"/>
                  <a:pt x="848" y="1902"/>
                  <a:pt x="848" y="1895"/>
                </a:cubicBezTo>
                <a:close/>
                <a:moveTo>
                  <a:pt x="63" y="1957"/>
                </a:moveTo>
                <a:cubicBezTo>
                  <a:pt x="63" y="1957"/>
                  <a:pt x="63" y="1957"/>
                  <a:pt x="48" y="1949"/>
                </a:cubicBezTo>
                <a:cubicBezTo>
                  <a:pt x="48" y="1941"/>
                  <a:pt x="48" y="1949"/>
                  <a:pt x="40" y="1941"/>
                </a:cubicBezTo>
                <a:cubicBezTo>
                  <a:pt x="40" y="1941"/>
                  <a:pt x="40" y="1941"/>
                  <a:pt x="40" y="1941"/>
                </a:cubicBezTo>
                <a:cubicBezTo>
                  <a:pt x="40" y="1941"/>
                  <a:pt x="32" y="1941"/>
                  <a:pt x="32" y="1941"/>
                </a:cubicBezTo>
                <a:cubicBezTo>
                  <a:pt x="40" y="1949"/>
                  <a:pt x="40" y="1949"/>
                  <a:pt x="48" y="1949"/>
                </a:cubicBezTo>
                <a:cubicBezTo>
                  <a:pt x="48" y="1957"/>
                  <a:pt x="48" y="1957"/>
                  <a:pt x="48" y="1957"/>
                </a:cubicBezTo>
                <a:cubicBezTo>
                  <a:pt x="48" y="1957"/>
                  <a:pt x="48" y="1949"/>
                  <a:pt x="48" y="1949"/>
                </a:cubicBezTo>
                <a:cubicBezTo>
                  <a:pt x="55" y="1957"/>
                  <a:pt x="55" y="1957"/>
                  <a:pt x="63" y="1957"/>
                </a:cubicBezTo>
                <a:close/>
                <a:moveTo>
                  <a:pt x="566" y="2380"/>
                </a:moveTo>
                <a:cubicBezTo>
                  <a:pt x="574" y="2372"/>
                  <a:pt x="574" y="2372"/>
                  <a:pt x="582" y="2356"/>
                </a:cubicBezTo>
                <a:cubicBezTo>
                  <a:pt x="582" y="2356"/>
                  <a:pt x="582" y="2356"/>
                  <a:pt x="574" y="2364"/>
                </a:cubicBezTo>
                <a:cubicBezTo>
                  <a:pt x="574" y="2364"/>
                  <a:pt x="574" y="2372"/>
                  <a:pt x="566" y="2372"/>
                </a:cubicBezTo>
                <a:cubicBezTo>
                  <a:pt x="566" y="2380"/>
                  <a:pt x="566" y="2380"/>
                  <a:pt x="566" y="2380"/>
                </a:cubicBezTo>
                <a:cubicBezTo>
                  <a:pt x="566" y="2380"/>
                  <a:pt x="566" y="2380"/>
                  <a:pt x="566" y="2380"/>
                </a:cubicBezTo>
                <a:cubicBezTo>
                  <a:pt x="566" y="2380"/>
                  <a:pt x="566" y="2380"/>
                  <a:pt x="566" y="2388"/>
                </a:cubicBezTo>
                <a:cubicBezTo>
                  <a:pt x="566" y="2388"/>
                  <a:pt x="566" y="2388"/>
                  <a:pt x="566" y="2380"/>
                </a:cubicBezTo>
                <a:cubicBezTo>
                  <a:pt x="566" y="2380"/>
                  <a:pt x="566" y="2380"/>
                  <a:pt x="566" y="2380"/>
                </a:cubicBezTo>
                <a:close/>
                <a:moveTo>
                  <a:pt x="574" y="2364"/>
                </a:moveTo>
                <a:cubicBezTo>
                  <a:pt x="574" y="2364"/>
                  <a:pt x="574" y="2364"/>
                  <a:pt x="574" y="2364"/>
                </a:cubicBezTo>
                <a:cubicBezTo>
                  <a:pt x="574" y="2364"/>
                  <a:pt x="574" y="2364"/>
                  <a:pt x="574" y="2364"/>
                </a:cubicBezTo>
                <a:cubicBezTo>
                  <a:pt x="574" y="2364"/>
                  <a:pt x="574" y="2364"/>
                  <a:pt x="574" y="2364"/>
                </a:cubicBezTo>
                <a:close/>
                <a:moveTo>
                  <a:pt x="40" y="1941"/>
                </a:move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24" y="1941"/>
                  <a:pt x="24" y="1941"/>
                </a:cubicBez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32" y="1941"/>
                  <a:pt x="40" y="1941"/>
                </a:cubicBezTo>
                <a:close/>
                <a:moveTo>
                  <a:pt x="103" y="2043"/>
                </a:moveTo>
                <a:cubicBezTo>
                  <a:pt x="103" y="2043"/>
                  <a:pt x="103" y="2043"/>
                  <a:pt x="118" y="2059"/>
                </a:cubicBezTo>
                <a:cubicBezTo>
                  <a:pt x="118" y="2059"/>
                  <a:pt x="118" y="2059"/>
                  <a:pt x="118" y="2059"/>
                </a:cubicBezTo>
                <a:cubicBezTo>
                  <a:pt x="118" y="2059"/>
                  <a:pt x="110" y="2051"/>
                  <a:pt x="110" y="2043"/>
                </a:cubicBezTo>
                <a:cubicBezTo>
                  <a:pt x="103" y="2043"/>
                  <a:pt x="103" y="2043"/>
                  <a:pt x="103" y="2043"/>
                </a:cubicBezTo>
                <a:close/>
                <a:moveTo>
                  <a:pt x="197" y="2223"/>
                </a:moveTo>
                <a:cubicBezTo>
                  <a:pt x="205" y="2223"/>
                  <a:pt x="205" y="2231"/>
                  <a:pt x="205" y="2231"/>
                </a:cubicBezTo>
                <a:cubicBezTo>
                  <a:pt x="205" y="2223"/>
                  <a:pt x="205" y="2223"/>
                  <a:pt x="197" y="2223"/>
                </a:cubicBezTo>
                <a:close/>
                <a:moveTo>
                  <a:pt x="71" y="2028"/>
                </a:moveTo>
                <a:cubicBezTo>
                  <a:pt x="63" y="2020"/>
                  <a:pt x="63" y="2020"/>
                  <a:pt x="48" y="2004"/>
                </a:cubicBezTo>
                <a:cubicBezTo>
                  <a:pt x="40" y="2004"/>
                  <a:pt x="40" y="2004"/>
                  <a:pt x="40" y="2004"/>
                </a:cubicBezTo>
                <a:cubicBezTo>
                  <a:pt x="40" y="2004"/>
                  <a:pt x="48" y="2004"/>
                  <a:pt x="48" y="2012"/>
                </a:cubicBezTo>
                <a:cubicBezTo>
                  <a:pt x="48" y="2012"/>
                  <a:pt x="48" y="2012"/>
                  <a:pt x="48" y="2012"/>
                </a:cubicBezTo>
                <a:cubicBezTo>
                  <a:pt x="48" y="2012"/>
                  <a:pt x="48" y="2012"/>
                  <a:pt x="55" y="2012"/>
                </a:cubicBezTo>
                <a:cubicBezTo>
                  <a:pt x="55" y="2020"/>
                  <a:pt x="63" y="2020"/>
                  <a:pt x="71" y="2028"/>
                </a:cubicBezTo>
                <a:cubicBezTo>
                  <a:pt x="71" y="2028"/>
                  <a:pt x="71" y="2028"/>
                  <a:pt x="71" y="2028"/>
                </a:cubicBezTo>
                <a:cubicBezTo>
                  <a:pt x="71" y="2028"/>
                  <a:pt x="71" y="2028"/>
                  <a:pt x="71" y="2028"/>
                </a:cubicBezTo>
                <a:cubicBezTo>
                  <a:pt x="71" y="2028"/>
                  <a:pt x="79" y="2035"/>
                  <a:pt x="79" y="2035"/>
                </a:cubicBezTo>
                <a:cubicBezTo>
                  <a:pt x="79" y="2035"/>
                  <a:pt x="79" y="2035"/>
                  <a:pt x="79" y="2028"/>
                </a:cubicBezTo>
                <a:cubicBezTo>
                  <a:pt x="79" y="2028"/>
                  <a:pt x="71" y="2028"/>
                  <a:pt x="71" y="2028"/>
                </a:cubicBezTo>
                <a:close/>
                <a:moveTo>
                  <a:pt x="63" y="2028"/>
                </a:moveTo>
                <a:cubicBezTo>
                  <a:pt x="63" y="2028"/>
                  <a:pt x="63" y="2028"/>
                  <a:pt x="63" y="2028"/>
                </a:cubicBezTo>
                <a:cubicBezTo>
                  <a:pt x="63" y="2028"/>
                  <a:pt x="63" y="2028"/>
                  <a:pt x="55" y="2028"/>
                </a:cubicBezTo>
                <a:cubicBezTo>
                  <a:pt x="63" y="2028"/>
                  <a:pt x="63" y="2028"/>
                  <a:pt x="63" y="2028"/>
                </a:cubicBezTo>
                <a:close/>
                <a:moveTo>
                  <a:pt x="118" y="2059"/>
                </a:moveTo>
                <a:cubicBezTo>
                  <a:pt x="118" y="2059"/>
                  <a:pt x="118" y="2059"/>
                  <a:pt x="118" y="2059"/>
                </a:cubicBezTo>
                <a:cubicBezTo>
                  <a:pt x="118" y="2059"/>
                  <a:pt x="118" y="2059"/>
                  <a:pt x="118" y="2059"/>
                </a:cubicBezTo>
                <a:cubicBezTo>
                  <a:pt x="118" y="2059"/>
                  <a:pt x="118" y="2059"/>
                  <a:pt x="118" y="2059"/>
                </a:cubicBezTo>
                <a:close/>
                <a:moveTo>
                  <a:pt x="103" y="2090"/>
                </a:moveTo>
                <a:cubicBezTo>
                  <a:pt x="103" y="2082"/>
                  <a:pt x="103" y="2082"/>
                  <a:pt x="103" y="2082"/>
                </a:cubicBezTo>
                <a:cubicBezTo>
                  <a:pt x="95" y="2082"/>
                  <a:pt x="95" y="2082"/>
                  <a:pt x="95" y="2082"/>
                </a:cubicBezTo>
                <a:cubicBezTo>
                  <a:pt x="103" y="2090"/>
                  <a:pt x="103" y="2090"/>
                  <a:pt x="110" y="2098"/>
                </a:cubicBezTo>
                <a:cubicBezTo>
                  <a:pt x="110" y="2098"/>
                  <a:pt x="118" y="2106"/>
                  <a:pt x="118" y="2106"/>
                </a:cubicBezTo>
                <a:cubicBezTo>
                  <a:pt x="118" y="2106"/>
                  <a:pt x="118" y="2106"/>
                  <a:pt x="118" y="2106"/>
                </a:cubicBezTo>
                <a:cubicBezTo>
                  <a:pt x="118" y="2098"/>
                  <a:pt x="110" y="2098"/>
                  <a:pt x="103" y="2090"/>
                </a:cubicBezTo>
                <a:close/>
                <a:moveTo>
                  <a:pt x="32" y="1941"/>
                </a:moveTo>
                <a:cubicBezTo>
                  <a:pt x="32" y="1941"/>
                  <a:pt x="32" y="1941"/>
                  <a:pt x="32" y="1941"/>
                </a:cubicBezTo>
                <a:cubicBezTo>
                  <a:pt x="32" y="1941"/>
                  <a:pt x="24" y="1934"/>
                  <a:pt x="32" y="1941"/>
                </a:cubicBezTo>
                <a:close/>
                <a:moveTo>
                  <a:pt x="32" y="1941"/>
                </a:moveTo>
                <a:cubicBezTo>
                  <a:pt x="32" y="1941"/>
                  <a:pt x="24" y="1941"/>
                  <a:pt x="24" y="1941"/>
                </a:cubicBezTo>
                <a:cubicBezTo>
                  <a:pt x="24" y="1941"/>
                  <a:pt x="24" y="1941"/>
                  <a:pt x="32" y="1941"/>
                </a:cubicBezTo>
                <a:cubicBezTo>
                  <a:pt x="32" y="1941"/>
                  <a:pt x="32" y="1941"/>
                  <a:pt x="32" y="1941"/>
                </a:cubicBezTo>
                <a:close/>
                <a:moveTo>
                  <a:pt x="841" y="1926"/>
                </a:moveTo>
                <a:cubicBezTo>
                  <a:pt x="841" y="1926"/>
                  <a:pt x="841" y="1926"/>
                  <a:pt x="841" y="1926"/>
                </a:cubicBezTo>
                <a:cubicBezTo>
                  <a:pt x="841" y="1918"/>
                  <a:pt x="841" y="1918"/>
                  <a:pt x="841" y="1918"/>
                </a:cubicBezTo>
                <a:cubicBezTo>
                  <a:pt x="841" y="1918"/>
                  <a:pt x="841" y="1918"/>
                  <a:pt x="841" y="1918"/>
                </a:cubicBezTo>
                <a:cubicBezTo>
                  <a:pt x="841" y="1926"/>
                  <a:pt x="841" y="1926"/>
                  <a:pt x="841" y="1926"/>
                </a:cubicBezTo>
                <a:cubicBezTo>
                  <a:pt x="841" y="1926"/>
                  <a:pt x="841" y="1926"/>
                  <a:pt x="841" y="1926"/>
                </a:cubicBezTo>
                <a:close/>
                <a:moveTo>
                  <a:pt x="79" y="2012"/>
                </a:moveTo>
                <a:cubicBezTo>
                  <a:pt x="71" y="2004"/>
                  <a:pt x="71" y="2004"/>
                  <a:pt x="71" y="2004"/>
                </a:cubicBezTo>
                <a:cubicBezTo>
                  <a:pt x="71" y="2004"/>
                  <a:pt x="71" y="2004"/>
                  <a:pt x="71" y="2004"/>
                </a:cubicBezTo>
                <a:cubicBezTo>
                  <a:pt x="71" y="2004"/>
                  <a:pt x="79" y="2012"/>
                  <a:pt x="79" y="2012"/>
                </a:cubicBezTo>
                <a:close/>
                <a:moveTo>
                  <a:pt x="519" y="2458"/>
                </a:move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lose/>
                <a:moveTo>
                  <a:pt x="527" y="2442"/>
                </a:moveTo>
                <a:cubicBezTo>
                  <a:pt x="527" y="2442"/>
                  <a:pt x="527" y="2442"/>
                  <a:pt x="519" y="2450"/>
                </a:cubicBezTo>
                <a:cubicBezTo>
                  <a:pt x="519" y="2458"/>
                  <a:pt x="519" y="2450"/>
                  <a:pt x="527" y="2442"/>
                </a:cubicBezTo>
                <a:close/>
                <a:moveTo>
                  <a:pt x="71" y="2004"/>
                </a:moveTo>
                <a:cubicBezTo>
                  <a:pt x="71" y="2004"/>
                  <a:pt x="71" y="2012"/>
                  <a:pt x="71" y="2004"/>
                </a:cubicBezTo>
                <a:cubicBezTo>
                  <a:pt x="71" y="2004"/>
                  <a:pt x="63" y="2004"/>
                  <a:pt x="63" y="1996"/>
                </a:cubicBezTo>
                <a:cubicBezTo>
                  <a:pt x="63" y="1996"/>
                  <a:pt x="63" y="1996"/>
                  <a:pt x="55" y="1996"/>
                </a:cubicBezTo>
                <a:cubicBezTo>
                  <a:pt x="55" y="1996"/>
                  <a:pt x="55" y="1996"/>
                  <a:pt x="63" y="1996"/>
                </a:cubicBezTo>
                <a:cubicBezTo>
                  <a:pt x="63" y="1996"/>
                  <a:pt x="63" y="1996"/>
                  <a:pt x="71" y="2004"/>
                </a:cubicBezTo>
                <a:close/>
                <a:moveTo>
                  <a:pt x="79" y="2035"/>
                </a:moveTo>
                <a:cubicBezTo>
                  <a:pt x="79" y="2035"/>
                  <a:pt x="79" y="2035"/>
                  <a:pt x="71" y="2035"/>
                </a:cubicBezTo>
                <a:cubicBezTo>
                  <a:pt x="71" y="2035"/>
                  <a:pt x="71" y="2035"/>
                  <a:pt x="71" y="2035"/>
                </a:cubicBezTo>
                <a:cubicBezTo>
                  <a:pt x="79" y="2035"/>
                  <a:pt x="79" y="2035"/>
                  <a:pt x="79" y="2035"/>
                </a:cubicBezTo>
                <a:close/>
                <a:moveTo>
                  <a:pt x="79" y="2035"/>
                </a:moveTo>
                <a:cubicBezTo>
                  <a:pt x="79" y="2035"/>
                  <a:pt x="79" y="2035"/>
                  <a:pt x="79" y="2035"/>
                </a:cubicBezTo>
                <a:cubicBezTo>
                  <a:pt x="79" y="2035"/>
                  <a:pt x="79" y="2035"/>
                  <a:pt x="79" y="2035"/>
                </a:cubicBezTo>
                <a:cubicBezTo>
                  <a:pt x="79" y="2035"/>
                  <a:pt x="79" y="2035"/>
                  <a:pt x="79" y="2035"/>
                </a:cubicBezTo>
                <a:close/>
                <a:moveTo>
                  <a:pt x="63" y="1996"/>
                </a:moveTo>
                <a:cubicBezTo>
                  <a:pt x="55" y="1996"/>
                  <a:pt x="55" y="1988"/>
                  <a:pt x="55" y="1988"/>
                </a:cubicBezTo>
                <a:cubicBezTo>
                  <a:pt x="55" y="1996"/>
                  <a:pt x="55" y="1996"/>
                  <a:pt x="55" y="1996"/>
                </a:cubicBezTo>
                <a:cubicBezTo>
                  <a:pt x="55" y="1996"/>
                  <a:pt x="63" y="1996"/>
                  <a:pt x="63" y="1996"/>
                </a:cubicBezTo>
                <a:cubicBezTo>
                  <a:pt x="63" y="1996"/>
                  <a:pt x="63" y="1996"/>
                  <a:pt x="63" y="1996"/>
                </a:cubicBezTo>
                <a:close/>
                <a:moveTo>
                  <a:pt x="833" y="1941"/>
                </a:moveTo>
                <a:cubicBezTo>
                  <a:pt x="833" y="1949"/>
                  <a:pt x="833" y="1949"/>
                  <a:pt x="833" y="1949"/>
                </a:cubicBezTo>
                <a:cubicBezTo>
                  <a:pt x="833" y="1949"/>
                  <a:pt x="833" y="1949"/>
                  <a:pt x="833" y="1957"/>
                </a:cubicBezTo>
                <a:cubicBezTo>
                  <a:pt x="833" y="1957"/>
                  <a:pt x="841" y="1949"/>
                  <a:pt x="841" y="1957"/>
                </a:cubicBezTo>
                <a:cubicBezTo>
                  <a:pt x="841" y="1957"/>
                  <a:pt x="841" y="1957"/>
                  <a:pt x="833" y="1965"/>
                </a:cubicBezTo>
                <a:cubicBezTo>
                  <a:pt x="841" y="1965"/>
                  <a:pt x="841" y="1965"/>
                  <a:pt x="841" y="1957"/>
                </a:cubicBezTo>
                <a:cubicBezTo>
                  <a:pt x="848" y="1949"/>
                  <a:pt x="841" y="1941"/>
                  <a:pt x="848" y="1934"/>
                </a:cubicBezTo>
                <a:cubicBezTo>
                  <a:pt x="841" y="1941"/>
                  <a:pt x="841" y="1941"/>
                  <a:pt x="841" y="1941"/>
                </a:cubicBezTo>
                <a:cubicBezTo>
                  <a:pt x="841" y="1941"/>
                  <a:pt x="841" y="1941"/>
                  <a:pt x="841" y="1941"/>
                </a:cubicBezTo>
                <a:cubicBezTo>
                  <a:pt x="841" y="1941"/>
                  <a:pt x="841" y="1941"/>
                  <a:pt x="833" y="1941"/>
                </a:cubicBezTo>
                <a:close/>
                <a:moveTo>
                  <a:pt x="841" y="1941"/>
                </a:moveTo>
                <a:cubicBezTo>
                  <a:pt x="841" y="1934"/>
                  <a:pt x="841" y="1926"/>
                  <a:pt x="841" y="1926"/>
                </a:cubicBezTo>
                <a:cubicBezTo>
                  <a:pt x="841" y="1926"/>
                  <a:pt x="841" y="1926"/>
                  <a:pt x="841" y="1926"/>
                </a:cubicBezTo>
                <a:cubicBezTo>
                  <a:pt x="841" y="1926"/>
                  <a:pt x="841" y="1926"/>
                  <a:pt x="841" y="1941"/>
                </a:cubicBezTo>
                <a:close/>
                <a:moveTo>
                  <a:pt x="542" y="2411"/>
                </a:moveTo>
                <a:cubicBezTo>
                  <a:pt x="542" y="2411"/>
                  <a:pt x="542" y="2411"/>
                  <a:pt x="542" y="2411"/>
                </a:cubicBezTo>
                <a:cubicBezTo>
                  <a:pt x="542" y="2411"/>
                  <a:pt x="550" y="2411"/>
                  <a:pt x="550" y="2403"/>
                </a:cubicBezTo>
                <a:cubicBezTo>
                  <a:pt x="542" y="2411"/>
                  <a:pt x="542" y="2411"/>
                  <a:pt x="542" y="2411"/>
                </a:cubicBezTo>
                <a:close/>
                <a:moveTo>
                  <a:pt x="833" y="1957"/>
                </a:moveTo>
                <a:cubicBezTo>
                  <a:pt x="833" y="1957"/>
                  <a:pt x="833" y="1957"/>
                  <a:pt x="833" y="1957"/>
                </a:cubicBezTo>
                <a:cubicBezTo>
                  <a:pt x="833" y="1965"/>
                  <a:pt x="833" y="1965"/>
                  <a:pt x="833" y="1957"/>
                </a:cubicBezTo>
                <a:close/>
                <a:moveTo>
                  <a:pt x="110" y="2020"/>
                </a:moveTo>
                <a:cubicBezTo>
                  <a:pt x="110" y="2020"/>
                  <a:pt x="110" y="2020"/>
                  <a:pt x="118" y="2020"/>
                </a:cubicBezTo>
                <a:cubicBezTo>
                  <a:pt x="118" y="2020"/>
                  <a:pt x="118" y="2020"/>
                  <a:pt x="118" y="2020"/>
                </a:cubicBezTo>
                <a:lnTo>
                  <a:pt x="110" y="2020"/>
                </a:lnTo>
                <a:close/>
                <a:moveTo>
                  <a:pt x="212" y="2223"/>
                </a:moveTo>
                <a:cubicBezTo>
                  <a:pt x="212" y="2223"/>
                  <a:pt x="205" y="2223"/>
                  <a:pt x="205" y="2223"/>
                </a:cubicBezTo>
                <a:cubicBezTo>
                  <a:pt x="212" y="2223"/>
                  <a:pt x="205" y="2223"/>
                  <a:pt x="212" y="2223"/>
                </a:cubicBezTo>
                <a:close/>
                <a:moveTo>
                  <a:pt x="817" y="1996"/>
                </a:moveTo>
                <a:cubicBezTo>
                  <a:pt x="817" y="2004"/>
                  <a:pt x="817" y="2004"/>
                  <a:pt x="817" y="2004"/>
                </a:cubicBezTo>
                <a:cubicBezTo>
                  <a:pt x="809" y="2028"/>
                  <a:pt x="794" y="2059"/>
                  <a:pt x="786" y="2090"/>
                </a:cubicBezTo>
                <a:cubicBezTo>
                  <a:pt x="786" y="2090"/>
                  <a:pt x="778" y="2098"/>
                  <a:pt x="778" y="2106"/>
                </a:cubicBezTo>
                <a:cubicBezTo>
                  <a:pt x="801" y="2051"/>
                  <a:pt x="817" y="1996"/>
                  <a:pt x="833" y="1934"/>
                </a:cubicBezTo>
                <a:cubicBezTo>
                  <a:pt x="841" y="1934"/>
                  <a:pt x="841" y="1934"/>
                  <a:pt x="841" y="1926"/>
                </a:cubicBezTo>
                <a:cubicBezTo>
                  <a:pt x="841" y="1926"/>
                  <a:pt x="841" y="1934"/>
                  <a:pt x="833" y="1934"/>
                </a:cubicBezTo>
                <a:cubicBezTo>
                  <a:pt x="841" y="1926"/>
                  <a:pt x="841" y="1926"/>
                  <a:pt x="841" y="1918"/>
                </a:cubicBezTo>
                <a:cubicBezTo>
                  <a:pt x="841" y="1918"/>
                  <a:pt x="833" y="1926"/>
                  <a:pt x="833" y="1926"/>
                </a:cubicBezTo>
                <a:cubicBezTo>
                  <a:pt x="833" y="1918"/>
                  <a:pt x="841" y="1910"/>
                  <a:pt x="848" y="1895"/>
                </a:cubicBezTo>
                <a:cubicBezTo>
                  <a:pt x="848" y="1895"/>
                  <a:pt x="848" y="1895"/>
                  <a:pt x="848" y="1895"/>
                </a:cubicBezTo>
                <a:cubicBezTo>
                  <a:pt x="841" y="1895"/>
                  <a:pt x="841" y="1895"/>
                  <a:pt x="841" y="1895"/>
                </a:cubicBezTo>
                <a:cubicBezTo>
                  <a:pt x="833" y="1910"/>
                  <a:pt x="833" y="1934"/>
                  <a:pt x="825" y="1949"/>
                </a:cubicBezTo>
                <a:cubicBezTo>
                  <a:pt x="825" y="1941"/>
                  <a:pt x="833" y="1934"/>
                  <a:pt x="833" y="1926"/>
                </a:cubicBezTo>
                <a:cubicBezTo>
                  <a:pt x="833" y="1926"/>
                  <a:pt x="833" y="1926"/>
                  <a:pt x="833" y="1926"/>
                </a:cubicBezTo>
                <a:cubicBezTo>
                  <a:pt x="833" y="1926"/>
                  <a:pt x="833" y="1926"/>
                  <a:pt x="833" y="1926"/>
                </a:cubicBezTo>
                <a:cubicBezTo>
                  <a:pt x="833" y="1926"/>
                  <a:pt x="833" y="1926"/>
                  <a:pt x="833" y="1926"/>
                </a:cubicBezTo>
                <a:cubicBezTo>
                  <a:pt x="833" y="1934"/>
                  <a:pt x="825" y="1934"/>
                  <a:pt x="825" y="1941"/>
                </a:cubicBezTo>
                <a:cubicBezTo>
                  <a:pt x="817" y="1949"/>
                  <a:pt x="817" y="1957"/>
                  <a:pt x="817" y="1957"/>
                </a:cubicBezTo>
                <a:cubicBezTo>
                  <a:pt x="817" y="1965"/>
                  <a:pt x="817" y="1957"/>
                  <a:pt x="817" y="1973"/>
                </a:cubicBezTo>
                <a:cubicBezTo>
                  <a:pt x="817" y="1965"/>
                  <a:pt x="817" y="1973"/>
                  <a:pt x="809" y="1973"/>
                </a:cubicBezTo>
                <a:cubicBezTo>
                  <a:pt x="809" y="1973"/>
                  <a:pt x="809" y="1973"/>
                  <a:pt x="809" y="1973"/>
                </a:cubicBezTo>
                <a:cubicBezTo>
                  <a:pt x="809" y="1973"/>
                  <a:pt x="809" y="1973"/>
                  <a:pt x="809" y="1973"/>
                </a:cubicBezTo>
                <a:cubicBezTo>
                  <a:pt x="809" y="1988"/>
                  <a:pt x="809" y="1988"/>
                  <a:pt x="801" y="1996"/>
                </a:cubicBezTo>
                <a:cubicBezTo>
                  <a:pt x="801" y="1996"/>
                  <a:pt x="809" y="1996"/>
                  <a:pt x="809" y="1996"/>
                </a:cubicBezTo>
                <a:cubicBezTo>
                  <a:pt x="809" y="1996"/>
                  <a:pt x="809" y="1996"/>
                  <a:pt x="809" y="1996"/>
                </a:cubicBezTo>
                <a:cubicBezTo>
                  <a:pt x="809" y="1996"/>
                  <a:pt x="809" y="1996"/>
                  <a:pt x="809" y="1988"/>
                </a:cubicBezTo>
                <a:cubicBezTo>
                  <a:pt x="809" y="1996"/>
                  <a:pt x="809" y="1996"/>
                  <a:pt x="809" y="1996"/>
                </a:cubicBezTo>
                <a:cubicBezTo>
                  <a:pt x="809" y="1996"/>
                  <a:pt x="809" y="1996"/>
                  <a:pt x="809" y="1988"/>
                </a:cubicBezTo>
                <a:cubicBezTo>
                  <a:pt x="809" y="1988"/>
                  <a:pt x="809" y="1988"/>
                  <a:pt x="809" y="1988"/>
                </a:cubicBezTo>
                <a:cubicBezTo>
                  <a:pt x="809" y="1988"/>
                  <a:pt x="809" y="1996"/>
                  <a:pt x="809" y="1996"/>
                </a:cubicBezTo>
                <a:cubicBezTo>
                  <a:pt x="809" y="2004"/>
                  <a:pt x="801" y="2020"/>
                  <a:pt x="794" y="2035"/>
                </a:cubicBezTo>
                <a:cubicBezTo>
                  <a:pt x="794" y="2020"/>
                  <a:pt x="794" y="2028"/>
                  <a:pt x="794" y="2020"/>
                </a:cubicBezTo>
                <a:cubicBezTo>
                  <a:pt x="786" y="2028"/>
                  <a:pt x="786" y="2028"/>
                  <a:pt x="786" y="2035"/>
                </a:cubicBezTo>
                <a:cubicBezTo>
                  <a:pt x="786" y="2035"/>
                  <a:pt x="778" y="2035"/>
                  <a:pt x="778" y="2035"/>
                </a:cubicBezTo>
                <a:cubicBezTo>
                  <a:pt x="786" y="2020"/>
                  <a:pt x="786" y="2020"/>
                  <a:pt x="786" y="2028"/>
                </a:cubicBezTo>
                <a:cubicBezTo>
                  <a:pt x="794" y="2012"/>
                  <a:pt x="794" y="2004"/>
                  <a:pt x="801" y="1988"/>
                </a:cubicBezTo>
                <a:cubicBezTo>
                  <a:pt x="801" y="1988"/>
                  <a:pt x="801" y="1988"/>
                  <a:pt x="794" y="1996"/>
                </a:cubicBezTo>
                <a:cubicBezTo>
                  <a:pt x="794" y="1996"/>
                  <a:pt x="794" y="1996"/>
                  <a:pt x="794" y="1988"/>
                </a:cubicBezTo>
                <a:cubicBezTo>
                  <a:pt x="801" y="1988"/>
                  <a:pt x="801" y="1973"/>
                  <a:pt x="801" y="1973"/>
                </a:cubicBezTo>
                <a:cubicBezTo>
                  <a:pt x="801" y="1965"/>
                  <a:pt x="801" y="1965"/>
                  <a:pt x="801" y="1965"/>
                </a:cubicBezTo>
                <a:cubicBezTo>
                  <a:pt x="794" y="1988"/>
                  <a:pt x="770" y="2043"/>
                  <a:pt x="762" y="2075"/>
                </a:cubicBezTo>
                <a:cubicBezTo>
                  <a:pt x="746" y="2106"/>
                  <a:pt x="746" y="2106"/>
                  <a:pt x="731" y="2129"/>
                </a:cubicBezTo>
                <a:cubicBezTo>
                  <a:pt x="731" y="2137"/>
                  <a:pt x="731" y="2137"/>
                  <a:pt x="731" y="2137"/>
                </a:cubicBezTo>
                <a:cubicBezTo>
                  <a:pt x="731" y="2137"/>
                  <a:pt x="731" y="2137"/>
                  <a:pt x="723" y="2145"/>
                </a:cubicBezTo>
                <a:cubicBezTo>
                  <a:pt x="723" y="2145"/>
                  <a:pt x="723" y="2145"/>
                  <a:pt x="723" y="2145"/>
                </a:cubicBezTo>
                <a:cubicBezTo>
                  <a:pt x="723" y="2153"/>
                  <a:pt x="723" y="2161"/>
                  <a:pt x="715" y="2161"/>
                </a:cubicBezTo>
                <a:cubicBezTo>
                  <a:pt x="715" y="2161"/>
                  <a:pt x="715" y="2161"/>
                  <a:pt x="715" y="2168"/>
                </a:cubicBezTo>
                <a:cubicBezTo>
                  <a:pt x="715" y="2153"/>
                  <a:pt x="715" y="2153"/>
                  <a:pt x="723" y="2145"/>
                </a:cubicBezTo>
                <a:cubicBezTo>
                  <a:pt x="723" y="2145"/>
                  <a:pt x="723" y="2145"/>
                  <a:pt x="723" y="2145"/>
                </a:cubicBezTo>
                <a:cubicBezTo>
                  <a:pt x="731" y="2137"/>
                  <a:pt x="723" y="2145"/>
                  <a:pt x="731" y="2137"/>
                </a:cubicBezTo>
                <a:cubicBezTo>
                  <a:pt x="731" y="2137"/>
                  <a:pt x="731" y="2137"/>
                  <a:pt x="731" y="2137"/>
                </a:cubicBezTo>
                <a:cubicBezTo>
                  <a:pt x="731" y="2121"/>
                  <a:pt x="754" y="2082"/>
                  <a:pt x="754" y="2075"/>
                </a:cubicBezTo>
                <a:cubicBezTo>
                  <a:pt x="754" y="2075"/>
                  <a:pt x="754" y="2075"/>
                  <a:pt x="762" y="2067"/>
                </a:cubicBezTo>
                <a:cubicBezTo>
                  <a:pt x="778" y="2020"/>
                  <a:pt x="794" y="1996"/>
                  <a:pt x="801" y="1957"/>
                </a:cubicBezTo>
                <a:cubicBezTo>
                  <a:pt x="794" y="1965"/>
                  <a:pt x="794" y="1965"/>
                  <a:pt x="794" y="1965"/>
                </a:cubicBezTo>
                <a:cubicBezTo>
                  <a:pt x="794" y="1965"/>
                  <a:pt x="794" y="1965"/>
                  <a:pt x="794" y="1957"/>
                </a:cubicBezTo>
                <a:cubicBezTo>
                  <a:pt x="794" y="1957"/>
                  <a:pt x="794" y="1957"/>
                  <a:pt x="801" y="1957"/>
                </a:cubicBezTo>
                <a:cubicBezTo>
                  <a:pt x="801" y="1941"/>
                  <a:pt x="801" y="1949"/>
                  <a:pt x="801" y="1941"/>
                </a:cubicBezTo>
                <a:cubicBezTo>
                  <a:pt x="801" y="1941"/>
                  <a:pt x="801" y="1941"/>
                  <a:pt x="794" y="1957"/>
                </a:cubicBezTo>
                <a:cubicBezTo>
                  <a:pt x="794" y="1965"/>
                  <a:pt x="794" y="1965"/>
                  <a:pt x="786" y="1973"/>
                </a:cubicBezTo>
                <a:cubicBezTo>
                  <a:pt x="786" y="1981"/>
                  <a:pt x="786" y="1973"/>
                  <a:pt x="786" y="1988"/>
                </a:cubicBezTo>
                <a:cubicBezTo>
                  <a:pt x="786" y="1981"/>
                  <a:pt x="786" y="1973"/>
                  <a:pt x="794" y="1965"/>
                </a:cubicBezTo>
                <a:cubicBezTo>
                  <a:pt x="794" y="1965"/>
                  <a:pt x="794" y="1965"/>
                  <a:pt x="786" y="1988"/>
                </a:cubicBezTo>
                <a:cubicBezTo>
                  <a:pt x="786" y="1988"/>
                  <a:pt x="786" y="1988"/>
                  <a:pt x="786" y="1988"/>
                </a:cubicBezTo>
                <a:cubicBezTo>
                  <a:pt x="778" y="1996"/>
                  <a:pt x="778" y="2004"/>
                  <a:pt x="770" y="2020"/>
                </a:cubicBezTo>
                <a:cubicBezTo>
                  <a:pt x="762" y="2028"/>
                  <a:pt x="762" y="2043"/>
                  <a:pt x="754" y="2051"/>
                </a:cubicBezTo>
                <a:cubicBezTo>
                  <a:pt x="754" y="2051"/>
                  <a:pt x="754" y="2051"/>
                  <a:pt x="762" y="2043"/>
                </a:cubicBezTo>
                <a:cubicBezTo>
                  <a:pt x="754" y="2059"/>
                  <a:pt x="754" y="2059"/>
                  <a:pt x="746" y="2059"/>
                </a:cubicBezTo>
                <a:cubicBezTo>
                  <a:pt x="746" y="2059"/>
                  <a:pt x="746" y="2059"/>
                  <a:pt x="746" y="2082"/>
                </a:cubicBezTo>
                <a:cubicBezTo>
                  <a:pt x="739" y="2090"/>
                  <a:pt x="739" y="2090"/>
                  <a:pt x="739" y="2090"/>
                </a:cubicBezTo>
                <a:cubicBezTo>
                  <a:pt x="739" y="2090"/>
                  <a:pt x="739" y="2090"/>
                  <a:pt x="739" y="2098"/>
                </a:cubicBezTo>
                <a:cubicBezTo>
                  <a:pt x="723" y="2121"/>
                  <a:pt x="715" y="2137"/>
                  <a:pt x="715" y="2145"/>
                </a:cubicBezTo>
                <a:cubicBezTo>
                  <a:pt x="715" y="2145"/>
                  <a:pt x="715" y="2145"/>
                  <a:pt x="699" y="2161"/>
                </a:cubicBezTo>
                <a:cubicBezTo>
                  <a:pt x="699" y="2153"/>
                  <a:pt x="699" y="2161"/>
                  <a:pt x="699" y="2161"/>
                </a:cubicBezTo>
                <a:cubicBezTo>
                  <a:pt x="699" y="2161"/>
                  <a:pt x="699" y="2161"/>
                  <a:pt x="691" y="2161"/>
                </a:cubicBezTo>
                <a:cubicBezTo>
                  <a:pt x="691" y="2161"/>
                  <a:pt x="691" y="2161"/>
                  <a:pt x="699" y="2161"/>
                </a:cubicBezTo>
                <a:cubicBezTo>
                  <a:pt x="691" y="2161"/>
                  <a:pt x="699" y="2161"/>
                  <a:pt x="691" y="2161"/>
                </a:cubicBezTo>
                <a:cubicBezTo>
                  <a:pt x="691" y="2161"/>
                  <a:pt x="691" y="2161"/>
                  <a:pt x="691" y="2161"/>
                </a:cubicBezTo>
                <a:cubicBezTo>
                  <a:pt x="691" y="2168"/>
                  <a:pt x="691" y="2168"/>
                  <a:pt x="684" y="2176"/>
                </a:cubicBezTo>
                <a:cubicBezTo>
                  <a:pt x="684" y="2176"/>
                  <a:pt x="684" y="2184"/>
                  <a:pt x="684" y="2192"/>
                </a:cubicBezTo>
                <a:cubicBezTo>
                  <a:pt x="684" y="2184"/>
                  <a:pt x="684" y="2176"/>
                  <a:pt x="684" y="2176"/>
                </a:cubicBezTo>
                <a:cubicBezTo>
                  <a:pt x="684" y="2176"/>
                  <a:pt x="684" y="2176"/>
                  <a:pt x="691" y="2168"/>
                </a:cubicBezTo>
                <a:cubicBezTo>
                  <a:pt x="691" y="2168"/>
                  <a:pt x="691" y="2168"/>
                  <a:pt x="699" y="2161"/>
                </a:cubicBezTo>
                <a:cubicBezTo>
                  <a:pt x="699" y="2168"/>
                  <a:pt x="699" y="2168"/>
                  <a:pt x="699" y="2168"/>
                </a:cubicBezTo>
                <a:cubicBezTo>
                  <a:pt x="691" y="2168"/>
                  <a:pt x="691" y="2168"/>
                  <a:pt x="691" y="2176"/>
                </a:cubicBezTo>
                <a:cubicBezTo>
                  <a:pt x="691" y="2176"/>
                  <a:pt x="691" y="2176"/>
                  <a:pt x="691" y="2176"/>
                </a:cubicBezTo>
                <a:cubicBezTo>
                  <a:pt x="684" y="2176"/>
                  <a:pt x="684" y="2176"/>
                  <a:pt x="684" y="2176"/>
                </a:cubicBezTo>
                <a:cubicBezTo>
                  <a:pt x="684" y="2184"/>
                  <a:pt x="684" y="2184"/>
                  <a:pt x="684" y="2184"/>
                </a:cubicBezTo>
                <a:cubicBezTo>
                  <a:pt x="691" y="2184"/>
                  <a:pt x="691" y="2184"/>
                  <a:pt x="691" y="2184"/>
                </a:cubicBezTo>
                <a:cubicBezTo>
                  <a:pt x="684" y="2184"/>
                  <a:pt x="684" y="2192"/>
                  <a:pt x="684" y="2192"/>
                </a:cubicBezTo>
                <a:cubicBezTo>
                  <a:pt x="684" y="2192"/>
                  <a:pt x="684" y="2192"/>
                  <a:pt x="684" y="2192"/>
                </a:cubicBezTo>
                <a:cubicBezTo>
                  <a:pt x="684" y="2192"/>
                  <a:pt x="684" y="2192"/>
                  <a:pt x="684" y="2192"/>
                </a:cubicBezTo>
                <a:cubicBezTo>
                  <a:pt x="684" y="2192"/>
                  <a:pt x="676" y="2192"/>
                  <a:pt x="676" y="2192"/>
                </a:cubicBezTo>
                <a:cubicBezTo>
                  <a:pt x="676" y="2200"/>
                  <a:pt x="676" y="2192"/>
                  <a:pt x="676" y="2200"/>
                </a:cubicBezTo>
                <a:cubicBezTo>
                  <a:pt x="676" y="2200"/>
                  <a:pt x="676" y="2200"/>
                  <a:pt x="684" y="2200"/>
                </a:cubicBezTo>
                <a:cubicBezTo>
                  <a:pt x="676" y="2200"/>
                  <a:pt x="676" y="2200"/>
                  <a:pt x="676" y="2200"/>
                </a:cubicBezTo>
                <a:cubicBezTo>
                  <a:pt x="676" y="2208"/>
                  <a:pt x="668" y="2215"/>
                  <a:pt x="668" y="2223"/>
                </a:cubicBezTo>
                <a:cubicBezTo>
                  <a:pt x="668" y="2223"/>
                  <a:pt x="668" y="2223"/>
                  <a:pt x="668" y="2223"/>
                </a:cubicBezTo>
                <a:cubicBezTo>
                  <a:pt x="668" y="2223"/>
                  <a:pt x="668" y="2223"/>
                  <a:pt x="668" y="2223"/>
                </a:cubicBezTo>
                <a:cubicBezTo>
                  <a:pt x="668" y="2223"/>
                  <a:pt x="668" y="2223"/>
                  <a:pt x="668" y="2223"/>
                </a:cubicBezTo>
                <a:cubicBezTo>
                  <a:pt x="660" y="2223"/>
                  <a:pt x="660" y="2223"/>
                  <a:pt x="660" y="2223"/>
                </a:cubicBezTo>
                <a:cubicBezTo>
                  <a:pt x="660" y="2223"/>
                  <a:pt x="660" y="2223"/>
                  <a:pt x="660" y="2223"/>
                </a:cubicBezTo>
                <a:cubicBezTo>
                  <a:pt x="660" y="2231"/>
                  <a:pt x="660" y="2231"/>
                  <a:pt x="660" y="2231"/>
                </a:cubicBezTo>
                <a:cubicBezTo>
                  <a:pt x="652" y="2231"/>
                  <a:pt x="652" y="2239"/>
                  <a:pt x="652" y="2239"/>
                </a:cubicBezTo>
                <a:cubicBezTo>
                  <a:pt x="652" y="2239"/>
                  <a:pt x="652" y="2247"/>
                  <a:pt x="644" y="2247"/>
                </a:cubicBezTo>
                <a:cubicBezTo>
                  <a:pt x="644" y="2255"/>
                  <a:pt x="644" y="2255"/>
                  <a:pt x="644" y="2255"/>
                </a:cubicBezTo>
                <a:cubicBezTo>
                  <a:pt x="644" y="2255"/>
                  <a:pt x="644" y="2255"/>
                  <a:pt x="644" y="2255"/>
                </a:cubicBezTo>
                <a:cubicBezTo>
                  <a:pt x="644" y="2255"/>
                  <a:pt x="644" y="2255"/>
                  <a:pt x="644" y="2255"/>
                </a:cubicBezTo>
                <a:cubicBezTo>
                  <a:pt x="644" y="2255"/>
                  <a:pt x="644" y="2255"/>
                  <a:pt x="644" y="2255"/>
                </a:cubicBezTo>
                <a:cubicBezTo>
                  <a:pt x="644" y="2255"/>
                  <a:pt x="644" y="2262"/>
                  <a:pt x="636" y="2262"/>
                </a:cubicBezTo>
                <a:cubicBezTo>
                  <a:pt x="636" y="2270"/>
                  <a:pt x="636" y="2270"/>
                  <a:pt x="629" y="2270"/>
                </a:cubicBezTo>
                <a:cubicBezTo>
                  <a:pt x="629" y="2278"/>
                  <a:pt x="629" y="2278"/>
                  <a:pt x="629" y="2278"/>
                </a:cubicBezTo>
                <a:cubicBezTo>
                  <a:pt x="629" y="2278"/>
                  <a:pt x="629" y="2286"/>
                  <a:pt x="629" y="2286"/>
                </a:cubicBezTo>
                <a:cubicBezTo>
                  <a:pt x="629" y="2286"/>
                  <a:pt x="629" y="2286"/>
                  <a:pt x="621" y="2294"/>
                </a:cubicBezTo>
                <a:cubicBezTo>
                  <a:pt x="629" y="2286"/>
                  <a:pt x="629" y="2286"/>
                  <a:pt x="629" y="2286"/>
                </a:cubicBezTo>
                <a:cubicBezTo>
                  <a:pt x="629" y="2286"/>
                  <a:pt x="629" y="2286"/>
                  <a:pt x="629" y="2294"/>
                </a:cubicBezTo>
                <a:cubicBezTo>
                  <a:pt x="629" y="2294"/>
                  <a:pt x="629" y="2294"/>
                  <a:pt x="621" y="2294"/>
                </a:cubicBezTo>
                <a:cubicBezTo>
                  <a:pt x="621" y="2294"/>
                  <a:pt x="621" y="2294"/>
                  <a:pt x="613" y="2301"/>
                </a:cubicBezTo>
                <a:cubicBezTo>
                  <a:pt x="613" y="2301"/>
                  <a:pt x="613" y="2309"/>
                  <a:pt x="613" y="2309"/>
                </a:cubicBezTo>
                <a:cubicBezTo>
                  <a:pt x="613" y="2309"/>
                  <a:pt x="613" y="2309"/>
                  <a:pt x="613" y="2309"/>
                </a:cubicBezTo>
                <a:cubicBezTo>
                  <a:pt x="621" y="2301"/>
                  <a:pt x="621" y="2301"/>
                  <a:pt x="621" y="2301"/>
                </a:cubicBezTo>
                <a:cubicBezTo>
                  <a:pt x="621" y="2301"/>
                  <a:pt x="621" y="2301"/>
                  <a:pt x="621" y="2301"/>
                </a:cubicBezTo>
                <a:cubicBezTo>
                  <a:pt x="621" y="2309"/>
                  <a:pt x="613" y="2309"/>
                  <a:pt x="613" y="2309"/>
                </a:cubicBezTo>
                <a:cubicBezTo>
                  <a:pt x="613" y="2309"/>
                  <a:pt x="613" y="2309"/>
                  <a:pt x="613" y="2309"/>
                </a:cubicBezTo>
                <a:cubicBezTo>
                  <a:pt x="613" y="2309"/>
                  <a:pt x="613" y="2309"/>
                  <a:pt x="613" y="2309"/>
                </a:cubicBezTo>
                <a:cubicBezTo>
                  <a:pt x="613" y="2309"/>
                  <a:pt x="613" y="2317"/>
                  <a:pt x="605" y="2325"/>
                </a:cubicBezTo>
                <a:cubicBezTo>
                  <a:pt x="605" y="2333"/>
                  <a:pt x="605" y="2333"/>
                  <a:pt x="597" y="2333"/>
                </a:cubicBezTo>
                <a:cubicBezTo>
                  <a:pt x="597" y="2341"/>
                  <a:pt x="597" y="2341"/>
                  <a:pt x="597" y="2341"/>
                </a:cubicBezTo>
                <a:cubicBezTo>
                  <a:pt x="597" y="2341"/>
                  <a:pt x="597" y="2341"/>
                  <a:pt x="597" y="2341"/>
                </a:cubicBezTo>
                <a:cubicBezTo>
                  <a:pt x="589" y="2341"/>
                  <a:pt x="589" y="2341"/>
                  <a:pt x="589" y="2341"/>
                </a:cubicBezTo>
                <a:cubicBezTo>
                  <a:pt x="589" y="2341"/>
                  <a:pt x="589" y="2341"/>
                  <a:pt x="589" y="2341"/>
                </a:cubicBezTo>
                <a:cubicBezTo>
                  <a:pt x="589" y="2341"/>
                  <a:pt x="589" y="2341"/>
                  <a:pt x="589" y="2341"/>
                </a:cubicBezTo>
                <a:cubicBezTo>
                  <a:pt x="589" y="2348"/>
                  <a:pt x="589" y="2348"/>
                  <a:pt x="582" y="2356"/>
                </a:cubicBezTo>
                <a:cubicBezTo>
                  <a:pt x="582" y="2364"/>
                  <a:pt x="582" y="2364"/>
                  <a:pt x="582" y="2364"/>
                </a:cubicBezTo>
                <a:cubicBezTo>
                  <a:pt x="574" y="2372"/>
                  <a:pt x="574" y="2372"/>
                  <a:pt x="574" y="2380"/>
                </a:cubicBezTo>
                <a:cubicBezTo>
                  <a:pt x="566" y="2380"/>
                  <a:pt x="566" y="2388"/>
                  <a:pt x="566" y="2388"/>
                </a:cubicBezTo>
                <a:cubicBezTo>
                  <a:pt x="566" y="2388"/>
                  <a:pt x="566" y="2388"/>
                  <a:pt x="566" y="2388"/>
                </a:cubicBezTo>
                <a:cubicBezTo>
                  <a:pt x="566" y="2388"/>
                  <a:pt x="566" y="2388"/>
                  <a:pt x="566" y="2388"/>
                </a:cubicBezTo>
                <a:cubicBezTo>
                  <a:pt x="558" y="2395"/>
                  <a:pt x="550" y="2403"/>
                  <a:pt x="550" y="2411"/>
                </a:cubicBezTo>
                <a:cubicBezTo>
                  <a:pt x="550" y="2411"/>
                  <a:pt x="542" y="2419"/>
                  <a:pt x="542" y="2427"/>
                </a:cubicBezTo>
                <a:cubicBezTo>
                  <a:pt x="542" y="2419"/>
                  <a:pt x="542" y="2419"/>
                  <a:pt x="542" y="2419"/>
                </a:cubicBezTo>
                <a:cubicBezTo>
                  <a:pt x="542" y="2427"/>
                  <a:pt x="534" y="2435"/>
                  <a:pt x="527" y="2442"/>
                </a:cubicBezTo>
                <a:cubicBezTo>
                  <a:pt x="527" y="2442"/>
                  <a:pt x="527" y="2442"/>
                  <a:pt x="527" y="2450"/>
                </a:cubicBezTo>
                <a:cubicBezTo>
                  <a:pt x="527" y="2450"/>
                  <a:pt x="527" y="2450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1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0"/>
                </a:cubicBezTo>
                <a:cubicBezTo>
                  <a:pt x="519" y="2458"/>
                  <a:pt x="519" y="2458"/>
                  <a:pt x="519" y="2458"/>
                </a:cubicBezTo>
                <a:cubicBezTo>
                  <a:pt x="519" y="2458"/>
                  <a:pt x="519" y="2458"/>
                  <a:pt x="519" y="2450"/>
                </a:cubicBezTo>
                <a:cubicBezTo>
                  <a:pt x="519" y="2450"/>
                  <a:pt x="519" y="2450"/>
                  <a:pt x="527" y="2442"/>
                </a:cubicBezTo>
                <a:cubicBezTo>
                  <a:pt x="527" y="2442"/>
                  <a:pt x="527" y="2442"/>
                  <a:pt x="527" y="2435"/>
                </a:cubicBezTo>
                <a:cubicBezTo>
                  <a:pt x="527" y="2435"/>
                  <a:pt x="527" y="2435"/>
                  <a:pt x="527" y="2435"/>
                </a:cubicBezTo>
                <a:cubicBezTo>
                  <a:pt x="534" y="2435"/>
                  <a:pt x="534" y="2435"/>
                  <a:pt x="534" y="2435"/>
                </a:cubicBezTo>
                <a:cubicBezTo>
                  <a:pt x="534" y="2427"/>
                  <a:pt x="534" y="2427"/>
                  <a:pt x="534" y="2427"/>
                </a:cubicBezTo>
                <a:cubicBezTo>
                  <a:pt x="534" y="2427"/>
                  <a:pt x="534" y="2419"/>
                  <a:pt x="542" y="2419"/>
                </a:cubicBezTo>
                <a:cubicBezTo>
                  <a:pt x="542" y="2419"/>
                  <a:pt x="542" y="2411"/>
                  <a:pt x="550" y="2411"/>
                </a:cubicBezTo>
                <a:cubicBezTo>
                  <a:pt x="550" y="2411"/>
                  <a:pt x="550" y="2411"/>
                  <a:pt x="542" y="2411"/>
                </a:cubicBezTo>
                <a:cubicBezTo>
                  <a:pt x="542" y="2419"/>
                  <a:pt x="534" y="2419"/>
                  <a:pt x="534" y="2427"/>
                </a:cubicBezTo>
                <a:cubicBezTo>
                  <a:pt x="534" y="2427"/>
                  <a:pt x="534" y="2427"/>
                  <a:pt x="527" y="2427"/>
                </a:cubicBezTo>
                <a:cubicBezTo>
                  <a:pt x="527" y="2435"/>
                  <a:pt x="527" y="2427"/>
                  <a:pt x="527" y="2435"/>
                </a:cubicBezTo>
                <a:cubicBezTo>
                  <a:pt x="527" y="2442"/>
                  <a:pt x="527" y="2442"/>
                  <a:pt x="519" y="2442"/>
                </a:cubicBezTo>
                <a:cubicBezTo>
                  <a:pt x="519" y="2442"/>
                  <a:pt x="519" y="2442"/>
                  <a:pt x="519" y="2450"/>
                </a:cubicBezTo>
                <a:cubicBezTo>
                  <a:pt x="519" y="2450"/>
                  <a:pt x="519" y="2450"/>
                  <a:pt x="519" y="2450"/>
                </a:cubicBezTo>
                <a:cubicBezTo>
                  <a:pt x="519" y="2450"/>
                  <a:pt x="519" y="2450"/>
                  <a:pt x="519" y="2442"/>
                </a:cubicBezTo>
                <a:cubicBezTo>
                  <a:pt x="519" y="2442"/>
                  <a:pt x="519" y="2442"/>
                  <a:pt x="511" y="2442"/>
                </a:cubicBezTo>
                <a:cubicBezTo>
                  <a:pt x="527" y="2435"/>
                  <a:pt x="527" y="2435"/>
                  <a:pt x="527" y="2435"/>
                </a:cubicBezTo>
                <a:cubicBezTo>
                  <a:pt x="527" y="2435"/>
                  <a:pt x="527" y="2435"/>
                  <a:pt x="519" y="2442"/>
                </a:cubicBezTo>
                <a:cubicBezTo>
                  <a:pt x="519" y="2442"/>
                  <a:pt x="550" y="2388"/>
                  <a:pt x="558" y="2380"/>
                </a:cubicBezTo>
                <a:cubicBezTo>
                  <a:pt x="558" y="2380"/>
                  <a:pt x="558" y="2380"/>
                  <a:pt x="566" y="2372"/>
                </a:cubicBezTo>
                <a:cubicBezTo>
                  <a:pt x="566" y="2364"/>
                  <a:pt x="574" y="2356"/>
                  <a:pt x="574" y="2356"/>
                </a:cubicBezTo>
                <a:cubicBezTo>
                  <a:pt x="574" y="2356"/>
                  <a:pt x="582" y="2348"/>
                  <a:pt x="574" y="2356"/>
                </a:cubicBezTo>
                <a:cubicBezTo>
                  <a:pt x="574" y="2356"/>
                  <a:pt x="574" y="2356"/>
                  <a:pt x="582" y="2348"/>
                </a:cubicBezTo>
                <a:cubicBezTo>
                  <a:pt x="582" y="2341"/>
                  <a:pt x="582" y="2341"/>
                  <a:pt x="582" y="2341"/>
                </a:cubicBezTo>
                <a:cubicBezTo>
                  <a:pt x="582" y="2341"/>
                  <a:pt x="582" y="2341"/>
                  <a:pt x="582" y="2341"/>
                </a:cubicBezTo>
                <a:cubicBezTo>
                  <a:pt x="582" y="2341"/>
                  <a:pt x="582" y="2341"/>
                  <a:pt x="582" y="2341"/>
                </a:cubicBezTo>
                <a:cubicBezTo>
                  <a:pt x="582" y="2341"/>
                  <a:pt x="582" y="2341"/>
                  <a:pt x="574" y="2348"/>
                </a:cubicBezTo>
                <a:cubicBezTo>
                  <a:pt x="574" y="2348"/>
                  <a:pt x="574" y="2348"/>
                  <a:pt x="574" y="2348"/>
                </a:cubicBezTo>
                <a:cubicBezTo>
                  <a:pt x="574" y="2356"/>
                  <a:pt x="574" y="2356"/>
                  <a:pt x="566" y="2356"/>
                </a:cubicBezTo>
                <a:cubicBezTo>
                  <a:pt x="566" y="2356"/>
                  <a:pt x="566" y="2356"/>
                  <a:pt x="566" y="2364"/>
                </a:cubicBezTo>
                <a:cubicBezTo>
                  <a:pt x="566" y="2364"/>
                  <a:pt x="566" y="2364"/>
                  <a:pt x="566" y="2364"/>
                </a:cubicBezTo>
                <a:cubicBezTo>
                  <a:pt x="558" y="2372"/>
                  <a:pt x="550" y="2388"/>
                  <a:pt x="550" y="2395"/>
                </a:cubicBezTo>
                <a:cubicBezTo>
                  <a:pt x="542" y="2395"/>
                  <a:pt x="558" y="2372"/>
                  <a:pt x="542" y="2395"/>
                </a:cubicBezTo>
                <a:cubicBezTo>
                  <a:pt x="542" y="2388"/>
                  <a:pt x="550" y="2388"/>
                  <a:pt x="550" y="2380"/>
                </a:cubicBezTo>
                <a:cubicBezTo>
                  <a:pt x="550" y="2380"/>
                  <a:pt x="550" y="2380"/>
                  <a:pt x="550" y="2372"/>
                </a:cubicBezTo>
                <a:cubicBezTo>
                  <a:pt x="550" y="2372"/>
                  <a:pt x="550" y="2372"/>
                  <a:pt x="542" y="2388"/>
                </a:cubicBezTo>
                <a:cubicBezTo>
                  <a:pt x="542" y="2388"/>
                  <a:pt x="542" y="2388"/>
                  <a:pt x="542" y="2388"/>
                </a:cubicBezTo>
                <a:cubicBezTo>
                  <a:pt x="542" y="2388"/>
                  <a:pt x="542" y="2388"/>
                  <a:pt x="534" y="2403"/>
                </a:cubicBezTo>
                <a:cubicBezTo>
                  <a:pt x="527" y="2403"/>
                  <a:pt x="527" y="2403"/>
                  <a:pt x="527" y="2403"/>
                </a:cubicBezTo>
                <a:cubicBezTo>
                  <a:pt x="534" y="2395"/>
                  <a:pt x="534" y="2403"/>
                  <a:pt x="542" y="2388"/>
                </a:cubicBezTo>
                <a:cubicBezTo>
                  <a:pt x="534" y="2395"/>
                  <a:pt x="534" y="2395"/>
                  <a:pt x="527" y="2403"/>
                </a:cubicBezTo>
                <a:cubicBezTo>
                  <a:pt x="527" y="2411"/>
                  <a:pt x="527" y="2411"/>
                  <a:pt x="527" y="2411"/>
                </a:cubicBezTo>
                <a:cubicBezTo>
                  <a:pt x="527" y="2411"/>
                  <a:pt x="527" y="2411"/>
                  <a:pt x="527" y="2411"/>
                </a:cubicBezTo>
                <a:cubicBezTo>
                  <a:pt x="519" y="2419"/>
                  <a:pt x="519" y="2419"/>
                  <a:pt x="519" y="2419"/>
                </a:cubicBezTo>
                <a:cubicBezTo>
                  <a:pt x="519" y="2419"/>
                  <a:pt x="519" y="2419"/>
                  <a:pt x="519" y="2411"/>
                </a:cubicBezTo>
                <a:cubicBezTo>
                  <a:pt x="519" y="2419"/>
                  <a:pt x="511" y="2419"/>
                  <a:pt x="511" y="2427"/>
                </a:cubicBezTo>
                <a:cubicBezTo>
                  <a:pt x="511" y="2427"/>
                  <a:pt x="511" y="2427"/>
                  <a:pt x="511" y="2427"/>
                </a:cubicBezTo>
                <a:cubicBezTo>
                  <a:pt x="511" y="2427"/>
                  <a:pt x="511" y="2427"/>
                  <a:pt x="511" y="2427"/>
                </a:cubicBezTo>
                <a:cubicBezTo>
                  <a:pt x="511" y="2435"/>
                  <a:pt x="503" y="2435"/>
                  <a:pt x="503" y="2435"/>
                </a:cubicBezTo>
                <a:cubicBezTo>
                  <a:pt x="503" y="2435"/>
                  <a:pt x="503" y="2435"/>
                  <a:pt x="495" y="2435"/>
                </a:cubicBezTo>
                <a:cubicBezTo>
                  <a:pt x="495" y="2435"/>
                  <a:pt x="495" y="2435"/>
                  <a:pt x="495" y="2435"/>
                </a:cubicBezTo>
                <a:cubicBezTo>
                  <a:pt x="503" y="2435"/>
                  <a:pt x="503" y="2435"/>
                  <a:pt x="503" y="2442"/>
                </a:cubicBezTo>
                <a:cubicBezTo>
                  <a:pt x="503" y="2442"/>
                  <a:pt x="503" y="2442"/>
                  <a:pt x="503" y="2442"/>
                </a:cubicBezTo>
                <a:cubicBezTo>
                  <a:pt x="503" y="2435"/>
                  <a:pt x="503" y="2435"/>
                  <a:pt x="495" y="2435"/>
                </a:cubicBezTo>
                <a:cubicBezTo>
                  <a:pt x="495" y="2435"/>
                  <a:pt x="495" y="2435"/>
                  <a:pt x="495" y="2435"/>
                </a:cubicBezTo>
                <a:cubicBezTo>
                  <a:pt x="495" y="2435"/>
                  <a:pt x="495" y="2435"/>
                  <a:pt x="495" y="2435"/>
                </a:cubicBezTo>
                <a:cubicBezTo>
                  <a:pt x="495" y="2427"/>
                  <a:pt x="495" y="2427"/>
                  <a:pt x="495" y="2427"/>
                </a:cubicBezTo>
                <a:cubicBezTo>
                  <a:pt x="495" y="2427"/>
                  <a:pt x="495" y="2427"/>
                  <a:pt x="479" y="2419"/>
                </a:cubicBezTo>
                <a:cubicBezTo>
                  <a:pt x="479" y="2419"/>
                  <a:pt x="479" y="2419"/>
                  <a:pt x="479" y="2419"/>
                </a:cubicBezTo>
                <a:cubicBezTo>
                  <a:pt x="479" y="2419"/>
                  <a:pt x="479" y="2419"/>
                  <a:pt x="479" y="2411"/>
                </a:cubicBezTo>
                <a:cubicBezTo>
                  <a:pt x="479" y="2411"/>
                  <a:pt x="479" y="2411"/>
                  <a:pt x="479" y="2411"/>
                </a:cubicBezTo>
                <a:cubicBezTo>
                  <a:pt x="487" y="2419"/>
                  <a:pt x="487" y="2419"/>
                  <a:pt x="487" y="2427"/>
                </a:cubicBezTo>
                <a:cubicBezTo>
                  <a:pt x="487" y="2419"/>
                  <a:pt x="487" y="2419"/>
                  <a:pt x="487" y="2419"/>
                </a:cubicBezTo>
                <a:cubicBezTo>
                  <a:pt x="487" y="2427"/>
                  <a:pt x="495" y="2427"/>
                  <a:pt x="495" y="2427"/>
                </a:cubicBezTo>
                <a:cubicBezTo>
                  <a:pt x="495" y="2427"/>
                  <a:pt x="495" y="2427"/>
                  <a:pt x="495" y="2427"/>
                </a:cubicBezTo>
                <a:cubicBezTo>
                  <a:pt x="495" y="2427"/>
                  <a:pt x="495" y="2427"/>
                  <a:pt x="495" y="2427"/>
                </a:cubicBezTo>
                <a:cubicBezTo>
                  <a:pt x="495" y="2427"/>
                  <a:pt x="495" y="2427"/>
                  <a:pt x="495" y="2427"/>
                </a:cubicBezTo>
                <a:cubicBezTo>
                  <a:pt x="479" y="2411"/>
                  <a:pt x="464" y="2395"/>
                  <a:pt x="464" y="2388"/>
                </a:cubicBezTo>
                <a:cubicBezTo>
                  <a:pt x="464" y="2388"/>
                  <a:pt x="464" y="2388"/>
                  <a:pt x="456" y="2388"/>
                </a:cubicBezTo>
                <a:cubicBezTo>
                  <a:pt x="456" y="2388"/>
                  <a:pt x="440" y="2372"/>
                  <a:pt x="440" y="2364"/>
                </a:cubicBezTo>
                <a:cubicBezTo>
                  <a:pt x="440" y="2364"/>
                  <a:pt x="440" y="2364"/>
                  <a:pt x="432" y="2356"/>
                </a:cubicBezTo>
                <a:cubicBezTo>
                  <a:pt x="440" y="2372"/>
                  <a:pt x="424" y="2356"/>
                  <a:pt x="440" y="2372"/>
                </a:cubicBezTo>
                <a:cubicBezTo>
                  <a:pt x="432" y="2372"/>
                  <a:pt x="432" y="2372"/>
                  <a:pt x="432" y="2372"/>
                </a:cubicBezTo>
                <a:cubicBezTo>
                  <a:pt x="424" y="2364"/>
                  <a:pt x="432" y="2372"/>
                  <a:pt x="424" y="2364"/>
                </a:cubicBezTo>
                <a:cubicBezTo>
                  <a:pt x="424" y="2356"/>
                  <a:pt x="417" y="2356"/>
                  <a:pt x="417" y="2348"/>
                </a:cubicBezTo>
                <a:cubicBezTo>
                  <a:pt x="417" y="2348"/>
                  <a:pt x="417" y="2348"/>
                  <a:pt x="417" y="2356"/>
                </a:cubicBezTo>
                <a:cubicBezTo>
                  <a:pt x="417" y="2356"/>
                  <a:pt x="417" y="2356"/>
                  <a:pt x="424" y="2356"/>
                </a:cubicBezTo>
                <a:cubicBezTo>
                  <a:pt x="424" y="2364"/>
                  <a:pt x="424" y="2364"/>
                  <a:pt x="424" y="2364"/>
                </a:cubicBezTo>
                <a:cubicBezTo>
                  <a:pt x="424" y="2364"/>
                  <a:pt x="424" y="2364"/>
                  <a:pt x="424" y="2364"/>
                </a:cubicBezTo>
                <a:cubicBezTo>
                  <a:pt x="424" y="2364"/>
                  <a:pt x="424" y="2364"/>
                  <a:pt x="424" y="2364"/>
                </a:cubicBezTo>
                <a:cubicBezTo>
                  <a:pt x="424" y="2364"/>
                  <a:pt x="424" y="2364"/>
                  <a:pt x="424" y="2364"/>
                </a:cubicBezTo>
                <a:cubicBezTo>
                  <a:pt x="432" y="2364"/>
                  <a:pt x="432" y="2372"/>
                  <a:pt x="440" y="2372"/>
                </a:cubicBezTo>
                <a:cubicBezTo>
                  <a:pt x="432" y="2372"/>
                  <a:pt x="432" y="2372"/>
                  <a:pt x="424" y="2364"/>
                </a:cubicBezTo>
                <a:cubicBezTo>
                  <a:pt x="424" y="2364"/>
                  <a:pt x="424" y="2364"/>
                  <a:pt x="424" y="2364"/>
                </a:cubicBezTo>
                <a:cubicBezTo>
                  <a:pt x="424" y="2364"/>
                  <a:pt x="424" y="2364"/>
                  <a:pt x="424" y="2364"/>
                </a:cubicBezTo>
                <a:cubicBezTo>
                  <a:pt x="417" y="2364"/>
                  <a:pt x="417" y="2364"/>
                  <a:pt x="417" y="2356"/>
                </a:cubicBezTo>
                <a:cubicBezTo>
                  <a:pt x="417" y="2356"/>
                  <a:pt x="409" y="2348"/>
                  <a:pt x="401" y="2341"/>
                </a:cubicBezTo>
                <a:cubicBezTo>
                  <a:pt x="401" y="2341"/>
                  <a:pt x="401" y="2333"/>
                  <a:pt x="401" y="2333"/>
                </a:cubicBezTo>
                <a:cubicBezTo>
                  <a:pt x="385" y="2317"/>
                  <a:pt x="377" y="2301"/>
                  <a:pt x="370" y="2294"/>
                </a:cubicBezTo>
                <a:cubicBezTo>
                  <a:pt x="370" y="2294"/>
                  <a:pt x="377" y="2294"/>
                  <a:pt x="362" y="2278"/>
                </a:cubicBezTo>
                <a:cubicBezTo>
                  <a:pt x="362" y="2278"/>
                  <a:pt x="362" y="2278"/>
                  <a:pt x="362" y="2286"/>
                </a:cubicBezTo>
                <a:cubicBezTo>
                  <a:pt x="362" y="2286"/>
                  <a:pt x="362" y="2286"/>
                  <a:pt x="354" y="2270"/>
                </a:cubicBezTo>
                <a:cubicBezTo>
                  <a:pt x="354" y="2270"/>
                  <a:pt x="354" y="2270"/>
                  <a:pt x="354" y="2270"/>
                </a:cubicBezTo>
                <a:cubicBezTo>
                  <a:pt x="346" y="2270"/>
                  <a:pt x="346" y="2270"/>
                  <a:pt x="346" y="2270"/>
                </a:cubicBezTo>
                <a:cubicBezTo>
                  <a:pt x="346" y="2270"/>
                  <a:pt x="346" y="2270"/>
                  <a:pt x="346" y="2262"/>
                </a:cubicBezTo>
                <a:cubicBezTo>
                  <a:pt x="346" y="2262"/>
                  <a:pt x="346" y="2262"/>
                  <a:pt x="346" y="2255"/>
                </a:cubicBezTo>
                <a:cubicBezTo>
                  <a:pt x="346" y="2255"/>
                  <a:pt x="346" y="2255"/>
                  <a:pt x="346" y="2255"/>
                </a:cubicBezTo>
                <a:cubicBezTo>
                  <a:pt x="346" y="2255"/>
                  <a:pt x="346" y="2255"/>
                  <a:pt x="346" y="2255"/>
                </a:cubicBezTo>
                <a:cubicBezTo>
                  <a:pt x="346" y="2255"/>
                  <a:pt x="338" y="2255"/>
                  <a:pt x="338" y="2255"/>
                </a:cubicBezTo>
                <a:cubicBezTo>
                  <a:pt x="338" y="2247"/>
                  <a:pt x="338" y="2247"/>
                  <a:pt x="330" y="2239"/>
                </a:cubicBezTo>
                <a:cubicBezTo>
                  <a:pt x="330" y="2239"/>
                  <a:pt x="330" y="2239"/>
                  <a:pt x="330" y="2239"/>
                </a:cubicBezTo>
                <a:cubicBezTo>
                  <a:pt x="330" y="2239"/>
                  <a:pt x="330" y="2239"/>
                  <a:pt x="330" y="2239"/>
                </a:cubicBezTo>
                <a:cubicBezTo>
                  <a:pt x="330" y="2239"/>
                  <a:pt x="330" y="2239"/>
                  <a:pt x="330" y="2239"/>
                </a:cubicBezTo>
                <a:cubicBezTo>
                  <a:pt x="322" y="2231"/>
                  <a:pt x="315" y="2223"/>
                  <a:pt x="307" y="2208"/>
                </a:cubicBezTo>
                <a:cubicBezTo>
                  <a:pt x="315" y="2223"/>
                  <a:pt x="330" y="2239"/>
                  <a:pt x="338" y="2255"/>
                </a:cubicBezTo>
                <a:cubicBezTo>
                  <a:pt x="330" y="2255"/>
                  <a:pt x="330" y="2255"/>
                  <a:pt x="330" y="2247"/>
                </a:cubicBezTo>
                <a:cubicBezTo>
                  <a:pt x="330" y="2247"/>
                  <a:pt x="330" y="2247"/>
                  <a:pt x="330" y="2255"/>
                </a:cubicBezTo>
                <a:cubicBezTo>
                  <a:pt x="330" y="2247"/>
                  <a:pt x="322" y="2239"/>
                  <a:pt x="322" y="2239"/>
                </a:cubicBezTo>
                <a:cubicBezTo>
                  <a:pt x="322" y="2239"/>
                  <a:pt x="322" y="2239"/>
                  <a:pt x="322" y="2239"/>
                </a:cubicBezTo>
                <a:cubicBezTo>
                  <a:pt x="315" y="2239"/>
                  <a:pt x="315" y="2239"/>
                  <a:pt x="315" y="2239"/>
                </a:cubicBezTo>
                <a:cubicBezTo>
                  <a:pt x="315" y="2239"/>
                  <a:pt x="315" y="2239"/>
                  <a:pt x="315" y="2231"/>
                </a:cubicBezTo>
                <a:cubicBezTo>
                  <a:pt x="315" y="2231"/>
                  <a:pt x="315" y="2231"/>
                  <a:pt x="315" y="2223"/>
                </a:cubicBezTo>
                <a:cubicBezTo>
                  <a:pt x="315" y="2231"/>
                  <a:pt x="315" y="2231"/>
                  <a:pt x="315" y="2231"/>
                </a:cubicBezTo>
                <a:cubicBezTo>
                  <a:pt x="315" y="2231"/>
                  <a:pt x="315" y="2231"/>
                  <a:pt x="315" y="2231"/>
                </a:cubicBezTo>
                <a:cubicBezTo>
                  <a:pt x="315" y="2231"/>
                  <a:pt x="315" y="2231"/>
                  <a:pt x="322" y="2239"/>
                </a:cubicBezTo>
                <a:cubicBezTo>
                  <a:pt x="322" y="2231"/>
                  <a:pt x="322" y="2231"/>
                  <a:pt x="322" y="2231"/>
                </a:cubicBezTo>
                <a:cubicBezTo>
                  <a:pt x="307" y="2215"/>
                  <a:pt x="299" y="2208"/>
                  <a:pt x="291" y="2200"/>
                </a:cubicBezTo>
                <a:cubicBezTo>
                  <a:pt x="283" y="2192"/>
                  <a:pt x="244" y="2137"/>
                  <a:pt x="220" y="2114"/>
                </a:cubicBezTo>
                <a:cubicBezTo>
                  <a:pt x="228" y="2114"/>
                  <a:pt x="228" y="2114"/>
                  <a:pt x="228" y="2121"/>
                </a:cubicBezTo>
                <a:cubicBezTo>
                  <a:pt x="228" y="2121"/>
                  <a:pt x="228" y="2121"/>
                  <a:pt x="228" y="2121"/>
                </a:cubicBezTo>
                <a:cubicBezTo>
                  <a:pt x="228" y="2121"/>
                  <a:pt x="228" y="2121"/>
                  <a:pt x="228" y="2121"/>
                </a:cubicBezTo>
                <a:cubicBezTo>
                  <a:pt x="228" y="2121"/>
                  <a:pt x="228" y="2121"/>
                  <a:pt x="228" y="2129"/>
                </a:cubicBezTo>
                <a:cubicBezTo>
                  <a:pt x="228" y="2129"/>
                  <a:pt x="228" y="2129"/>
                  <a:pt x="228" y="2129"/>
                </a:cubicBezTo>
                <a:cubicBezTo>
                  <a:pt x="228" y="2129"/>
                  <a:pt x="236" y="2129"/>
                  <a:pt x="236" y="2137"/>
                </a:cubicBezTo>
                <a:cubicBezTo>
                  <a:pt x="252" y="2161"/>
                  <a:pt x="275" y="2184"/>
                  <a:pt x="275" y="2184"/>
                </a:cubicBezTo>
                <a:cubicBezTo>
                  <a:pt x="275" y="2184"/>
                  <a:pt x="275" y="2192"/>
                  <a:pt x="275" y="2192"/>
                </a:cubicBezTo>
                <a:cubicBezTo>
                  <a:pt x="291" y="2215"/>
                  <a:pt x="330" y="2262"/>
                  <a:pt x="362" y="2301"/>
                </a:cubicBezTo>
                <a:cubicBezTo>
                  <a:pt x="370" y="2301"/>
                  <a:pt x="370" y="2309"/>
                  <a:pt x="370" y="2309"/>
                </a:cubicBezTo>
                <a:cubicBezTo>
                  <a:pt x="370" y="2309"/>
                  <a:pt x="370" y="2309"/>
                  <a:pt x="370" y="2301"/>
                </a:cubicBezTo>
                <a:cubicBezTo>
                  <a:pt x="385" y="2325"/>
                  <a:pt x="401" y="2341"/>
                  <a:pt x="409" y="2348"/>
                </a:cubicBezTo>
                <a:cubicBezTo>
                  <a:pt x="409" y="2356"/>
                  <a:pt x="409" y="2348"/>
                  <a:pt x="409" y="2356"/>
                </a:cubicBezTo>
                <a:cubicBezTo>
                  <a:pt x="417" y="2364"/>
                  <a:pt x="417" y="2364"/>
                  <a:pt x="424" y="2372"/>
                </a:cubicBezTo>
                <a:cubicBezTo>
                  <a:pt x="424" y="2372"/>
                  <a:pt x="424" y="2372"/>
                  <a:pt x="424" y="2372"/>
                </a:cubicBezTo>
                <a:cubicBezTo>
                  <a:pt x="424" y="2372"/>
                  <a:pt x="424" y="2372"/>
                  <a:pt x="424" y="2372"/>
                </a:cubicBezTo>
                <a:cubicBezTo>
                  <a:pt x="424" y="2372"/>
                  <a:pt x="424" y="2372"/>
                  <a:pt x="424" y="2372"/>
                </a:cubicBezTo>
                <a:cubicBezTo>
                  <a:pt x="424" y="2380"/>
                  <a:pt x="432" y="2380"/>
                  <a:pt x="432" y="2388"/>
                </a:cubicBezTo>
                <a:cubicBezTo>
                  <a:pt x="432" y="2388"/>
                  <a:pt x="432" y="2388"/>
                  <a:pt x="440" y="2388"/>
                </a:cubicBezTo>
                <a:cubicBezTo>
                  <a:pt x="432" y="2388"/>
                  <a:pt x="432" y="2388"/>
                  <a:pt x="424" y="2380"/>
                </a:cubicBezTo>
                <a:cubicBezTo>
                  <a:pt x="432" y="2380"/>
                  <a:pt x="440" y="2388"/>
                  <a:pt x="440" y="2395"/>
                </a:cubicBezTo>
                <a:cubicBezTo>
                  <a:pt x="440" y="2395"/>
                  <a:pt x="440" y="2395"/>
                  <a:pt x="440" y="2395"/>
                </a:cubicBezTo>
                <a:cubicBezTo>
                  <a:pt x="440" y="2395"/>
                  <a:pt x="440" y="2395"/>
                  <a:pt x="440" y="2395"/>
                </a:cubicBezTo>
                <a:cubicBezTo>
                  <a:pt x="448" y="2395"/>
                  <a:pt x="448" y="2395"/>
                  <a:pt x="448" y="2395"/>
                </a:cubicBezTo>
                <a:cubicBezTo>
                  <a:pt x="448" y="2395"/>
                  <a:pt x="448" y="2395"/>
                  <a:pt x="448" y="2395"/>
                </a:cubicBezTo>
                <a:cubicBezTo>
                  <a:pt x="448" y="2395"/>
                  <a:pt x="448" y="2395"/>
                  <a:pt x="448" y="2395"/>
                </a:cubicBezTo>
                <a:cubicBezTo>
                  <a:pt x="448" y="2403"/>
                  <a:pt x="448" y="2403"/>
                  <a:pt x="448" y="2403"/>
                </a:cubicBezTo>
                <a:cubicBezTo>
                  <a:pt x="448" y="2403"/>
                  <a:pt x="448" y="2403"/>
                  <a:pt x="448" y="2403"/>
                </a:cubicBezTo>
                <a:cubicBezTo>
                  <a:pt x="448" y="2403"/>
                  <a:pt x="448" y="2403"/>
                  <a:pt x="448" y="2403"/>
                </a:cubicBezTo>
                <a:cubicBezTo>
                  <a:pt x="456" y="2403"/>
                  <a:pt x="456" y="2403"/>
                  <a:pt x="456" y="2403"/>
                </a:cubicBezTo>
                <a:cubicBezTo>
                  <a:pt x="448" y="2403"/>
                  <a:pt x="448" y="2403"/>
                  <a:pt x="448" y="2403"/>
                </a:cubicBezTo>
                <a:cubicBezTo>
                  <a:pt x="456" y="2403"/>
                  <a:pt x="456" y="2403"/>
                  <a:pt x="456" y="2403"/>
                </a:cubicBezTo>
                <a:cubicBezTo>
                  <a:pt x="456" y="2403"/>
                  <a:pt x="456" y="2403"/>
                  <a:pt x="456" y="2411"/>
                </a:cubicBezTo>
                <a:cubicBezTo>
                  <a:pt x="464" y="2419"/>
                  <a:pt x="479" y="2435"/>
                  <a:pt x="495" y="2450"/>
                </a:cubicBezTo>
                <a:cubicBezTo>
                  <a:pt x="495" y="2450"/>
                  <a:pt x="495" y="2450"/>
                  <a:pt x="487" y="2450"/>
                </a:cubicBezTo>
                <a:cubicBezTo>
                  <a:pt x="487" y="2450"/>
                  <a:pt x="487" y="2450"/>
                  <a:pt x="487" y="2442"/>
                </a:cubicBezTo>
                <a:cubicBezTo>
                  <a:pt x="479" y="2442"/>
                  <a:pt x="472" y="2427"/>
                  <a:pt x="464" y="2419"/>
                </a:cubicBezTo>
                <a:cubicBezTo>
                  <a:pt x="464" y="2419"/>
                  <a:pt x="464" y="2419"/>
                  <a:pt x="456" y="2411"/>
                </a:cubicBezTo>
                <a:cubicBezTo>
                  <a:pt x="456" y="2411"/>
                  <a:pt x="456" y="2411"/>
                  <a:pt x="456" y="2411"/>
                </a:cubicBezTo>
                <a:cubicBezTo>
                  <a:pt x="456" y="2411"/>
                  <a:pt x="456" y="2411"/>
                  <a:pt x="456" y="2411"/>
                </a:cubicBezTo>
                <a:cubicBezTo>
                  <a:pt x="456" y="2411"/>
                  <a:pt x="456" y="2411"/>
                  <a:pt x="440" y="2395"/>
                </a:cubicBezTo>
                <a:cubicBezTo>
                  <a:pt x="440" y="2395"/>
                  <a:pt x="440" y="2395"/>
                  <a:pt x="448" y="2403"/>
                </a:cubicBezTo>
                <a:cubicBezTo>
                  <a:pt x="448" y="2403"/>
                  <a:pt x="440" y="2403"/>
                  <a:pt x="440" y="2403"/>
                </a:cubicBezTo>
                <a:cubicBezTo>
                  <a:pt x="440" y="2403"/>
                  <a:pt x="440" y="2403"/>
                  <a:pt x="440" y="2403"/>
                </a:cubicBezTo>
                <a:cubicBezTo>
                  <a:pt x="440" y="2403"/>
                  <a:pt x="440" y="2403"/>
                  <a:pt x="440" y="2403"/>
                </a:cubicBezTo>
                <a:cubicBezTo>
                  <a:pt x="440" y="2395"/>
                  <a:pt x="440" y="2395"/>
                  <a:pt x="432" y="2395"/>
                </a:cubicBezTo>
                <a:cubicBezTo>
                  <a:pt x="432" y="2395"/>
                  <a:pt x="432" y="2395"/>
                  <a:pt x="440" y="2395"/>
                </a:cubicBezTo>
                <a:cubicBezTo>
                  <a:pt x="432" y="2388"/>
                  <a:pt x="432" y="2388"/>
                  <a:pt x="432" y="2388"/>
                </a:cubicBezTo>
                <a:cubicBezTo>
                  <a:pt x="432" y="2388"/>
                  <a:pt x="432" y="2388"/>
                  <a:pt x="432" y="2388"/>
                </a:cubicBezTo>
                <a:cubicBezTo>
                  <a:pt x="432" y="2388"/>
                  <a:pt x="432" y="2395"/>
                  <a:pt x="440" y="2395"/>
                </a:cubicBezTo>
                <a:cubicBezTo>
                  <a:pt x="432" y="2388"/>
                  <a:pt x="432" y="2388"/>
                  <a:pt x="432" y="2388"/>
                </a:cubicBezTo>
                <a:cubicBezTo>
                  <a:pt x="432" y="2388"/>
                  <a:pt x="432" y="2380"/>
                  <a:pt x="424" y="2372"/>
                </a:cubicBezTo>
                <a:cubicBezTo>
                  <a:pt x="424" y="2372"/>
                  <a:pt x="424" y="2372"/>
                  <a:pt x="424" y="2380"/>
                </a:cubicBezTo>
                <a:cubicBezTo>
                  <a:pt x="409" y="2364"/>
                  <a:pt x="409" y="2356"/>
                  <a:pt x="401" y="2348"/>
                </a:cubicBezTo>
                <a:cubicBezTo>
                  <a:pt x="401" y="2348"/>
                  <a:pt x="401" y="2348"/>
                  <a:pt x="393" y="2341"/>
                </a:cubicBezTo>
                <a:cubicBezTo>
                  <a:pt x="393" y="2341"/>
                  <a:pt x="393" y="2341"/>
                  <a:pt x="393" y="2341"/>
                </a:cubicBezTo>
                <a:cubicBezTo>
                  <a:pt x="393" y="2341"/>
                  <a:pt x="393" y="2341"/>
                  <a:pt x="393" y="2341"/>
                </a:cubicBezTo>
                <a:cubicBezTo>
                  <a:pt x="393" y="2341"/>
                  <a:pt x="393" y="2341"/>
                  <a:pt x="393" y="2341"/>
                </a:cubicBezTo>
                <a:cubicBezTo>
                  <a:pt x="393" y="2341"/>
                  <a:pt x="393" y="2341"/>
                  <a:pt x="393" y="2341"/>
                </a:cubicBezTo>
                <a:cubicBezTo>
                  <a:pt x="385" y="2333"/>
                  <a:pt x="385" y="2333"/>
                  <a:pt x="385" y="2333"/>
                </a:cubicBezTo>
                <a:cubicBezTo>
                  <a:pt x="377" y="2325"/>
                  <a:pt x="377" y="2317"/>
                  <a:pt x="370" y="2309"/>
                </a:cubicBezTo>
                <a:cubicBezTo>
                  <a:pt x="370" y="2309"/>
                  <a:pt x="370" y="2309"/>
                  <a:pt x="370" y="2309"/>
                </a:cubicBezTo>
                <a:cubicBezTo>
                  <a:pt x="370" y="2309"/>
                  <a:pt x="370" y="2309"/>
                  <a:pt x="370" y="2309"/>
                </a:cubicBezTo>
                <a:cubicBezTo>
                  <a:pt x="362" y="2301"/>
                  <a:pt x="354" y="2294"/>
                  <a:pt x="354" y="2286"/>
                </a:cubicBezTo>
                <a:cubicBezTo>
                  <a:pt x="346" y="2286"/>
                  <a:pt x="346" y="2286"/>
                  <a:pt x="346" y="2286"/>
                </a:cubicBezTo>
                <a:cubicBezTo>
                  <a:pt x="346" y="2286"/>
                  <a:pt x="346" y="2286"/>
                  <a:pt x="346" y="2286"/>
                </a:cubicBezTo>
                <a:cubicBezTo>
                  <a:pt x="346" y="2278"/>
                  <a:pt x="338" y="2278"/>
                  <a:pt x="338" y="2270"/>
                </a:cubicBezTo>
                <a:cubicBezTo>
                  <a:pt x="338" y="2270"/>
                  <a:pt x="338" y="2270"/>
                  <a:pt x="330" y="2270"/>
                </a:cubicBezTo>
                <a:cubicBezTo>
                  <a:pt x="330" y="2270"/>
                  <a:pt x="338" y="2270"/>
                  <a:pt x="338" y="2270"/>
                </a:cubicBezTo>
                <a:cubicBezTo>
                  <a:pt x="315" y="2247"/>
                  <a:pt x="299" y="2231"/>
                  <a:pt x="283" y="2208"/>
                </a:cubicBezTo>
                <a:cubicBezTo>
                  <a:pt x="291" y="2208"/>
                  <a:pt x="291" y="2208"/>
                  <a:pt x="291" y="2208"/>
                </a:cubicBezTo>
                <a:cubicBezTo>
                  <a:pt x="283" y="2208"/>
                  <a:pt x="291" y="2208"/>
                  <a:pt x="283" y="2208"/>
                </a:cubicBezTo>
                <a:cubicBezTo>
                  <a:pt x="283" y="2208"/>
                  <a:pt x="283" y="2208"/>
                  <a:pt x="283" y="2208"/>
                </a:cubicBezTo>
                <a:cubicBezTo>
                  <a:pt x="275" y="2200"/>
                  <a:pt x="275" y="2192"/>
                  <a:pt x="267" y="2184"/>
                </a:cubicBezTo>
                <a:cubicBezTo>
                  <a:pt x="267" y="2176"/>
                  <a:pt x="267" y="2184"/>
                  <a:pt x="267" y="2176"/>
                </a:cubicBezTo>
                <a:cubicBezTo>
                  <a:pt x="260" y="2176"/>
                  <a:pt x="260" y="2176"/>
                  <a:pt x="260" y="2176"/>
                </a:cubicBezTo>
                <a:cubicBezTo>
                  <a:pt x="260" y="2176"/>
                  <a:pt x="260" y="2176"/>
                  <a:pt x="260" y="2168"/>
                </a:cubicBezTo>
                <a:cubicBezTo>
                  <a:pt x="260" y="2168"/>
                  <a:pt x="260" y="2168"/>
                  <a:pt x="252" y="2161"/>
                </a:cubicBezTo>
                <a:cubicBezTo>
                  <a:pt x="252" y="2161"/>
                  <a:pt x="252" y="2161"/>
                  <a:pt x="260" y="2176"/>
                </a:cubicBezTo>
                <a:cubicBezTo>
                  <a:pt x="244" y="2153"/>
                  <a:pt x="220" y="2121"/>
                  <a:pt x="212" y="2106"/>
                </a:cubicBezTo>
                <a:cubicBezTo>
                  <a:pt x="212" y="2106"/>
                  <a:pt x="212" y="2106"/>
                  <a:pt x="205" y="2090"/>
                </a:cubicBezTo>
                <a:cubicBezTo>
                  <a:pt x="205" y="2090"/>
                  <a:pt x="205" y="2090"/>
                  <a:pt x="205" y="2098"/>
                </a:cubicBezTo>
                <a:cubicBezTo>
                  <a:pt x="197" y="2090"/>
                  <a:pt x="205" y="2090"/>
                  <a:pt x="197" y="2090"/>
                </a:cubicBezTo>
                <a:cubicBezTo>
                  <a:pt x="197" y="2090"/>
                  <a:pt x="197" y="2090"/>
                  <a:pt x="197" y="2082"/>
                </a:cubicBezTo>
                <a:cubicBezTo>
                  <a:pt x="189" y="2075"/>
                  <a:pt x="142" y="2020"/>
                  <a:pt x="142" y="2020"/>
                </a:cubicBezTo>
                <a:cubicBezTo>
                  <a:pt x="134" y="2012"/>
                  <a:pt x="134" y="2012"/>
                  <a:pt x="134" y="2012"/>
                </a:cubicBezTo>
                <a:cubicBezTo>
                  <a:pt x="118" y="1996"/>
                  <a:pt x="118" y="1996"/>
                  <a:pt x="103" y="1988"/>
                </a:cubicBezTo>
                <a:cubicBezTo>
                  <a:pt x="103" y="1988"/>
                  <a:pt x="103" y="1988"/>
                  <a:pt x="95" y="1981"/>
                </a:cubicBezTo>
                <a:cubicBezTo>
                  <a:pt x="95" y="1981"/>
                  <a:pt x="87" y="1973"/>
                  <a:pt x="87" y="1973"/>
                </a:cubicBezTo>
                <a:cubicBezTo>
                  <a:pt x="87" y="1973"/>
                  <a:pt x="87" y="1973"/>
                  <a:pt x="87" y="1973"/>
                </a:cubicBezTo>
                <a:cubicBezTo>
                  <a:pt x="87" y="1973"/>
                  <a:pt x="87" y="1973"/>
                  <a:pt x="87" y="1973"/>
                </a:cubicBezTo>
                <a:cubicBezTo>
                  <a:pt x="87" y="1973"/>
                  <a:pt x="87" y="1973"/>
                  <a:pt x="87" y="1973"/>
                </a:cubicBezTo>
                <a:cubicBezTo>
                  <a:pt x="87" y="1973"/>
                  <a:pt x="87" y="1973"/>
                  <a:pt x="87" y="1973"/>
                </a:cubicBezTo>
                <a:cubicBezTo>
                  <a:pt x="87" y="1973"/>
                  <a:pt x="87" y="1973"/>
                  <a:pt x="87" y="1973"/>
                </a:cubicBezTo>
                <a:cubicBezTo>
                  <a:pt x="79" y="1973"/>
                  <a:pt x="79" y="1973"/>
                  <a:pt x="79" y="1973"/>
                </a:cubicBezTo>
                <a:cubicBezTo>
                  <a:pt x="79" y="1973"/>
                  <a:pt x="87" y="1973"/>
                  <a:pt x="71" y="1957"/>
                </a:cubicBezTo>
                <a:cubicBezTo>
                  <a:pt x="71" y="1957"/>
                  <a:pt x="71" y="1957"/>
                  <a:pt x="71" y="1965"/>
                </a:cubicBezTo>
                <a:cubicBezTo>
                  <a:pt x="71" y="1965"/>
                  <a:pt x="71" y="1965"/>
                  <a:pt x="55" y="1957"/>
                </a:cubicBezTo>
                <a:cubicBezTo>
                  <a:pt x="55" y="1957"/>
                  <a:pt x="55" y="1957"/>
                  <a:pt x="63" y="1957"/>
                </a:cubicBezTo>
                <a:cubicBezTo>
                  <a:pt x="63" y="1957"/>
                  <a:pt x="63" y="1957"/>
                  <a:pt x="55" y="1957"/>
                </a:cubicBezTo>
                <a:cubicBezTo>
                  <a:pt x="55" y="1957"/>
                  <a:pt x="55" y="1957"/>
                  <a:pt x="48" y="1957"/>
                </a:cubicBezTo>
                <a:cubicBezTo>
                  <a:pt x="40" y="1957"/>
                  <a:pt x="40" y="1957"/>
                  <a:pt x="40" y="1957"/>
                </a:cubicBezTo>
                <a:cubicBezTo>
                  <a:pt x="40" y="1957"/>
                  <a:pt x="40" y="1957"/>
                  <a:pt x="55" y="1965"/>
                </a:cubicBezTo>
                <a:cubicBezTo>
                  <a:pt x="55" y="1965"/>
                  <a:pt x="55" y="1973"/>
                  <a:pt x="55" y="1965"/>
                </a:cubicBezTo>
                <a:cubicBezTo>
                  <a:pt x="55" y="1973"/>
                  <a:pt x="55" y="1973"/>
                  <a:pt x="55" y="1973"/>
                </a:cubicBezTo>
                <a:cubicBezTo>
                  <a:pt x="55" y="1973"/>
                  <a:pt x="55" y="1973"/>
                  <a:pt x="55" y="1973"/>
                </a:cubicBezTo>
                <a:cubicBezTo>
                  <a:pt x="55" y="1973"/>
                  <a:pt x="55" y="1973"/>
                  <a:pt x="48" y="1973"/>
                </a:cubicBezTo>
                <a:cubicBezTo>
                  <a:pt x="55" y="1973"/>
                  <a:pt x="55" y="1973"/>
                  <a:pt x="55" y="1973"/>
                </a:cubicBezTo>
                <a:cubicBezTo>
                  <a:pt x="71" y="1981"/>
                  <a:pt x="71" y="1981"/>
                  <a:pt x="71" y="1988"/>
                </a:cubicBezTo>
                <a:cubicBezTo>
                  <a:pt x="71" y="1988"/>
                  <a:pt x="71" y="1988"/>
                  <a:pt x="71" y="1988"/>
                </a:cubicBezTo>
                <a:cubicBezTo>
                  <a:pt x="71" y="1981"/>
                  <a:pt x="71" y="1981"/>
                  <a:pt x="63" y="1973"/>
                </a:cubicBezTo>
                <a:cubicBezTo>
                  <a:pt x="71" y="1981"/>
                  <a:pt x="71" y="1981"/>
                  <a:pt x="71" y="1981"/>
                </a:cubicBezTo>
                <a:cubicBezTo>
                  <a:pt x="71" y="1981"/>
                  <a:pt x="71" y="1981"/>
                  <a:pt x="71" y="1981"/>
                </a:cubicBezTo>
                <a:cubicBezTo>
                  <a:pt x="71" y="1981"/>
                  <a:pt x="71" y="1981"/>
                  <a:pt x="71" y="1981"/>
                </a:cubicBezTo>
                <a:cubicBezTo>
                  <a:pt x="79" y="1981"/>
                  <a:pt x="79" y="1981"/>
                  <a:pt x="87" y="1988"/>
                </a:cubicBezTo>
                <a:cubicBezTo>
                  <a:pt x="87" y="1988"/>
                  <a:pt x="87" y="1988"/>
                  <a:pt x="87" y="1988"/>
                </a:cubicBezTo>
                <a:cubicBezTo>
                  <a:pt x="87" y="1988"/>
                  <a:pt x="87" y="1988"/>
                  <a:pt x="103" y="1996"/>
                </a:cubicBezTo>
                <a:cubicBezTo>
                  <a:pt x="103" y="2004"/>
                  <a:pt x="103" y="1996"/>
                  <a:pt x="103" y="2004"/>
                </a:cubicBezTo>
                <a:cubicBezTo>
                  <a:pt x="95" y="2004"/>
                  <a:pt x="95" y="2004"/>
                  <a:pt x="95" y="1996"/>
                </a:cubicBezTo>
                <a:cubicBezTo>
                  <a:pt x="87" y="1996"/>
                  <a:pt x="87" y="1988"/>
                  <a:pt x="71" y="1988"/>
                </a:cubicBezTo>
                <a:cubicBezTo>
                  <a:pt x="79" y="1988"/>
                  <a:pt x="87" y="1996"/>
                  <a:pt x="79" y="1996"/>
                </a:cubicBezTo>
                <a:cubicBezTo>
                  <a:pt x="79" y="1996"/>
                  <a:pt x="79" y="1996"/>
                  <a:pt x="71" y="1996"/>
                </a:cubicBezTo>
                <a:cubicBezTo>
                  <a:pt x="87" y="2004"/>
                  <a:pt x="103" y="2020"/>
                  <a:pt x="118" y="2035"/>
                </a:cubicBezTo>
                <a:cubicBezTo>
                  <a:pt x="126" y="2043"/>
                  <a:pt x="126" y="2043"/>
                  <a:pt x="134" y="2043"/>
                </a:cubicBezTo>
                <a:cubicBezTo>
                  <a:pt x="134" y="2043"/>
                  <a:pt x="134" y="2051"/>
                  <a:pt x="134" y="2051"/>
                </a:cubicBezTo>
                <a:cubicBezTo>
                  <a:pt x="134" y="2051"/>
                  <a:pt x="134" y="2051"/>
                  <a:pt x="134" y="2043"/>
                </a:cubicBezTo>
                <a:cubicBezTo>
                  <a:pt x="134" y="2043"/>
                  <a:pt x="134" y="2043"/>
                  <a:pt x="142" y="2051"/>
                </a:cubicBezTo>
                <a:cubicBezTo>
                  <a:pt x="142" y="2051"/>
                  <a:pt x="134" y="2051"/>
                  <a:pt x="134" y="2051"/>
                </a:cubicBezTo>
                <a:cubicBezTo>
                  <a:pt x="142" y="2051"/>
                  <a:pt x="142" y="2051"/>
                  <a:pt x="142" y="2051"/>
                </a:cubicBezTo>
                <a:cubicBezTo>
                  <a:pt x="142" y="2051"/>
                  <a:pt x="142" y="2051"/>
                  <a:pt x="142" y="2059"/>
                </a:cubicBezTo>
                <a:cubicBezTo>
                  <a:pt x="134" y="2051"/>
                  <a:pt x="142" y="2059"/>
                  <a:pt x="134" y="2051"/>
                </a:cubicBezTo>
                <a:cubicBezTo>
                  <a:pt x="134" y="2051"/>
                  <a:pt x="142" y="2059"/>
                  <a:pt x="150" y="2067"/>
                </a:cubicBezTo>
                <a:cubicBezTo>
                  <a:pt x="150" y="2075"/>
                  <a:pt x="150" y="2075"/>
                  <a:pt x="150" y="2075"/>
                </a:cubicBezTo>
                <a:cubicBezTo>
                  <a:pt x="134" y="2059"/>
                  <a:pt x="95" y="2012"/>
                  <a:pt x="87" y="2012"/>
                </a:cubicBezTo>
                <a:cubicBezTo>
                  <a:pt x="87" y="2004"/>
                  <a:pt x="87" y="2012"/>
                  <a:pt x="87" y="2004"/>
                </a:cubicBezTo>
                <a:cubicBezTo>
                  <a:pt x="79" y="1996"/>
                  <a:pt x="71" y="1996"/>
                  <a:pt x="71" y="1996"/>
                </a:cubicBezTo>
                <a:cubicBezTo>
                  <a:pt x="63" y="1988"/>
                  <a:pt x="55" y="1988"/>
                  <a:pt x="55" y="1988"/>
                </a:cubicBezTo>
                <a:cubicBezTo>
                  <a:pt x="55" y="1988"/>
                  <a:pt x="55" y="1988"/>
                  <a:pt x="48" y="1981"/>
                </a:cubicBezTo>
                <a:cubicBezTo>
                  <a:pt x="48" y="1981"/>
                  <a:pt x="48" y="1981"/>
                  <a:pt x="55" y="1988"/>
                </a:cubicBezTo>
                <a:cubicBezTo>
                  <a:pt x="55" y="1988"/>
                  <a:pt x="55" y="1981"/>
                  <a:pt x="48" y="1981"/>
                </a:cubicBezTo>
                <a:cubicBezTo>
                  <a:pt x="48" y="1981"/>
                  <a:pt x="48" y="1981"/>
                  <a:pt x="48" y="1981"/>
                </a:cubicBezTo>
                <a:cubicBezTo>
                  <a:pt x="48" y="1981"/>
                  <a:pt x="48" y="1981"/>
                  <a:pt x="48" y="1981"/>
                </a:cubicBezTo>
                <a:cubicBezTo>
                  <a:pt x="48" y="1981"/>
                  <a:pt x="48" y="1981"/>
                  <a:pt x="48" y="1981"/>
                </a:cubicBezTo>
                <a:cubicBezTo>
                  <a:pt x="40" y="1981"/>
                  <a:pt x="40" y="1981"/>
                  <a:pt x="40" y="1973"/>
                </a:cubicBezTo>
                <a:cubicBezTo>
                  <a:pt x="40" y="1973"/>
                  <a:pt x="40" y="1973"/>
                  <a:pt x="32" y="1973"/>
                </a:cubicBezTo>
                <a:cubicBezTo>
                  <a:pt x="32" y="1973"/>
                  <a:pt x="40" y="1981"/>
                  <a:pt x="40" y="1981"/>
                </a:cubicBezTo>
                <a:cubicBezTo>
                  <a:pt x="40" y="1981"/>
                  <a:pt x="40" y="1981"/>
                  <a:pt x="40" y="1981"/>
                </a:cubicBezTo>
                <a:cubicBezTo>
                  <a:pt x="40" y="1981"/>
                  <a:pt x="40" y="1981"/>
                  <a:pt x="40" y="1981"/>
                </a:cubicBezTo>
                <a:cubicBezTo>
                  <a:pt x="48" y="1981"/>
                  <a:pt x="48" y="1988"/>
                  <a:pt x="48" y="1988"/>
                </a:cubicBezTo>
                <a:cubicBezTo>
                  <a:pt x="48" y="1988"/>
                  <a:pt x="48" y="1988"/>
                  <a:pt x="55" y="1988"/>
                </a:cubicBezTo>
                <a:cubicBezTo>
                  <a:pt x="55" y="1988"/>
                  <a:pt x="55" y="1988"/>
                  <a:pt x="55" y="1988"/>
                </a:cubicBezTo>
                <a:cubicBezTo>
                  <a:pt x="55" y="1988"/>
                  <a:pt x="55" y="1996"/>
                  <a:pt x="63" y="1996"/>
                </a:cubicBezTo>
                <a:cubicBezTo>
                  <a:pt x="63" y="1996"/>
                  <a:pt x="63" y="1996"/>
                  <a:pt x="63" y="1996"/>
                </a:cubicBezTo>
                <a:cubicBezTo>
                  <a:pt x="63" y="1996"/>
                  <a:pt x="71" y="2004"/>
                  <a:pt x="71" y="2004"/>
                </a:cubicBezTo>
                <a:cubicBezTo>
                  <a:pt x="79" y="2012"/>
                  <a:pt x="71" y="2004"/>
                  <a:pt x="71" y="1996"/>
                </a:cubicBezTo>
                <a:cubicBezTo>
                  <a:pt x="71" y="2004"/>
                  <a:pt x="71" y="1996"/>
                  <a:pt x="79" y="2004"/>
                </a:cubicBezTo>
                <a:cubicBezTo>
                  <a:pt x="79" y="2004"/>
                  <a:pt x="79" y="2004"/>
                  <a:pt x="79" y="2012"/>
                </a:cubicBezTo>
                <a:cubicBezTo>
                  <a:pt x="79" y="2012"/>
                  <a:pt x="79" y="2012"/>
                  <a:pt x="79" y="2012"/>
                </a:cubicBezTo>
                <a:cubicBezTo>
                  <a:pt x="79" y="2012"/>
                  <a:pt x="79" y="2012"/>
                  <a:pt x="71" y="2004"/>
                </a:cubicBezTo>
                <a:cubicBezTo>
                  <a:pt x="71" y="2004"/>
                  <a:pt x="71" y="2004"/>
                  <a:pt x="63" y="2004"/>
                </a:cubicBezTo>
                <a:cubicBezTo>
                  <a:pt x="63" y="2004"/>
                  <a:pt x="63" y="2004"/>
                  <a:pt x="71" y="2012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63" y="2012"/>
                  <a:pt x="63" y="2004"/>
                  <a:pt x="63" y="2004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71" y="2012"/>
                  <a:pt x="71" y="2012"/>
                  <a:pt x="71" y="2012"/>
                </a:cubicBezTo>
                <a:cubicBezTo>
                  <a:pt x="71" y="2012"/>
                  <a:pt x="79" y="2012"/>
                  <a:pt x="79" y="2012"/>
                </a:cubicBezTo>
                <a:cubicBezTo>
                  <a:pt x="79" y="2012"/>
                  <a:pt x="79" y="2012"/>
                  <a:pt x="79" y="2012"/>
                </a:cubicBezTo>
                <a:cubicBezTo>
                  <a:pt x="79" y="2012"/>
                  <a:pt x="79" y="2012"/>
                  <a:pt x="87" y="2020"/>
                </a:cubicBezTo>
                <a:cubicBezTo>
                  <a:pt x="87" y="2020"/>
                  <a:pt x="87" y="2020"/>
                  <a:pt x="87" y="2020"/>
                </a:cubicBezTo>
                <a:cubicBezTo>
                  <a:pt x="87" y="2020"/>
                  <a:pt x="87" y="2020"/>
                  <a:pt x="87" y="2020"/>
                </a:cubicBezTo>
                <a:cubicBezTo>
                  <a:pt x="87" y="2020"/>
                  <a:pt x="87" y="2020"/>
                  <a:pt x="87" y="2020"/>
                </a:cubicBezTo>
                <a:cubicBezTo>
                  <a:pt x="87" y="2020"/>
                  <a:pt x="87" y="2020"/>
                  <a:pt x="87" y="2020"/>
                </a:cubicBezTo>
                <a:cubicBezTo>
                  <a:pt x="87" y="2020"/>
                  <a:pt x="87" y="2020"/>
                  <a:pt x="87" y="2028"/>
                </a:cubicBezTo>
                <a:cubicBezTo>
                  <a:pt x="87" y="2028"/>
                  <a:pt x="87" y="2028"/>
                  <a:pt x="95" y="2028"/>
                </a:cubicBezTo>
                <a:cubicBezTo>
                  <a:pt x="95" y="2028"/>
                  <a:pt x="95" y="2028"/>
                  <a:pt x="110" y="2043"/>
                </a:cubicBezTo>
                <a:cubicBezTo>
                  <a:pt x="118" y="2051"/>
                  <a:pt x="126" y="2059"/>
                  <a:pt x="126" y="2059"/>
                </a:cubicBezTo>
                <a:cubicBezTo>
                  <a:pt x="126" y="2059"/>
                  <a:pt x="126" y="2059"/>
                  <a:pt x="134" y="2067"/>
                </a:cubicBezTo>
                <a:cubicBezTo>
                  <a:pt x="126" y="2067"/>
                  <a:pt x="142" y="2090"/>
                  <a:pt x="150" y="2098"/>
                </a:cubicBezTo>
                <a:cubicBezTo>
                  <a:pt x="142" y="2090"/>
                  <a:pt x="134" y="2082"/>
                  <a:pt x="126" y="2075"/>
                </a:cubicBezTo>
                <a:cubicBezTo>
                  <a:pt x="126" y="2075"/>
                  <a:pt x="126" y="2075"/>
                  <a:pt x="134" y="2075"/>
                </a:cubicBezTo>
                <a:cubicBezTo>
                  <a:pt x="134" y="2075"/>
                  <a:pt x="134" y="2075"/>
                  <a:pt x="126" y="2067"/>
                </a:cubicBezTo>
                <a:cubicBezTo>
                  <a:pt x="126" y="2067"/>
                  <a:pt x="118" y="2067"/>
                  <a:pt x="118" y="2059"/>
                </a:cubicBezTo>
                <a:cubicBezTo>
                  <a:pt x="110" y="2059"/>
                  <a:pt x="103" y="2043"/>
                  <a:pt x="95" y="2035"/>
                </a:cubicBezTo>
                <a:cubicBezTo>
                  <a:pt x="87" y="2035"/>
                  <a:pt x="87" y="2035"/>
                  <a:pt x="87" y="2028"/>
                </a:cubicBezTo>
                <a:cubicBezTo>
                  <a:pt x="79" y="2028"/>
                  <a:pt x="79" y="2028"/>
                  <a:pt x="79" y="2028"/>
                </a:cubicBezTo>
                <a:cubicBezTo>
                  <a:pt x="79" y="2035"/>
                  <a:pt x="87" y="2035"/>
                  <a:pt x="87" y="2043"/>
                </a:cubicBezTo>
                <a:cubicBezTo>
                  <a:pt x="87" y="2043"/>
                  <a:pt x="87" y="2035"/>
                  <a:pt x="79" y="2035"/>
                </a:cubicBezTo>
                <a:cubicBezTo>
                  <a:pt x="79" y="2035"/>
                  <a:pt x="87" y="2043"/>
                  <a:pt x="87" y="2043"/>
                </a:cubicBezTo>
                <a:cubicBezTo>
                  <a:pt x="87" y="2043"/>
                  <a:pt x="87" y="2043"/>
                  <a:pt x="95" y="2043"/>
                </a:cubicBezTo>
                <a:cubicBezTo>
                  <a:pt x="95" y="2051"/>
                  <a:pt x="95" y="2051"/>
                  <a:pt x="103" y="2059"/>
                </a:cubicBezTo>
                <a:cubicBezTo>
                  <a:pt x="103" y="2059"/>
                  <a:pt x="103" y="2059"/>
                  <a:pt x="103" y="2059"/>
                </a:cubicBezTo>
                <a:cubicBezTo>
                  <a:pt x="103" y="2059"/>
                  <a:pt x="103" y="2059"/>
                  <a:pt x="103" y="2059"/>
                </a:cubicBezTo>
                <a:cubicBezTo>
                  <a:pt x="103" y="2059"/>
                  <a:pt x="103" y="2059"/>
                  <a:pt x="103" y="2059"/>
                </a:cubicBezTo>
                <a:cubicBezTo>
                  <a:pt x="134" y="2098"/>
                  <a:pt x="173" y="2137"/>
                  <a:pt x="189" y="2161"/>
                </a:cubicBezTo>
                <a:cubicBezTo>
                  <a:pt x="181" y="2153"/>
                  <a:pt x="189" y="2161"/>
                  <a:pt x="173" y="2145"/>
                </a:cubicBezTo>
                <a:cubicBezTo>
                  <a:pt x="173" y="2145"/>
                  <a:pt x="173" y="2145"/>
                  <a:pt x="181" y="2153"/>
                </a:cubicBezTo>
                <a:cubicBezTo>
                  <a:pt x="173" y="2153"/>
                  <a:pt x="173" y="2145"/>
                  <a:pt x="165" y="2137"/>
                </a:cubicBezTo>
                <a:cubicBezTo>
                  <a:pt x="165" y="2137"/>
                  <a:pt x="158" y="2129"/>
                  <a:pt x="150" y="2121"/>
                </a:cubicBezTo>
                <a:cubicBezTo>
                  <a:pt x="158" y="2121"/>
                  <a:pt x="158" y="2121"/>
                  <a:pt x="158" y="2121"/>
                </a:cubicBezTo>
                <a:cubicBezTo>
                  <a:pt x="158" y="2121"/>
                  <a:pt x="158" y="2121"/>
                  <a:pt x="150" y="2121"/>
                </a:cubicBezTo>
                <a:cubicBezTo>
                  <a:pt x="150" y="2121"/>
                  <a:pt x="150" y="2121"/>
                  <a:pt x="150" y="2121"/>
                </a:cubicBezTo>
                <a:cubicBezTo>
                  <a:pt x="150" y="2121"/>
                  <a:pt x="150" y="2121"/>
                  <a:pt x="150" y="2121"/>
                </a:cubicBezTo>
                <a:cubicBezTo>
                  <a:pt x="150" y="2121"/>
                  <a:pt x="150" y="2121"/>
                  <a:pt x="150" y="2121"/>
                </a:cubicBezTo>
                <a:cubicBezTo>
                  <a:pt x="150" y="2114"/>
                  <a:pt x="150" y="2114"/>
                  <a:pt x="150" y="2114"/>
                </a:cubicBezTo>
                <a:cubicBezTo>
                  <a:pt x="142" y="2106"/>
                  <a:pt x="134" y="2098"/>
                  <a:pt x="126" y="2098"/>
                </a:cubicBezTo>
                <a:cubicBezTo>
                  <a:pt x="126" y="2090"/>
                  <a:pt x="126" y="2090"/>
                  <a:pt x="126" y="2090"/>
                </a:cubicBezTo>
                <a:cubicBezTo>
                  <a:pt x="126" y="2090"/>
                  <a:pt x="126" y="2090"/>
                  <a:pt x="126" y="2090"/>
                </a:cubicBezTo>
                <a:cubicBezTo>
                  <a:pt x="126" y="2090"/>
                  <a:pt x="126" y="2090"/>
                  <a:pt x="126" y="2090"/>
                </a:cubicBezTo>
                <a:cubicBezTo>
                  <a:pt x="118" y="2075"/>
                  <a:pt x="118" y="2075"/>
                  <a:pt x="118" y="2075"/>
                </a:cubicBezTo>
                <a:cubicBezTo>
                  <a:pt x="118" y="2075"/>
                  <a:pt x="118" y="2075"/>
                  <a:pt x="110" y="2075"/>
                </a:cubicBezTo>
                <a:cubicBezTo>
                  <a:pt x="110" y="2075"/>
                  <a:pt x="110" y="2075"/>
                  <a:pt x="103" y="2067"/>
                </a:cubicBezTo>
                <a:cubicBezTo>
                  <a:pt x="103" y="2059"/>
                  <a:pt x="87" y="2043"/>
                  <a:pt x="79" y="2043"/>
                </a:cubicBezTo>
                <a:cubicBezTo>
                  <a:pt x="79" y="2035"/>
                  <a:pt x="79" y="2035"/>
                  <a:pt x="71" y="2035"/>
                </a:cubicBezTo>
                <a:cubicBezTo>
                  <a:pt x="71" y="2035"/>
                  <a:pt x="71" y="2035"/>
                  <a:pt x="71" y="2035"/>
                </a:cubicBezTo>
                <a:cubicBezTo>
                  <a:pt x="71" y="2035"/>
                  <a:pt x="71" y="2035"/>
                  <a:pt x="71" y="2035"/>
                </a:cubicBezTo>
                <a:cubicBezTo>
                  <a:pt x="71" y="2035"/>
                  <a:pt x="71" y="2035"/>
                  <a:pt x="71" y="2028"/>
                </a:cubicBezTo>
                <a:cubicBezTo>
                  <a:pt x="71" y="2028"/>
                  <a:pt x="71" y="2028"/>
                  <a:pt x="71" y="2028"/>
                </a:cubicBezTo>
                <a:cubicBezTo>
                  <a:pt x="63" y="2028"/>
                  <a:pt x="63" y="2028"/>
                  <a:pt x="63" y="2028"/>
                </a:cubicBezTo>
                <a:cubicBezTo>
                  <a:pt x="63" y="2035"/>
                  <a:pt x="63" y="2035"/>
                  <a:pt x="71" y="2035"/>
                </a:cubicBezTo>
                <a:cubicBezTo>
                  <a:pt x="63" y="2035"/>
                  <a:pt x="55" y="2028"/>
                  <a:pt x="55" y="2028"/>
                </a:cubicBezTo>
                <a:cubicBezTo>
                  <a:pt x="55" y="2028"/>
                  <a:pt x="55" y="2028"/>
                  <a:pt x="55" y="2028"/>
                </a:cubicBezTo>
                <a:cubicBezTo>
                  <a:pt x="55" y="2028"/>
                  <a:pt x="55" y="2028"/>
                  <a:pt x="55" y="2028"/>
                </a:cubicBezTo>
                <a:cubicBezTo>
                  <a:pt x="48" y="2020"/>
                  <a:pt x="48" y="2020"/>
                  <a:pt x="40" y="2012"/>
                </a:cubicBezTo>
                <a:cubicBezTo>
                  <a:pt x="40" y="2020"/>
                  <a:pt x="48" y="2020"/>
                  <a:pt x="55" y="2028"/>
                </a:cubicBezTo>
                <a:cubicBezTo>
                  <a:pt x="55" y="2028"/>
                  <a:pt x="55" y="2028"/>
                  <a:pt x="55" y="2028"/>
                </a:cubicBezTo>
                <a:cubicBezTo>
                  <a:pt x="55" y="2028"/>
                  <a:pt x="55" y="2028"/>
                  <a:pt x="55" y="2028"/>
                </a:cubicBezTo>
                <a:cubicBezTo>
                  <a:pt x="55" y="2035"/>
                  <a:pt x="63" y="2035"/>
                  <a:pt x="63" y="2035"/>
                </a:cubicBezTo>
                <a:cubicBezTo>
                  <a:pt x="63" y="2043"/>
                  <a:pt x="63" y="2043"/>
                  <a:pt x="63" y="2043"/>
                </a:cubicBezTo>
                <a:cubicBezTo>
                  <a:pt x="63" y="2035"/>
                  <a:pt x="55" y="2035"/>
                  <a:pt x="55" y="2028"/>
                </a:cubicBezTo>
                <a:cubicBezTo>
                  <a:pt x="55" y="2035"/>
                  <a:pt x="55" y="2043"/>
                  <a:pt x="55" y="2035"/>
                </a:cubicBezTo>
                <a:cubicBezTo>
                  <a:pt x="55" y="2035"/>
                  <a:pt x="55" y="2035"/>
                  <a:pt x="55" y="2043"/>
                </a:cubicBezTo>
                <a:cubicBezTo>
                  <a:pt x="71" y="2043"/>
                  <a:pt x="71" y="2051"/>
                  <a:pt x="71" y="2051"/>
                </a:cubicBezTo>
                <a:cubicBezTo>
                  <a:pt x="71" y="2051"/>
                  <a:pt x="71" y="2051"/>
                  <a:pt x="71" y="2051"/>
                </a:cubicBezTo>
                <a:cubicBezTo>
                  <a:pt x="79" y="2059"/>
                  <a:pt x="103" y="2075"/>
                  <a:pt x="103" y="2075"/>
                </a:cubicBezTo>
                <a:cubicBezTo>
                  <a:pt x="118" y="2090"/>
                  <a:pt x="118" y="2090"/>
                  <a:pt x="118" y="2090"/>
                </a:cubicBezTo>
                <a:cubicBezTo>
                  <a:pt x="118" y="2090"/>
                  <a:pt x="118" y="2090"/>
                  <a:pt x="118" y="2090"/>
                </a:cubicBezTo>
                <a:cubicBezTo>
                  <a:pt x="126" y="2106"/>
                  <a:pt x="118" y="2106"/>
                  <a:pt x="142" y="2137"/>
                </a:cubicBezTo>
                <a:cubicBezTo>
                  <a:pt x="142" y="2129"/>
                  <a:pt x="134" y="2129"/>
                  <a:pt x="126" y="2121"/>
                </a:cubicBezTo>
                <a:cubicBezTo>
                  <a:pt x="126" y="2121"/>
                  <a:pt x="126" y="2121"/>
                  <a:pt x="126" y="2121"/>
                </a:cubicBezTo>
                <a:cubicBezTo>
                  <a:pt x="126" y="2129"/>
                  <a:pt x="126" y="2121"/>
                  <a:pt x="126" y="2129"/>
                </a:cubicBezTo>
                <a:cubicBezTo>
                  <a:pt x="134" y="2129"/>
                  <a:pt x="134" y="2129"/>
                  <a:pt x="134" y="2129"/>
                </a:cubicBezTo>
                <a:cubicBezTo>
                  <a:pt x="134" y="2137"/>
                  <a:pt x="134" y="2137"/>
                  <a:pt x="142" y="2137"/>
                </a:cubicBezTo>
                <a:cubicBezTo>
                  <a:pt x="142" y="2137"/>
                  <a:pt x="142" y="2137"/>
                  <a:pt x="142" y="2145"/>
                </a:cubicBezTo>
                <a:cubicBezTo>
                  <a:pt x="150" y="2145"/>
                  <a:pt x="150" y="2145"/>
                  <a:pt x="158" y="2153"/>
                </a:cubicBezTo>
                <a:cubicBezTo>
                  <a:pt x="158" y="2153"/>
                  <a:pt x="158" y="2153"/>
                  <a:pt x="158" y="2161"/>
                </a:cubicBezTo>
                <a:cubicBezTo>
                  <a:pt x="158" y="2161"/>
                  <a:pt x="158" y="2168"/>
                  <a:pt x="158" y="2168"/>
                </a:cubicBezTo>
                <a:cubicBezTo>
                  <a:pt x="158" y="2168"/>
                  <a:pt x="158" y="2168"/>
                  <a:pt x="158" y="2168"/>
                </a:cubicBezTo>
                <a:cubicBezTo>
                  <a:pt x="158" y="2168"/>
                  <a:pt x="158" y="2168"/>
                  <a:pt x="158" y="2168"/>
                </a:cubicBezTo>
                <a:cubicBezTo>
                  <a:pt x="165" y="2184"/>
                  <a:pt x="181" y="2200"/>
                  <a:pt x="189" y="2208"/>
                </a:cubicBezTo>
                <a:cubicBezTo>
                  <a:pt x="189" y="2208"/>
                  <a:pt x="189" y="2208"/>
                  <a:pt x="189" y="2208"/>
                </a:cubicBezTo>
                <a:cubicBezTo>
                  <a:pt x="189" y="2208"/>
                  <a:pt x="189" y="2208"/>
                  <a:pt x="197" y="2215"/>
                </a:cubicBezTo>
                <a:cubicBezTo>
                  <a:pt x="197" y="2223"/>
                  <a:pt x="197" y="2223"/>
                  <a:pt x="205" y="2223"/>
                </a:cubicBezTo>
                <a:cubicBezTo>
                  <a:pt x="205" y="2223"/>
                  <a:pt x="205" y="2223"/>
                  <a:pt x="205" y="2223"/>
                </a:cubicBezTo>
                <a:cubicBezTo>
                  <a:pt x="197" y="2223"/>
                  <a:pt x="197" y="2223"/>
                  <a:pt x="197" y="2215"/>
                </a:cubicBezTo>
                <a:cubicBezTo>
                  <a:pt x="197" y="2223"/>
                  <a:pt x="197" y="2223"/>
                  <a:pt x="197" y="2223"/>
                </a:cubicBezTo>
                <a:cubicBezTo>
                  <a:pt x="197" y="2223"/>
                  <a:pt x="197" y="2215"/>
                  <a:pt x="197" y="2215"/>
                </a:cubicBezTo>
                <a:cubicBezTo>
                  <a:pt x="197" y="2215"/>
                  <a:pt x="197" y="2215"/>
                  <a:pt x="197" y="2215"/>
                </a:cubicBezTo>
                <a:cubicBezTo>
                  <a:pt x="197" y="2215"/>
                  <a:pt x="197" y="2215"/>
                  <a:pt x="197" y="2215"/>
                </a:cubicBezTo>
                <a:cubicBezTo>
                  <a:pt x="197" y="2215"/>
                  <a:pt x="197" y="2215"/>
                  <a:pt x="197" y="2215"/>
                </a:cubicBezTo>
                <a:cubicBezTo>
                  <a:pt x="197" y="2215"/>
                  <a:pt x="197" y="2215"/>
                  <a:pt x="197" y="2215"/>
                </a:cubicBezTo>
                <a:cubicBezTo>
                  <a:pt x="197" y="2215"/>
                  <a:pt x="197" y="2215"/>
                  <a:pt x="205" y="2231"/>
                </a:cubicBezTo>
                <a:cubicBezTo>
                  <a:pt x="205" y="2223"/>
                  <a:pt x="205" y="2223"/>
                  <a:pt x="205" y="2223"/>
                </a:cubicBezTo>
                <a:cubicBezTo>
                  <a:pt x="205" y="2223"/>
                  <a:pt x="205" y="2223"/>
                  <a:pt x="197" y="2208"/>
                </a:cubicBezTo>
                <a:cubicBezTo>
                  <a:pt x="205" y="2215"/>
                  <a:pt x="212" y="2215"/>
                  <a:pt x="212" y="2231"/>
                </a:cubicBezTo>
                <a:cubicBezTo>
                  <a:pt x="212" y="2231"/>
                  <a:pt x="212" y="2231"/>
                  <a:pt x="212" y="2223"/>
                </a:cubicBezTo>
                <a:cubicBezTo>
                  <a:pt x="212" y="2223"/>
                  <a:pt x="212" y="2223"/>
                  <a:pt x="212" y="2239"/>
                </a:cubicBezTo>
                <a:cubicBezTo>
                  <a:pt x="212" y="2231"/>
                  <a:pt x="205" y="2223"/>
                  <a:pt x="212" y="2239"/>
                </a:cubicBezTo>
                <a:cubicBezTo>
                  <a:pt x="212" y="2239"/>
                  <a:pt x="212" y="2239"/>
                  <a:pt x="212" y="2239"/>
                </a:cubicBezTo>
                <a:cubicBezTo>
                  <a:pt x="205" y="2231"/>
                  <a:pt x="205" y="2231"/>
                  <a:pt x="205" y="2231"/>
                </a:cubicBezTo>
                <a:cubicBezTo>
                  <a:pt x="205" y="2231"/>
                  <a:pt x="205" y="2231"/>
                  <a:pt x="205" y="2231"/>
                </a:cubicBezTo>
                <a:cubicBezTo>
                  <a:pt x="205" y="2231"/>
                  <a:pt x="205" y="2231"/>
                  <a:pt x="205" y="2223"/>
                </a:cubicBezTo>
                <a:cubicBezTo>
                  <a:pt x="205" y="2223"/>
                  <a:pt x="205" y="2223"/>
                  <a:pt x="205" y="2223"/>
                </a:cubicBezTo>
                <a:cubicBezTo>
                  <a:pt x="205" y="2223"/>
                  <a:pt x="205" y="2223"/>
                  <a:pt x="205" y="2223"/>
                </a:cubicBezTo>
                <a:cubicBezTo>
                  <a:pt x="205" y="2223"/>
                  <a:pt x="205" y="2223"/>
                  <a:pt x="205" y="2231"/>
                </a:cubicBezTo>
                <a:cubicBezTo>
                  <a:pt x="205" y="2231"/>
                  <a:pt x="205" y="2231"/>
                  <a:pt x="205" y="2231"/>
                </a:cubicBezTo>
                <a:cubicBezTo>
                  <a:pt x="205" y="2239"/>
                  <a:pt x="205" y="2239"/>
                  <a:pt x="205" y="2239"/>
                </a:cubicBezTo>
                <a:cubicBezTo>
                  <a:pt x="212" y="2239"/>
                  <a:pt x="212" y="2239"/>
                  <a:pt x="212" y="2247"/>
                </a:cubicBezTo>
                <a:cubicBezTo>
                  <a:pt x="220" y="2255"/>
                  <a:pt x="212" y="2255"/>
                  <a:pt x="220" y="2255"/>
                </a:cubicBezTo>
                <a:cubicBezTo>
                  <a:pt x="220" y="2255"/>
                  <a:pt x="220" y="2255"/>
                  <a:pt x="228" y="2255"/>
                </a:cubicBezTo>
                <a:cubicBezTo>
                  <a:pt x="228" y="2255"/>
                  <a:pt x="228" y="2255"/>
                  <a:pt x="220" y="2255"/>
                </a:cubicBezTo>
                <a:cubicBezTo>
                  <a:pt x="220" y="2255"/>
                  <a:pt x="220" y="2255"/>
                  <a:pt x="228" y="2262"/>
                </a:cubicBezTo>
                <a:cubicBezTo>
                  <a:pt x="228" y="2262"/>
                  <a:pt x="228" y="2262"/>
                  <a:pt x="236" y="2270"/>
                </a:cubicBezTo>
                <a:cubicBezTo>
                  <a:pt x="236" y="2278"/>
                  <a:pt x="236" y="2270"/>
                  <a:pt x="236" y="2278"/>
                </a:cubicBezTo>
                <a:cubicBezTo>
                  <a:pt x="236" y="2278"/>
                  <a:pt x="236" y="2278"/>
                  <a:pt x="244" y="2286"/>
                </a:cubicBezTo>
                <a:cubicBezTo>
                  <a:pt x="244" y="2286"/>
                  <a:pt x="244" y="2286"/>
                  <a:pt x="252" y="2294"/>
                </a:cubicBezTo>
                <a:cubicBezTo>
                  <a:pt x="252" y="2294"/>
                  <a:pt x="252" y="2294"/>
                  <a:pt x="244" y="2294"/>
                </a:cubicBezTo>
                <a:cubicBezTo>
                  <a:pt x="260" y="2309"/>
                  <a:pt x="267" y="2325"/>
                  <a:pt x="283" y="2341"/>
                </a:cubicBezTo>
                <a:cubicBezTo>
                  <a:pt x="283" y="2341"/>
                  <a:pt x="283" y="2341"/>
                  <a:pt x="283" y="2341"/>
                </a:cubicBezTo>
                <a:cubicBezTo>
                  <a:pt x="283" y="2341"/>
                  <a:pt x="283" y="2341"/>
                  <a:pt x="283" y="2341"/>
                </a:cubicBezTo>
                <a:cubicBezTo>
                  <a:pt x="283" y="2341"/>
                  <a:pt x="283" y="2341"/>
                  <a:pt x="283" y="2348"/>
                </a:cubicBezTo>
                <a:cubicBezTo>
                  <a:pt x="291" y="2348"/>
                  <a:pt x="291" y="2348"/>
                  <a:pt x="291" y="2348"/>
                </a:cubicBezTo>
                <a:cubicBezTo>
                  <a:pt x="291" y="2348"/>
                  <a:pt x="291" y="2348"/>
                  <a:pt x="291" y="2356"/>
                </a:cubicBezTo>
                <a:cubicBezTo>
                  <a:pt x="291" y="2348"/>
                  <a:pt x="291" y="2356"/>
                  <a:pt x="291" y="2348"/>
                </a:cubicBezTo>
                <a:cubicBezTo>
                  <a:pt x="291" y="2348"/>
                  <a:pt x="291" y="2348"/>
                  <a:pt x="283" y="2341"/>
                </a:cubicBezTo>
                <a:cubicBezTo>
                  <a:pt x="283" y="2341"/>
                  <a:pt x="291" y="2348"/>
                  <a:pt x="291" y="2348"/>
                </a:cubicBezTo>
                <a:cubicBezTo>
                  <a:pt x="291" y="2348"/>
                  <a:pt x="291" y="2348"/>
                  <a:pt x="291" y="2356"/>
                </a:cubicBezTo>
                <a:cubicBezTo>
                  <a:pt x="291" y="2356"/>
                  <a:pt x="291" y="2356"/>
                  <a:pt x="299" y="2356"/>
                </a:cubicBezTo>
                <a:cubicBezTo>
                  <a:pt x="299" y="2356"/>
                  <a:pt x="299" y="2356"/>
                  <a:pt x="299" y="2356"/>
                </a:cubicBezTo>
                <a:cubicBezTo>
                  <a:pt x="299" y="2356"/>
                  <a:pt x="299" y="2356"/>
                  <a:pt x="322" y="2380"/>
                </a:cubicBezTo>
                <a:cubicBezTo>
                  <a:pt x="322" y="2380"/>
                  <a:pt x="322" y="2380"/>
                  <a:pt x="354" y="2411"/>
                </a:cubicBezTo>
                <a:cubicBezTo>
                  <a:pt x="346" y="2411"/>
                  <a:pt x="346" y="2411"/>
                  <a:pt x="346" y="2411"/>
                </a:cubicBezTo>
                <a:cubicBezTo>
                  <a:pt x="354" y="2419"/>
                  <a:pt x="354" y="2419"/>
                  <a:pt x="354" y="2419"/>
                </a:cubicBezTo>
                <a:cubicBezTo>
                  <a:pt x="362" y="2427"/>
                  <a:pt x="362" y="2427"/>
                  <a:pt x="362" y="2427"/>
                </a:cubicBezTo>
                <a:cubicBezTo>
                  <a:pt x="370" y="2435"/>
                  <a:pt x="377" y="2442"/>
                  <a:pt x="385" y="2458"/>
                </a:cubicBezTo>
                <a:cubicBezTo>
                  <a:pt x="385" y="2458"/>
                  <a:pt x="385" y="2458"/>
                  <a:pt x="393" y="2466"/>
                </a:cubicBezTo>
                <a:cubicBezTo>
                  <a:pt x="393" y="2466"/>
                  <a:pt x="393" y="2466"/>
                  <a:pt x="393" y="2466"/>
                </a:cubicBezTo>
                <a:cubicBezTo>
                  <a:pt x="393" y="2466"/>
                  <a:pt x="393" y="2466"/>
                  <a:pt x="393" y="2466"/>
                </a:cubicBezTo>
                <a:cubicBezTo>
                  <a:pt x="401" y="2474"/>
                  <a:pt x="401" y="2474"/>
                  <a:pt x="409" y="2482"/>
                </a:cubicBezTo>
                <a:cubicBezTo>
                  <a:pt x="409" y="2482"/>
                  <a:pt x="409" y="2482"/>
                  <a:pt x="409" y="2482"/>
                </a:cubicBezTo>
                <a:cubicBezTo>
                  <a:pt x="409" y="2482"/>
                  <a:pt x="409" y="2482"/>
                  <a:pt x="409" y="2482"/>
                </a:cubicBezTo>
                <a:cubicBezTo>
                  <a:pt x="409" y="2482"/>
                  <a:pt x="417" y="2482"/>
                  <a:pt x="417" y="2489"/>
                </a:cubicBezTo>
                <a:cubicBezTo>
                  <a:pt x="417" y="2489"/>
                  <a:pt x="417" y="2489"/>
                  <a:pt x="417" y="2489"/>
                </a:cubicBezTo>
                <a:cubicBezTo>
                  <a:pt x="424" y="2489"/>
                  <a:pt x="424" y="2489"/>
                  <a:pt x="424" y="2489"/>
                </a:cubicBezTo>
                <a:cubicBezTo>
                  <a:pt x="424" y="2489"/>
                  <a:pt x="424" y="2489"/>
                  <a:pt x="432" y="2505"/>
                </a:cubicBezTo>
                <a:cubicBezTo>
                  <a:pt x="432" y="2505"/>
                  <a:pt x="432" y="2505"/>
                  <a:pt x="440" y="2513"/>
                </a:cubicBezTo>
                <a:cubicBezTo>
                  <a:pt x="440" y="2513"/>
                  <a:pt x="440" y="2513"/>
                  <a:pt x="440" y="2513"/>
                </a:cubicBezTo>
                <a:cubicBezTo>
                  <a:pt x="440" y="2521"/>
                  <a:pt x="440" y="2521"/>
                  <a:pt x="440" y="2521"/>
                </a:cubicBezTo>
                <a:cubicBezTo>
                  <a:pt x="440" y="2521"/>
                  <a:pt x="440" y="2521"/>
                  <a:pt x="440" y="2521"/>
                </a:cubicBezTo>
                <a:cubicBezTo>
                  <a:pt x="440" y="2521"/>
                  <a:pt x="440" y="2521"/>
                  <a:pt x="448" y="2521"/>
                </a:cubicBezTo>
                <a:cubicBezTo>
                  <a:pt x="417" y="2521"/>
                  <a:pt x="401" y="2521"/>
                  <a:pt x="440" y="2521"/>
                </a:cubicBezTo>
                <a:cubicBezTo>
                  <a:pt x="440" y="2521"/>
                  <a:pt x="440" y="2521"/>
                  <a:pt x="440" y="2521"/>
                </a:cubicBezTo>
                <a:cubicBezTo>
                  <a:pt x="448" y="2521"/>
                  <a:pt x="456" y="2521"/>
                  <a:pt x="456" y="2521"/>
                </a:cubicBezTo>
                <a:cubicBezTo>
                  <a:pt x="456" y="2521"/>
                  <a:pt x="464" y="2521"/>
                  <a:pt x="472" y="2521"/>
                </a:cubicBezTo>
                <a:cubicBezTo>
                  <a:pt x="464" y="2521"/>
                  <a:pt x="456" y="2521"/>
                  <a:pt x="448" y="2521"/>
                </a:cubicBezTo>
                <a:cubicBezTo>
                  <a:pt x="495" y="2521"/>
                  <a:pt x="527" y="2521"/>
                  <a:pt x="542" y="2521"/>
                </a:cubicBezTo>
                <a:cubicBezTo>
                  <a:pt x="558" y="2521"/>
                  <a:pt x="574" y="2521"/>
                  <a:pt x="566" y="2521"/>
                </a:cubicBezTo>
                <a:cubicBezTo>
                  <a:pt x="566" y="2521"/>
                  <a:pt x="566" y="2521"/>
                  <a:pt x="566" y="2521"/>
                </a:cubicBezTo>
                <a:cubicBezTo>
                  <a:pt x="566" y="2521"/>
                  <a:pt x="566" y="2521"/>
                  <a:pt x="566" y="2521"/>
                </a:cubicBezTo>
                <a:cubicBezTo>
                  <a:pt x="597" y="2513"/>
                  <a:pt x="597" y="2513"/>
                  <a:pt x="582" y="2513"/>
                </a:cubicBezTo>
                <a:cubicBezTo>
                  <a:pt x="582" y="2513"/>
                  <a:pt x="574" y="2513"/>
                  <a:pt x="566" y="2513"/>
                </a:cubicBezTo>
                <a:cubicBezTo>
                  <a:pt x="566" y="2513"/>
                  <a:pt x="566" y="2513"/>
                  <a:pt x="566" y="2513"/>
                </a:cubicBezTo>
                <a:cubicBezTo>
                  <a:pt x="566" y="2513"/>
                  <a:pt x="566" y="2513"/>
                  <a:pt x="574" y="2505"/>
                </a:cubicBezTo>
                <a:cubicBezTo>
                  <a:pt x="574" y="2505"/>
                  <a:pt x="582" y="2497"/>
                  <a:pt x="582" y="2489"/>
                </a:cubicBezTo>
                <a:cubicBezTo>
                  <a:pt x="589" y="2489"/>
                  <a:pt x="589" y="2489"/>
                  <a:pt x="589" y="2489"/>
                </a:cubicBezTo>
                <a:cubicBezTo>
                  <a:pt x="589" y="2489"/>
                  <a:pt x="589" y="2489"/>
                  <a:pt x="589" y="2482"/>
                </a:cubicBezTo>
                <a:cubicBezTo>
                  <a:pt x="597" y="2482"/>
                  <a:pt x="597" y="2474"/>
                  <a:pt x="597" y="2474"/>
                </a:cubicBezTo>
                <a:cubicBezTo>
                  <a:pt x="605" y="2466"/>
                  <a:pt x="597" y="2466"/>
                  <a:pt x="605" y="2458"/>
                </a:cubicBezTo>
                <a:cubicBezTo>
                  <a:pt x="605" y="2458"/>
                  <a:pt x="605" y="2458"/>
                  <a:pt x="597" y="2466"/>
                </a:cubicBezTo>
                <a:cubicBezTo>
                  <a:pt x="597" y="2466"/>
                  <a:pt x="605" y="2450"/>
                  <a:pt x="613" y="2442"/>
                </a:cubicBezTo>
                <a:cubicBezTo>
                  <a:pt x="613" y="2442"/>
                  <a:pt x="613" y="2450"/>
                  <a:pt x="613" y="2450"/>
                </a:cubicBezTo>
                <a:cubicBezTo>
                  <a:pt x="613" y="2450"/>
                  <a:pt x="613" y="2450"/>
                  <a:pt x="613" y="2442"/>
                </a:cubicBezTo>
                <a:cubicBezTo>
                  <a:pt x="613" y="2442"/>
                  <a:pt x="613" y="2442"/>
                  <a:pt x="613" y="2442"/>
                </a:cubicBezTo>
                <a:cubicBezTo>
                  <a:pt x="613" y="2442"/>
                  <a:pt x="613" y="2442"/>
                  <a:pt x="613" y="2442"/>
                </a:cubicBezTo>
                <a:cubicBezTo>
                  <a:pt x="621" y="2442"/>
                  <a:pt x="621" y="2442"/>
                  <a:pt x="621" y="2442"/>
                </a:cubicBezTo>
                <a:cubicBezTo>
                  <a:pt x="621" y="2442"/>
                  <a:pt x="621" y="2442"/>
                  <a:pt x="629" y="2419"/>
                </a:cubicBezTo>
                <a:cubicBezTo>
                  <a:pt x="629" y="2419"/>
                  <a:pt x="629" y="2419"/>
                  <a:pt x="629" y="2419"/>
                </a:cubicBezTo>
                <a:cubicBezTo>
                  <a:pt x="629" y="2419"/>
                  <a:pt x="629" y="2419"/>
                  <a:pt x="636" y="2411"/>
                </a:cubicBezTo>
                <a:cubicBezTo>
                  <a:pt x="636" y="2411"/>
                  <a:pt x="636" y="2411"/>
                  <a:pt x="636" y="2411"/>
                </a:cubicBezTo>
                <a:cubicBezTo>
                  <a:pt x="636" y="2411"/>
                  <a:pt x="636" y="2403"/>
                  <a:pt x="644" y="2403"/>
                </a:cubicBezTo>
                <a:cubicBezTo>
                  <a:pt x="644" y="2403"/>
                  <a:pt x="644" y="2403"/>
                  <a:pt x="644" y="2403"/>
                </a:cubicBezTo>
                <a:cubicBezTo>
                  <a:pt x="644" y="2403"/>
                  <a:pt x="644" y="2403"/>
                  <a:pt x="644" y="2403"/>
                </a:cubicBezTo>
                <a:cubicBezTo>
                  <a:pt x="644" y="2403"/>
                  <a:pt x="644" y="2403"/>
                  <a:pt x="644" y="2403"/>
                </a:cubicBezTo>
                <a:cubicBezTo>
                  <a:pt x="644" y="2403"/>
                  <a:pt x="644" y="2403"/>
                  <a:pt x="644" y="2403"/>
                </a:cubicBezTo>
                <a:cubicBezTo>
                  <a:pt x="644" y="2403"/>
                  <a:pt x="644" y="2395"/>
                  <a:pt x="644" y="2395"/>
                </a:cubicBezTo>
                <a:cubicBezTo>
                  <a:pt x="644" y="2395"/>
                  <a:pt x="644" y="2395"/>
                  <a:pt x="644" y="2395"/>
                </a:cubicBezTo>
                <a:cubicBezTo>
                  <a:pt x="644" y="2395"/>
                  <a:pt x="644" y="2395"/>
                  <a:pt x="644" y="2395"/>
                </a:cubicBezTo>
                <a:cubicBezTo>
                  <a:pt x="644" y="2395"/>
                  <a:pt x="644" y="2395"/>
                  <a:pt x="644" y="2388"/>
                </a:cubicBezTo>
                <a:cubicBezTo>
                  <a:pt x="644" y="2388"/>
                  <a:pt x="644" y="2388"/>
                  <a:pt x="644" y="2388"/>
                </a:cubicBezTo>
                <a:cubicBezTo>
                  <a:pt x="652" y="2388"/>
                  <a:pt x="652" y="2388"/>
                  <a:pt x="652" y="2388"/>
                </a:cubicBezTo>
                <a:cubicBezTo>
                  <a:pt x="660" y="2380"/>
                  <a:pt x="660" y="2380"/>
                  <a:pt x="660" y="2380"/>
                </a:cubicBezTo>
                <a:cubicBezTo>
                  <a:pt x="660" y="2380"/>
                  <a:pt x="660" y="2380"/>
                  <a:pt x="660" y="2372"/>
                </a:cubicBezTo>
                <a:cubicBezTo>
                  <a:pt x="660" y="2372"/>
                  <a:pt x="660" y="2372"/>
                  <a:pt x="668" y="2372"/>
                </a:cubicBezTo>
                <a:cubicBezTo>
                  <a:pt x="668" y="2372"/>
                  <a:pt x="668" y="2372"/>
                  <a:pt x="660" y="2372"/>
                </a:cubicBezTo>
                <a:cubicBezTo>
                  <a:pt x="668" y="2364"/>
                  <a:pt x="676" y="2356"/>
                  <a:pt x="668" y="2356"/>
                </a:cubicBezTo>
                <a:cubicBezTo>
                  <a:pt x="668" y="2356"/>
                  <a:pt x="668" y="2356"/>
                  <a:pt x="676" y="2356"/>
                </a:cubicBezTo>
                <a:cubicBezTo>
                  <a:pt x="676" y="2348"/>
                  <a:pt x="676" y="2348"/>
                  <a:pt x="676" y="2348"/>
                </a:cubicBezTo>
                <a:cubicBezTo>
                  <a:pt x="676" y="2348"/>
                  <a:pt x="676" y="2348"/>
                  <a:pt x="676" y="2348"/>
                </a:cubicBezTo>
                <a:cubicBezTo>
                  <a:pt x="676" y="2348"/>
                  <a:pt x="684" y="2341"/>
                  <a:pt x="684" y="2341"/>
                </a:cubicBezTo>
                <a:cubicBezTo>
                  <a:pt x="684" y="2333"/>
                  <a:pt x="684" y="2333"/>
                  <a:pt x="684" y="2333"/>
                </a:cubicBezTo>
                <a:cubicBezTo>
                  <a:pt x="684" y="2325"/>
                  <a:pt x="684" y="2333"/>
                  <a:pt x="691" y="2325"/>
                </a:cubicBezTo>
                <a:cubicBezTo>
                  <a:pt x="691" y="2325"/>
                  <a:pt x="691" y="2325"/>
                  <a:pt x="684" y="2325"/>
                </a:cubicBezTo>
                <a:cubicBezTo>
                  <a:pt x="684" y="2325"/>
                  <a:pt x="684" y="2325"/>
                  <a:pt x="684" y="2325"/>
                </a:cubicBezTo>
                <a:cubicBezTo>
                  <a:pt x="691" y="2325"/>
                  <a:pt x="691" y="2325"/>
                  <a:pt x="691" y="2317"/>
                </a:cubicBezTo>
                <a:cubicBezTo>
                  <a:pt x="691" y="2317"/>
                  <a:pt x="691" y="2317"/>
                  <a:pt x="691" y="2317"/>
                </a:cubicBezTo>
                <a:cubicBezTo>
                  <a:pt x="691" y="2309"/>
                  <a:pt x="691" y="2309"/>
                  <a:pt x="691" y="2309"/>
                </a:cubicBezTo>
                <a:cubicBezTo>
                  <a:pt x="691" y="2309"/>
                  <a:pt x="699" y="2309"/>
                  <a:pt x="699" y="2309"/>
                </a:cubicBezTo>
                <a:cubicBezTo>
                  <a:pt x="699" y="2309"/>
                  <a:pt x="699" y="2309"/>
                  <a:pt x="699" y="2309"/>
                </a:cubicBezTo>
                <a:cubicBezTo>
                  <a:pt x="699" y="2309"/>
                  <a:pt x="699" y="2309"/>
                  <a:pt x="707" y="2301"/>
                </a:cubicBezTo>
                <a:cubicBezTo>
                  <a:pt x="707" y="2301"/>
                  <a:pt x="707" y="2301"/>
                  <a:pt x="707" y="2294"/>
                </a:cubicBezTo>
                <a:cubicBezTo>
                  <a:pt x="715" y="2286"/>
                  <a:pt x="715" y="2278"/>
                  <a:pt x="723" y="2270"/>
                </a:cubicBezTo>
                <a:cubicBezTo>
                  <a:pt x="731" y="2262"/>
                  <a:pt x="731" y="2255"/>
                  <a:pt x="739" y="2247"/>
                </a:cubicBezTo>
                <a:cubicBezTo>
                  <a:pt x="739" y="2247"/>
                  <a:pt x="739" y="2247"/>
                  <a:pt x="731" y="2255"/>
                </a:cubicBezTo>
                <a:cubicBezTo>
                  <a:pt x="731" y="2255"/>
                  <a:pt x="731" y="2255"/>
                  <a:pt x="731" y="2255"/>
                </a:cubicBezTo>
                <a:cubicBezTo>
                  <a:pt x="731" y="2247"/>
                  <a:pt x="731" y="2247"/>
                  <a:pt x="731" y="2247"/>
                </a:cubicBezTo>
                <a:cubicBezTo>
                  <a:pt x="731" y="2247"/>
                  <a:pt x="731" y="2247"/>
                  <a:pt x="731" y="2255"/>
                </a:cubicBezTo>
                <a:cubicBezTo>
                  <a:pt x="731" y="2255"/>
                  <a:pt x="731" y="2255"/>
                  <a:pt x="731" y="2255"/>
                </a:cubicBezTo>
                <a:cubicBezTo>
                  <a:pt x="723" y="2270"/>
                  <a:pt x="731" y="2255"/>
                  <a:pt x="715" y="2270"/>
                </a:cubicBezTo>
                <a:cubicBezTo>
                  <a:pt x="723" y="2270"/>
                  <a:pt x="723" y="2262"/>
                  <a:pt x="723" y="2262"/>
                </a:cubicBezTo>
                <a:cubicBezTo>
                  <a:pt x="723" y="2262"/>
                  <a:pt x="723" y="2262"/>
                  <a:pt x="723" y="2262"/>
                </a:cubicBezTo>
                <a:cubicBezTo>
                  <a:pt x="723" y="2262"/>
                  <a:pt x="723" y="2262"/>
                  <a:pt x="723" y="2262"/>
                </a:cubicBezTo>
                <a:cubicBezTo>
                  <a:pt x="723" y="2255"/>
                  <a:pt x="723" y="2255"/>
                  <a:pt x="731" y="2255"/>
                </a:cubicBezTo>
                <a:cubicBezTo>
                  <a:pt x="731" y="2255"/>
                  <a:pt x="731" y="2255"/>
                  <a:pt x="739" y="2231"/>
                </a:cubicBezTo>
                <a:cubicBezTo>
                  <a:pt x="739" y="2231"/>
                  <a:pt x="739" y="2231"/>
                  <a:pt x="739" y="2231"/>
                </a:cubicBezTo>
                <a:cubicBezTo>
                  <a:pt x="739" y="2231"/>
                  <a:pt x="739" y="2231"/>
                  <a:pt x="739" y="2239"/>
                </a:cubicBezTo>
                <a:cubicBezTo>
                  <a:pt x="739" y="2239"/>
                  <a:pt x="739" y="2231"/>
                  <a:pt x="746" y="2231"/>
                </a:cubicBezTo>
                <a:cubicBezTo>
                  <a:pt x="746" y="2231"/>
                  <a:pt x="746" y="2231"/>
                  <a:pt x="746" y="2223"/>
                </a:cubicBezTo>
                <a:cubicBezTo>
                  <a:pt x="746" y="2215"/>
                  <a:pt x="754" y="2215"/>
                  <a:pt x="754" y="2208"/>
                </a:cubicBezTo>
                <a:cubicBezTo>
                  <a:pt x="754" y="2208"/>
                  <a:pt x="754" y="2208"/>
                  <a:pt x="754" y="2200"/>
                </a:cubicBezTo>
                <a:cubicBezTo>
                  <a:pt x="754" y="2200"/>
                  <a:pt x="754" y="2200"/>
                  <a:pt x="762" y="2200"/>
                </a:cubicBezTo>
                <a:cubicBezTo>
                  <a:pt x="762" y="2200"/>
                  <a:pt x="754" y="2200"/>
                  <a:pt x="754" y="2200"/>
                </a:cubicBezTo>
                <a:cubicBezTo>
                  <a:pt x="754" y="2200"/>
                  <a:pt x="762" y="2200"/>
                  <a:pt x="762" y="2192"/>
                </a:cubicBezTo>
                <a:cubicBezTo>
                  <a:pt x="762" y="2192"/>
                  <a:pt x="762" y="2192"/>
                  <a:pt x="754" y="2200"/>
                </a:cubicBezTo>
                <a:cubicBezTo>
                  <a:pt x="754" y="2200"/>
                  <a:pt x="754" y="2200"/>
                  <a:pt x="754" y="2208"/>
                </a:cubicBezTo>
                <a:cubicBezTo>
                  <a:pt x="754" y="2208"/>
                  <a:pt x="754" y="2208"/>
                  <a:pt x="754" y="2208"/>
                </a:cubicBezTo>
                <a:cubicBezTo>
                  <a:pt x="754" y="2208"/>
                  <a:pt x="754" y="2208"/>
                  <a:pt x="746" y="2208"/>
                </a:cubicBezTo>
                <a:cubicBezTo>
                  <a:pt x="746" y="2208"/>
                  <a:pt x="746" y="2208"/>
                  <a:pt x="754" y="2192"/>
                </a:cubicBezTo>
                <a:cubicBezTo>
                  <a:pt x="762" y="2192"/>
                  <a:pt x="762" y="2192"/>
                  <a:pt x="762" y="2192"/>
                </a:cubicBezTo>
                <a:cubicBezTo>
                  <a:pt x="762" y="2192"/>
                  <a:pt x="762" y="2184"/>
                  <a:pt x="762" y="2192"/>
                </a:cubicBezTo>
                <a:cubicBezTo>
                  <a:pt x="762" y="2192"/>
                  <a:pt x="762" y="2192"/>
                  <a:pt x="762" y="2192"/>
                </a:cubicBezTo>
                <a:cubicBezTo>
                  <a:pt x="762" y="2192"/>
                  <a:pt x="762" y="2192"/>
                  <a:pt x="762" y="2184"/>
                </a:cubicBezTo>
                <a:cubicBezTo>
                  <a:pt x="762" y="2184"/>
                  <a:pt x="762" y="2184"/>
                  <a:pt x="762" y="2184"/>
                </a:cubicBezTo>
                <a:cubicBezTo>
                  <a:pt x="762" y="2184"/>
                  <a:pt x="762" y="2184"/>
                  <a:pt x="762" y="2176"/>
                </a:cubicBezTo>
                <a:cubicBezTo>
                  <a:pt x="762" y="2176"/>
                  <a:pt x="762" y="2176"/>
                  <a:pt x="770" y="2176"/>
                </a:cubicBezTo>
                <a:cubicBezTo>
                  <a:pt x="778" y="2161"/>
                  <a:pt x="770" y="2176"/>
                  <a:pt x="778" y="2161"/>
                </a:cubicBezTo>
                <a:cubicBezTo>
                  <a:pt x="778" y="2161"/>
                  <a:pt x="778" y="2161"/>
                  <a:pt x="778" y="2161"/>
                </a:cubicBezTo>
                <a:cubicBezTo>
                  <a:pt x="778" y="2161"/>
                  <a:pt x="770" y="2168"/>
                  <a:pt x="778" y="2161"/>
                </a:cubicBezTo>
                <a:cubicBezTo>
                  <a:pt x="778" y="2161"/>
                  <a:pt x="778" y="2161"/>
                  <a:pt x="770" y="2168"/>
                </a:cubicBezTo>
                <a:cubicBezTo>
                  <a:pt x="770" y="2161"/>
                  <a:pt x="770" y="2168"/>
                  <a:pt x="778" y="2161"/>
                </a:cubicBezTo>
                <a:cubicBezTo>
                  <a:pt x="762" y="2168"/>
                  <a:pt x="770" y="2161"/>
                  <a:pt x="762" y="2161"/>
                </a:cubicBezTo>
                <a:cubicBezTo>
                  <a:pt x="762" y="2161"/>
                  <a:pt x="762" y="2161"/>
                  <a:pt x="770" y="2153"/>
                </a:cubicBezTo>
                <a:cubicBezTo>
                  <a:pt x="770" y="2153"/>
                  <a:pt x="770" y="2161"/>
                  <a:pt x="770" y="2153"/>
                </a:cubicBezTo>
                <a:cubicBezTo>
                  <a:pt x="778" y="2153"/>
                  <a:pt x="778" y="2153"/>
                  <a:pt x="778" y="2145"/>
                </a:cubicBezTo>
                <a:cubicBezTo>
                  <a:pt x="778" y="2145"/>
                  <a:pt x="778" y="2145"/>
                  <a:pt x="778" y="2153"/>
                </a:cubicBezTo>
                <a:cubicBezTo>
                  <a:pt x="778" y="2145"/>
                  <a:pt x="794" y="2137"/>
                  <a:pt x="794" y="2137"/>
                </a:cubicBezTo>
                <a:cubicBezTo>
                  <a:pt x="794" y="2129"/>
                  <a:pt x="794" y="2137"/>
                  <a:pt x="794" y="2129"/>
                </a:cubicBezTo>
                <a:cubicBezTo>
                  <a:pt x="794" y="2129"/>
                  <a:pt x="794" y="2129"/>
                  <a:pt x="794" y="2121"/>
                </a:cubicBezTo>
                <a:cubicBezTo>
                  <a:pt x="801" y="2106"/>
                  <a:pt x="809" y="2090"/>
                  <a:pt x="809" y="2090"/>
                </a:cubicBezTo>
                <a:cubicBezTo>
                  <a:pt x="801" y="2090"/>
                  <a:pt x="801" y="2090"/>
                  <a:pt x="801" y="2090"/>
                </a:cubicBezTo>
                <a:cubicBezTo>
                  <a:pt x="801" y="2098"/>
                  <a:pt x="801" y="2098"/>
                  <a:pt x="794" y="2106"/>
                </a:cubicBezTo>
                <a:cubicBezTo>
                  <a:pt x="794" y="2106"/>
                  <a:pt x="794" y="2106"/>
                  <a:pt x="794" y="2106"/>
                </a:cubicBezTo>
                <a:cubicBezTo>
                  <a:pt x="794" y="2106"/>
                  <a:pt x="794" y="2106"/>
                  <a:pt x="809" y="2067"/>
                </a:cubicBezTo>
                <a:cubicBezTo>
                  <a:pt x="809" y="2067"/>
                  <a:pt x="809" y="2067"/>
                  <a:pt x="809" y="2075"/>
                </a:cubicBezTo>
                <a:cubicBezTo>
                  <a:pt x="809" y="2067"/>
                  <a:pt x="809" y="2059"/>
                  <a:pt x="817" y="2051"/>
                </a:cubicBezTo>
                <a:cubicBezTo>
                  <a:pt x="817" y="2043"/>
                  <a:pt x="809" y="2035"/>
                  <a:pt x="809" y="2043"/>
                </a:cubicBezTo>
                <a:cubicBezTo>
                  <a:pt x="809" y="2043"/>
                  <a:pt x="809" y="2043"/>
                  <a:pt x="809" y="2043"/>
                </a:cubicBezTo>
                <a:cubicBezTo>
                  <a:pt x="817" y="2020"/>
                  <a:pt x="825" y="1988"/>
                  <a:pt x="833" y="1957"/>
                </a:cubicBezTo>
                <a:cubicBezTo>
                  <a:pt x="833" y="1957"/>
                  <a:pt x="833" y="1957"/>
                  <a:pt x="833" y="1957"/>
                </a:cubicBezTo>
                <a:cubicBezTo>
                  <a:pt x="825" y="1973"/>
                  <a:pt x="825" y="1981"/>
                  <a:pt x="817" y="1996"/>
                </a:cubicBezTo>
                <a:close/>
                <a:moveTo>
                  <a:pt x="817" y="1973"/>
                </a:moveTo>
                <a:cubicBezTo>
                  <a:pt x="817" y="1973"/>
                  <a:pt x="817" y="1973"/>
                  <a:pt x="817" y="1973"/>
                </a:cubicBezTo>
                <a:cubicBezTo>
                  <a:pt x="817" y="1973"/>
                  <a:pt x="817" y="1973"/>
                  <a:pt x="817" y="1973"/>
                </a:cubicBezTo>
                <a:close/>
                <a:moveTo>
                  <a:pt x="448" y="2403"/>
                </a:moveTo>
                <a:cubicBezTo>
                  <a:pt x="448" y="2395"/>
                  <a:pt x="448" y="2395"/>
                  <a:pt x="448" y="2395"/>
                </a:cubicBezTo>
                <a:cubicBezTo>
                  <a:pt x="448" y="2395"/>
                  <a:pt x="448" y="2395"/>
                  <a:pt x="456" y="2403"/>
                </a:cubicBezTo>
                <a:cubicBezTo>
                  <a:pt x="456" y="2403"/>
                  <a:pt x="456" y="2403"/>
                  <a:pt x="448" y="2403"/>
                </a:cubicBezTo>
                <a:close/>
                <a:moveTo>
                  <a:pt x="440" y="2380"/>
                </a:moveTo>
                <a:cubicBezTo>
                  <a:pt x="448" y="2388"/>
                  <a:pt x="456" y="2395"/>
                  <a:pt x="456" y="2403"/>
                </a:cubicBezTo>
                <a:cubicBezTo>
                  <a:pt x="456" y="2395"/>
                  <a:pt x="448" y="2388"/>
                  <a:pt x="440" y="2380"/>
                </a:cubicBezTo>
                <a:close/>
                <a:moveTo>
                  <a:pt x="87" y="1996"/>
                </a:moveTo>
                <a:cubicBezTo>
                  <a:pt x="87" y="1996"/>
                  <a:pt x="87" y="1996"/>
                  <a:pt x="87" y="1996"/>
                </a:cubicBezTo>
                <a:cubicBezTo>
                  <a:pt x="87" y="1996"/>
                  <a:pt x="87" y="2004"/>
                  <a:pt x="95" y="2004"/>
                </a:cubicBezTo>
                <a:cubicBezTo>
                  <a:pt x="87" y="2004"/>
                  <a:pt x="87" y="2004"/>
                  <a:pt x="87" y="1996"/>
                </a:cubicBezTo>
                <a:close/>
                <a:moveTo>
                  <a:pt x="63" y="2043"/>
                </a:moveTo>
                <a:cubicBezTo>
                  <a:pt x="63" y="2043"/>
                  <a:pt x="63" y="2043"/>
                  <a:pt x="63" y="2043"/>
                </a:cubicBezTo>
                <a:cubicBezTo>
                  <a:pt x="63" y="2043"/>
                  <a:pt x="71" y="2043"/>
                  <a:pt x="71" y="2043"/>
                </a:cubicBezTo>
                <a:cubicBezTo>
                  <a:pt x="63" y="2043"/>
                  <a:pt x="63" y="2043"/>
                  <a:pt x="63" y="2043"/>
                </a:cubicBezTo>
                <a:close/>
                <a:moveTo>
                  <a:pt x="165" y="2176"/>
                </a:moveTo>
                <a:cubicBezTo>
                  <a:pt x="165" y="2176"/>
                  <a:pt x="165" y="2176"/>
                  <a:pt x="165" y="2168"/>
                </a:cubicBezTo>
                <a:cubicBezTo>
                  <a:pt x="165" y="2176"/>
                  <a:pt x="165" y="2176"/>
                  <a:pt x="173" y="2176"/>
                </a:cubicBezTo>
                <a:cubicBezTo>
                  <a:pt x="173" y="2176"/>
                  <a:pt x="173" y="2176"/>
                  <a:pt x="165" y="2176"/>
                </a:cubicBezTo>
                <a:close/>
                <a:moveTo>
                  <a:pt x="110" y="2004"/>
                </a:moveTo>
                <a:cubicBezTo>
                  <a:pt x="110" y="2004"/>
                  <a:pt x="110" y="2004"/>
                  <a:pt x="110" y="2004"/>
                </a:cubicBezTo>
                <a:cubicBezTo>
                  <a:pt x="110" y="2004"/>
                  <a:pt x="110" y="2004"/>
                  <a:pt x="103" y="2004"/>
                </a:cubicBezTo>
                <a:cubicBezTo>
                  <a:pt x="110" y="2004"/>
                  <a:pt x="110" y="2004"/>
                  <a:pt x="110" y="2004"/>
                </a:cubicBezTo>
                <a:close/>
                <a:moveTo>
                  <a:pt x="142" y="2051"/>
                </a:moveTo>
                <a:cubicBezTo>
                  <a:pt x="142" y="2043"/>
                  <a:pt x="142" y="2043"/>
                  <a:pt x="142" y="2043"/>
                </a:cubicBezTo>
                <a:cubicBezTo>
                  <a:pt x="134" y="2043"/>
                  <a:pt x="134" y="2043"/>
                  <a:pt x="126" y="2035"/>
                </a:cubicBezTo>
                <a:cubicBezTo>
                  <a:pt x="126" y="2028"/>
                  <a:pt x="118" y="2028"/>
                  <a:pt x="118" y="2020"/>
                </a:cubicBezTo>
                <a:cubicBezTo>
                  <a:pt x="110" y="2020"/>
                  <a:pt x="110" y="2020"/>
                  <a:pt x="110" y="2020"/>
                </a:cubicBezTo>
                <a:cubicBezTo>
                  <a:pt x="110" y="2020"/>
                  <a:pt x="110" y="2012"/>
                  <a:pt x="103" y="2012"/>
                </a:cubicBezTo>
                <a:cubicBezTo>
                  <a:pt x="103" y="2012"/>
                  <a:pt x="103" y="2012"/>
                  <a:pt x="118" y="2020"/>
                </a:cubicBezTo>
                <a:cubicBezTo>
                  <a:pt x="126" y="2020"/>
                  <a:pt x="134" y="2028"/>
                  <a:pt x="134" y="2028"/>
                </a:cubicBezTo>
                <a:cubicBezTo>
                  <a:pt x="126" y="2028"/>
                  <a:pt x="126" y="2028"/>
                  <a:pt x="126" y="2028"/>
                </a:cubicBezTo>
                <a:cubicBezTo>
                  <a:pt x="126" y="2028"/>
                  <a:pt x="126" y="2028"/>
                  <a:pt x="134" y="2035"/>
                </a:cubicBezTo>
                <a:cubicBezTo>
                  <a:pt x="134" y="2035"/>
                  <a:pt x="134" y="2035"/>
                  <a:pt x="134" y="2035"/>
                </a:cubicBezTo>
                <a:cubicBezTo>
                  <a:pt x="134" y="2035"/>
                  <a:pt x="134" y="2035"/>
                  <a:pt x="134" y="2035"/>
                </a:cubicBezTo>
                <a:cubicBezTo>
                  <a:pt x="142" y="2043"/>
                  <a:pt x="142" y="2043"/>
                  <a:pt x="142" y="2043"/>
                </a:cubicBezTo>
                <a:cubicBezTo>
                  <a:pt x="142" y="2043"/>
                  <a:pt x="142" y="2043"/>
                  <a:pt x="142" y="2051"/>
                </a:cubicBezTo>
                <a:cubicBezTo>
                  <a:pt x="142" y="2051"/>
                  <a:pt x="142" y="2051"/>
                  <a:pt x="150" y="2059"/>
                </a:cubicBezTo>
                <a:cubicBezTo>
                  <a:pt x="150" y="2059"/>
                  <a:pt x="150" y="2059"/>
                  <a:pt x="158" y="2059"/>
                </a:cubicBezTo>
                <a:cubicBezTo>
                  <a:pt x="150" y="2051"/>
                  <a:pt x="150" y="2051"/>
                  <a:pt x="142" y="2043"/>
                </a:cubicBezTo>
                <a:cubicBezTo>
                  <a:pt x="142" y="2043"/>
                  <a:pt x="150" y="2043"/>
                  <a:pt x="150" y="2043"/>
                </a:cubicBezTo>
                <a:cubicBezTo>
                  <a:pt x="142" y="2043"/>
                  <a:pt x="142" y="2035"/>
                  <a:pt x="142" y="2035"/>
                </a:cubicBezTo>
                <a:cubicBezTo>
                  <a:pt x="142" y="2028"/>
                  <a:pt x="142" y="2035"/>
                  <a:pt x="150" y="2043"/>
                </a:cubicBezTo>
                <a:cubicBezTo>
                  <a:pt x="158" y="2051"/>
                  <a:pt x="173" y="2075"/>
                  <a:pt x="173" y="2075"/>
                </a:cubicBezTo>
                <a:cubicBezTo>
                  <a:pt x="173" y="2075"/>
                  <a:pt x="173" y="2075"/>
                  <a:pt x="173" y="2082"/>
                </a:cubicBezTo>
                <a:cubicBezTo>
                  <a:pt x="165" y="2075"/>
                  <a:pt x="150" y="2059"/>
                  <a:pt x="142" y="2051"/>
                </a:cubicBezTo>
                <a:close/>
                <a:moveTo>
                  <a:pt x="212" y="2208"/>
                </a:moveTo>
                <a:cubicBezTo>
                  <a:pt x="205" y="2200"/>
                  <a:pt x="197" y="2184"/>
                  <a:pt x="197" y="2176"/>
                </a:cubicBezTo>
                <a:cubicBezTo>
                  <a:pt x="197" y="2176"/>
                  <a:pt x="197" y="2184"/>
                  <a:pt x="205" y="2184"/>
                </a:cubicBezTo>
                <a:cubicBezTo>
                  <a:pt x="205" y="2176"/>
                  <a:pt x="205" y="2184"/>
                  <a:pt x="205" y="2176"/>
                </a:cubicBezTo>
                <a:cubicBezTo>
                  <a:pt x="228" y="2223"/>
                  <a:pt x="385" y="2411"/>
                  <a:pt x="393" y="2427"/>
                </a:cubicBezTo>
                <a:cubicBezTo>
                  <a:pt x="362" y="2388"/>
                  <a:pt x="236" y="2239"/>
                  <a:pt x="212" y="2208"/>
                </a:cubicBezTo>
                <a:close/>
                <a:moveTo>
                  <a:pt x="393" y="2388"/>
                </a:moveTo>
                <a:cubicBezTo>
                  <a:pt x="377" y="2356"/>
                  <a:pt x="330" y="2309"/>
                  <a:pt x="315" y="2286"/>
                </a:cubicBezTo>
                <a:cubicBezTo>
                  <a:pt x="315" y="2286"/>
                  <a:pt x="315" y="2286"/>
                  <a:pt x="299" y="2270"/>
                </a:cubicBezTo>
                <a:cubicBezTo>
                  <a:pt x="267" y="2239"/>
                  <a:pt x="228" y="2168"/>
                  <a:pt x="205" y="2137"/>
                </a:cubicBezTo>
                <a:cubicBezTo>
                  <a:pt x="189" y="2121"/>
                  <a:pt x="173" y="2098"/>
                  <a:pt x="158" y="2075"/>
                </a:cubicBezTo>
                <a:cubicBezTo>
                  <a:pt x="158" y="2075"/>
                  <a:pt x="150" y="2075"/>
                  <a:pt x="150" y="2075"/>
                </a:cubicBezTo>
                <a:cubicBezTo>
                  <a:pt x="150" y="2075"/>
                  <a:pt x="150" y="2075"/>
                  <a:pt x="150" y="2075"/>
                </a:cubicBezTo>
                <a:cubicBezTo>
                  <a:pt x="173" y="2098"/>
                  <a:pt x="212" y="2153"/>
                  <a:pt x="220" y="2161"/>
                </a:cubicBezTo>
                <a:cubicBezTo>
                  <a:pt x="236" y="2192"/>
                  <a:pt x="346" y="2325"/>
                  <a:pt x="393" y="2388"/>
                </a:cubicBezTo>
                <a:cubicBezTo>
                  <a:pt x="393" y="2388"/>
                  <a:pt x="393" y="2388"/>
                  <a:pt x="393" y="2388"/>
                </a:cubicBezTo>
                <a:close/>
                <a:moveTo>
                  <a:pt x="511" y="2450"/>
                </a:moveTo>
                <a:cubicBezTo>
                  <a:pt x="519" y="2450"/>
                  <a:pt x="519" y="2450"/>
                  <a:pt x="519" y="2450"/>
                </a:cubicBezTo>
                <a:cubicBezTo>
                  <a:pt x="519" y="2450"/>
                  <a:pt x="519" y="2450"/>
                  <a:pt x="519" y="2450"/>
                </a:cubicBezTo>
                <a:cubicBezTo>
                  <a:pt x="511" y="2450"/>
                  <a:pt x="511" y="2450"/>
                  <a:pt x="511" y="2450"/>
                </a:cubicBezTo>
                <a:cubicBezTo>
                  <a:pt x="511" y="2450"/>
                  <a:pt x="511" y="2450"/>
                  <a:pt x="511" y="2450"/>
                </a:cubicBezTo>
                <a:close/>
                <a:moveTo>
                  <a:pt x="511" y="2450"/>
                </a:moveTo>
                <a:cubicBezTo>
                  <a:pt x="511" y="2450"/>
                  <a:pt x="511" y="2450"/>
                  <a:pt x="511" y="2450"/>
                </a:cubicBezTo>
                <a:cubicBezTo>
                  <a:pt x="511" y="2450"/>
                  <a:pt x="511" y="2450"/>
                  <a:pt x="511" y="2450"/>
                </a:cubicBezTo>
                <a:cubicBezTo>
                  <a:pt x="511" y="2450"/>
                  <a:pt x="511" y="2450"/>
                  <a:pt x="511" y="2450"/>
                </a:cubicBezTo>
                <a:close/>
                <a:moveTo>
                  <a:pt x="511" y="2458"/>
                </a:move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lose/>
                <a:moveTo>
                  <a:pt x="511" y="2458"/>
                </a:move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1" y="2466"/>
                  <a:pt x="511" y="2466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58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03" y="2458"/>
                  <a:pt x="511" y="2458"/>
                  <a:pt x="511" y="2458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58"/>
                  <a:pt x="511" y="2458"/>
                </a:cubicBezTo>
                <a:close/>
                <a:moveTo>
                  <a:pt x="503" y="2466"/>
                </a:moveTo>
                <a:cubicBezTo>
                  <a:pt x="503" y="2466"/>
                  <a:pt x="503" y="2458"/>
                  <a:pt x="503" y="2458"/>
                </a:cubicBezTo>
                <a:cubicBezTo>
                  <a:pt x="503" y="2458"/>
                  <a:pt x="503" y="2458"/>
                  <a:pt x="503" y="2458"/>
                </a:cubicBezTo>
                <a:cubicBezTo>
                  <a:pt x="503" y="2458"/>
                  <a:pt x="503" y="2458"/>
                  <a:pt x="503" y="2466"/>
                </a:cubicBezTo>
                <a:close/>
                <a:moveTo>
                  <a:pt x="495" y="2458"/>
                </a:move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503" y="2458"/>
                  <a:pt x="503" y="2458"/>
                  <a:pt x="503" y="2458"/>
                </a:cubicBezTo>
                <a:cubicBezTo>
                  <a:pt x="503" y="2458"/>
                  <a:pt x="503" y="2458"/>
                  <a:pt x="503" y="2458"/>
                </a:cubicBezTo>
                <a:cubicBezTo>
                  <a:pt x="503" y="2458"/>
                  <a:pt x="503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lose/>
                <a:moveTo>
                  <a:pt x="495" y="2458"/>
                </a:move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lose/>
                <a:moveTo>
                  <a:pt x="472" y="2474"/>
                </a:moveTo>
                <a:cubicBezTo>
                  <a:pt x="432" y="2427"/>
                  <a:pt x="432" y="2427"/>
                  <a:pt x="432" y="2427"/>
                </a:cubicBezTo>
                <a:cubicBezTo>
                  <a:pt x="432" y="2427"/>
                  <a:pt x="440" y="2427"/>
                  <a:pt x="440" y="2427"/>
                </a:cubicBezTo>
                <a:cubicBezTo>
                  <a:pt x="448" y="2442"/>
                  <a:pt x="456" y="2450"/>
                  <a:pt x="464" y="2466"/>
                </a:cubicBezTo>
                <a:cubicBezTo>
                  <a:pt x="464" y="2466"/>
                  <a:pt x="472" y="2466"/>
                  <a:pt x="479" y="2474"/>
                </a:cubicBezTo>
                <a:cubicBezTo>
                  <a:pt x="479" y="2474"/>
                  <a:pt x="479" y="2474"/>
                  <a:pt x="472" y="2474"/>
                </a:cubicBezTo>
                <a:close/>
                <a:moveTo>
                  <a:pt x="487" y="2489"/>
                </a:moveTo>
                <a:cubicBezTo>
                  <a:pt x="487" y="2489"/>
                  <a:pt x="487" y="2489"/>
                  <a:pt x="479" y="2489"/>
                </a:cubicBezTo>
                <a:cubicBezTo>
                  <a:pt x="479" y="2489"/>
                  <a:pt x="479" y="2489"/>
                  <a:pt x="479" y="2482"/>
                </a:cubicBezTo>
                <a:cubicBezTo>
                  <a:pt x="479" y="2482"/>
                  <a:pt x="479" y="2482"/>
                  <a:pt x="487" y="2489"/>
                </a:cubicBezTo>
                <a:cubicBezTo>
                  <a:pt x="487" y="2489"/>
                  <a:pt x="487" y="2489"/>
                  <a:pt x="487" y="2489"/>
                </a:cubicBezTo>
                <a:close/>
                <a:moveTo>
                  <a:pt x="487" y="2450"/>
                </a:moveTo>
                <a:cubicBezTo>
                  <a:pt x="487" y="2450"/>
                  <a:pt x="487" y="2450"/>
                  <a:pt x="487" y="2458"/>
                </a:cubicBezTo>
                <a:cubicBezTo>
                  <a:pt x="487" y="2458"/>
                  <a:pt x="487" y="2458"/>
                  <a:pt x="487" y="2458"/>
                </a:cubicBezTo>
                <a:cubicBezTo>
                  <a:pt x="487" y="2458"/>
                  <a:pt x="487" y="2458"/>
                  <a:pt x="487" y="2450"/>
                </a:cubicBezTo>
                <a:close/>
                <a:moveTo>
                  <a:pt x="487" y="2458"/>
                </a:moveTo>
                <a:cubicBezTo>
                  <a:pt x="487" y="2458"/>
                  <a:pt x="487" y="2458"/>
                  <a:pt x="487" y="2458"/>
                </a:cubicBezTo>
                <a:cubicBezTo>
                  <a:pt x="487" y="2458"/>
                  <a:pt x="487" y="2458"/>
                  <a:pt x="487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87" y="2458"/>
                  <a:pt x="487" y="2458"/>
                  <a:pt x="487" y="2458"/>
                </a:cubicBezTo>
                <a:close/>
                <a:moveTo>
                  <a:pt x="495" y="2466"/>
                </a:move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58"/>
                  <a:pt x="495" y="2458"/>
                  <a:pt x="495" y="2458"/>
                </a:cubicBez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66"/>
                </a:cubicBezTo>
                <a:close/>
                <a:moveTo>
                  <a:pt x="495" y="2466"/>
                </a:move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66"/>
                </a:cubicBezTo>
                <a:cubicBezTo>
                  <a:pt x="495" y="2466"/>
                  <a:pt x="495" y="2466"/>
                  <a:pt x="495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495" y="2466"/>
                  <a:pt x="495" y="2466"/>
                </a:cubicBezTo>
                <a:close/>
                <a:moveTo>
                  <a:pt x="511" y="2466"/>
                </a:moveTo>
                <a:cubicBezTo>
                  <a:pt x="511" y="2466"/>
                  <a:pt x="511" y="2466"/>
                  <a:pt x="503" y="2474"/>
                </a:cubicBezTo>
                <a:cubicBezTo>
                  <a:pt x="503" y="2474"/>
                  <a:pt x="503" y="2474"/>
                  <a:pt x="503" y="2474"/>
                </a:cubicBezTo>
                <a:cubicBezTo>
                  <a:pt x="511" y="2466"/>
                  <a:pt x="503" y="2474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03" y="2466"/>
                  <a:pt x="503" y="2466"/>
                </a:cubicBezTo>
                <a:cubicBezTo>
                  <a:pt x="503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66"/>
                </a:cubicBezTo>
                <a:cubicBezTo>
                  <a:pt x="511" y="2466"/>
                  <a:pt x="511" y="2466"/>
                  <a:pt x="511" y="2458"/>
                </a:cubicBezTo>
                <a:cubicBezTo>
                  <a:pt x="511" y="2458"/>
                  <a:pt x="511" y="2458"/>
                  <a:pt x="511" y="2458"/>
                </a:cubicBezTo>
                <a:cubicBezTo>
                  <a:pt x="511" y="2458"/>
                  <a:pt x="519" y="2458"/>
                  <a:pt x="519" y="2458"/>
                </a:cubicBezTo>
                <a:cubicBezTo>
                  <a:pt x="519" y="2466"/>
                  <a:pt x="519" y="2466"/>
                  <a:pt x="511" y="2466"/>
                </a:cubicBezTo>
                <a:close/>
                <a:moveTo>
                  <a:pt x="668" y="2223"/>
                </a:moveTo>
                <a:cubicBezTo>
                  <a:pt x="668" y="2223"/>
                  <a:pt x="668" y="2223"/>
                  <a:pt x="668" y="2223"/>
                </a:cubicBezTo>
                <a:cubicBezTo>
                  <a:pt x="668" y="2223"/>
                  <a:pt x="660" y="2223"/>
                  <a:pt x="660" y="2223"/>
                </a:cubicBezTo>
                <a:cubicBezTo>
                  <a:pt x="660" y="2223"/>
                  <a:pt x="668" y="2223"/>
                  <a:pt x="668" y="2223"/>
                </a:cubicBezTo>
                <a:close/>
                <a:moveTo>
                  <a:pt x="629" y="2427"/>
                </a:moveTo>
                <a:cubicBezTo>
                  <a:pt x="629" y="2427"/>
                  <a:pt x="629" y="2427"/>
                  <a:pt x="629" y="2419"/>
                </a:cubicBezTo>
                <a:cubicBezTo>
                  <a:pt x="629" y="2419"/>
                  <a:pt x="629" y="2419"/>
                  <a:pt x="629" y="2419"/>
                </a:cubicBezTo>
                <a:cubicBezTo>
                  <a:pt x="629" y="2419"/>
                  <a:pt x="629" y="2427"/>
                  <a:pt x="629" y="2427"/>
                </a:cubicBezTo>
                <a:close/>
                <a:moveTo>
                  <a:pt x="652" y="2380"/>
                </a:moveTo>
                <a:cubicBezTo>
                  <a:pt x="652" y="2388"/>
                  <a:pt x="652" y="2388"/>
                  <a:pt x="652" y="2388"/>
                </a:cubicBezTo>
                <a:cubicBezTo>
                  <a:pt x="652" y="2388"/>
                  <a:pt x="652" y="2388"/>
                  <a:pt x="652" y="2388"/>
                </a:cubicBezTo>
                <a:cubicBezTo>
                  <a:pt x="652" y="2380"/>
                  <a:pt x="652" y="2380"/>
                  <a:pt x="652" y="2380"/>
                </a:cubicBezTo>
                <a:cubicBezTo>
                  <a:pt x="652" y="2380"/>
                  <a:pt x="652" y="2380"/>
                  <a:pt x="652" y="2380"/>
                </a:cubicBezTo>
                <a:close/>
                <a:moveTo>
                  <a:pt x="699" y="2215"/>
                </a:moveTo>
                <a:cubicBezTo>
                  <a:pt x="699" y="2215"/>
                  <a:pt x="699" y="2215"/>
                  <a:pt x="660" y="2278"/>
                </a:cubicBezTo>
                <a:cubicBezTo>
                  <a:pt x="660" y="2286"/>
                  <a:pt x="644" y="2301"/>
                  <a:pt x="644" y="2309"/>
                </a:cubicBezTo>
                <a:cubicBezTo>
                  <a:pt x="636" y="2317"/>
                  <a:pt x="644" y="2309"/>
                  <a:pt x="636" y="2325"/>
                </a:cubicBezTo>
                <a:cubicBezTo>
                  <a:pt x="629" y="2341"/>
                  <a:pt x="597" y="2372"/>
                  <a:pt x="582" y="2411"/>
                </a:cubicBezTo>
                <a:cubicBezTo>
                  <a:pt x="566" y="2427"/>
                  <a:pt x="550" y="2442"/>
                  <a:pt x="542" y="2458"/>
                </a:cubicBezTo>
                <a:cubicBezTo>
                  <a:pt x="542" y="2466"/>
                  <a:pt x="534" y="2474"/>
                  <a:pt x="527" y="2482"/>
                </a:cubicBezTo>
                <a:cubicBezTo>
                  <a:pt x="527" y="2482"/>
                  <a:pt x="527" y="2482"/>
                  <a:pt x="527" y="2489"/>
                </a:cubicBezTo>
                <a:cubicBezTo>
                  <a:pt x="527" y="2489"/>
                  <a:pt x="527" y="2489"/>
                  <a:pt x="527" y="2482"/>
                </a:cubicBezTo>
                <a:cubicBezTo>
                  <a:pt x="527" y="2482"/>
                  <a:pt x="527" y="2482"/>
                  <a:pt x="527" y="2482"/>
                </a:cubicBezTo>
                <a:cubicBezTo>
                  <a:pt x="527" y="2482"/>
                  <a:pt x="527" y="2482"/>
                  <a:pt x="534" y="2474"/>
                </a:cubicBezTo>
                <a:cubicBezTo>
                  <a:pt x="558" y="2442"/>
                  <a:pt x="613" y="2356"/>
                  <a:pt x="621" y="2341"/>
                </a:cubicBezTo>
                <a:cubicBezTo>
                  <a:pt x="629" y="2325"/>
                  <a:pt x="644" y="2301"/>
                  <a:pt x="652" y="2286"/>
                </a:cubicBezTo>
                <a:cubicBezTo>
                  <a:pt x="652" y="2286"/>
                  <a:pt x="652" y="2286"/>
                  <a:pt x="652" y="2294"/>
                </a:cubicBezTo>
                <a:cubicBezTo>
                  <a:pt x="660" y="2278"/>
                  <a:pt x="684" y="2239"/>
                  <a:pt x="684" y="2231"/>
                </a:cubicBezTo>
                <a:cubicBezTo>
                  <a:pt x="691" y="2223"/>
                  <a:pt x="699" y="2215"/>
                  <a:pt x="699" y="2208"/>
                </a:cubicBezTo>
                <a:cubicBezTo>
                  <a:pt x="699" y="2208"/>
                  <a:pt x="699" y="2208"/>
                  <a:pt x="699" y="2215"/>
                </a:cubicBezTo>
                <a:close/>
                <a:moveTo>
                  <a:pt x="778" y="2059"/>
                </a:moveTo>
                <a:cubicBezTo>
                  <a:pt x="770" y="2067"/>
                  <a:pt x="778" y="2059"/>
                  <a:pt x="770" y="2075"/>
                </a:cubicBezTo>
                <a:cubicBezTo>
                  <a:pt x="778" y="2067"/>
                  <a:pt x="770" y="2067"/>
                  <a:pt x="778" y="2059"/>
                </a:cubicBezTo>
                <a:cubicBezTo>
                  <a:pt x="778" y="2067"/>
                  <a:pt x="770" y="2067"/>
                  <a:pt x="770" y="2075"/>
                </a:cubicBezTo>
                <a:cubicBezTo>
                  <a:pt x="770" y="2067"/>
                  <a:pt x="770" y="2059"/>
                  <a:pt x="778" y="2051"/>
                </a:cubicBezTo>
                <a:cubicBezTo>
                  <a:pt x="778" y="2051"/>
                  <a:pt x="778" y="2051"/>
                  <a:pt x="786" y="2035"/>
                </a:cubicBezTo>
                <a:cubicBezTo>
                  <a:pt x="786" y="2035"/>
                  <a:pt x="778" y="2043"/>
                  <a:pt x="778" y="2043"/>
                </a:cubicBezTo>
                <a:cubicBezTo>
                  <a:pt x="778" y="2043"/>
                  <a:pt x="778" y="2043"/>
                  <a:pt x="778" y="2051"/>
                </a:cubicBezTo>
                <a:cubicBezTo>
                  <a:pt x="778" y="2059"/>
                  <a:pt x="778" y="2059"/>
                  <a:pt x="778" y="2059"/>
                </a:cubicBezTo>
                <a:cubicBezTo>
                  <a:pt x="778" y="2059"/>
                  <a:pt x="778" y="2059"/>
                  <a:pt x="778" y="2059"/>
                </a:cubicBezTo>
                <a:close/>
                <a:moveTo>
                  <a:pt x="809" y="2051"/>
                </a:moveTo>
                <a:cubicBezTo>
                  <a:pt x="801" y="2059"/>
                  <a:pt x="801" y="2059"/>
                  <a:pt x="801" y="2067"/>
                </a:cubicBezTo>
                <a:cubicBezTo>
                  <a:pt x="801" y="2067"/>
                  <a:pt x="801" y="2059"/>
                  <a:pt x="801" y="2059"/>
                </a:cubicBezTo>
                <a:cubicBezTo>
                  <a:pt x="801" y="2059"/>
                  <a:pt x="801" y="2051"/>
                  <a:pt x="809" y="2051"/>
                </a:cubicBezTo>
                <a:cubicBezTo>
                  <a:pt x="809" y="2051"/>
                  <a:pt x="809" y="2051"/>
                  <a:pt x="809" y="2051"/>
                </a:cubicBezTo>
                <a:close/>
                <a:moveTo>
                  <a:pt x="527" y="2442"/>
                </a:moveTo>
                <a:cubicBezTo>
                  <a:pt x="527" y="2442"/>
                  <a:pt x="519" y="2450"/>
                  <a:pt x="519" y="2458"/>
                </a:cubicBezTo>
                <a:cubicBezTo>
                  <a:pt x="519" y="2450"/>
                  <a:pt x="519" y="2450"/>
                  <a:pt x="527" y="2442"/>
                </a:cubicBezTo>
                <a:close/>
                <a:moveTo>
                  <a:pt x="833" y="1957"/>
                </a:moveTo>
                <a:cubicBezTo>
                  <a:pt x="833" y="1957"/>
                  <a:pt x="833" y="1957"/>
                  <a:pt x="833" y="1957"/>
                </a:cubicBezTo>
                <a:cubicBezTo>
                  <a:pt x="833" y="1957"/>
                  <a:pt x="833" y="1949"/>
                  <a:pt x="833" y="1949"/>
                </a:cubicBezTo>
                <a:cubicBezTo>
                  <a:pt x="833" y="1949"/>
                  <a:pt x="833" y="1957"/>
                  <a:pt x="833" y="1957"/>
                </a:cubicBezTo>
                <a:close/>
                <a:moveTo>
                  <a:pt x="71" y="2028"/>
                </a:moveTo>
                <a:cubicBezTo>
                  <a:pt x="63" y="2028"/>
                  <a:pt x="63" y="2028"/>
                  <a:pt x="63" y="2028"/>
                </a:cubicBezTo>
                <a:cubicBezTo>
                  <a:pt x="63" y="2028"/>
                  <a:pt x="55" y="2028"/>
                  <a:pt x="55" y="2020"/>
                </a:cubicBezTo>
                <a:cubicBezTo>
                  <a:pt x="55" y="2028"/>
                  <a:pt x="55" y="2028"/>
                  <a:pt x="55" y="2028"/>
                </a:cubicBezTo>
                <a:cubicBezTo>
                  <a:pt x="63" y="2028"/>
                  <a:pt x="63" y="2028"/>
                  <a:pt x="71" y="2028"/>
                </a:cubicBezTo>
                <a:close/>
                <a:moveTo>
                  <a:pt x="731" y="2098"/>
                </a:moveTo>
                <a:cubicBezTo>
                  <a:pt x="731" y="2098"/>
                  <a:pt x="731" y="2098"/>
                  <a:pt x="739" y="2098"/>
                </a:cubicBezTo>
                <a:cubicBezTo>
                  <a:pt x="739" y="2098"/>
                  <a:pt x="739" y="2098"/>
                  <a:pt x="739" y="2098"/>
                </a:cubicBezTo>
                <a:cubicBezTo>
                  <a:pt x="731" y="2098"/>
                  <a:pt x="731" y="2098"/>
                  <a:pt x="731" y="2098"/>
                </a:cubicBezTo>
                <a:close/>
                <a:moveTo>
                  <a:pt x="739" y="2098"/>
                </a:moveTo>
                <a:cubicBezTo>
                  <a:pt x="739" y="2090"/>
                  <a:pt x="739" y="2090"/>
                  <a:pt x="739" y="2090"/>
                </a:cubicBezTo>
                <a:cubicBezTo>
                  <a:pt x="739" y="2090"/>
                  <a:pt x="739" y="2090"/>
                  <a:pt x="739" y="2098"/>
                </a:cubicBezTo>
                <a:close/>
                <a:moveTo>
                  <a:pt x="770" y="2020"/>
                </a:moveTo>
                <a:cubicBezTo>
                  <a:pt x="770" y="2012"/>
                  <a:pt x="770" y="2012"/>
                  <a:pt x="770" y="2012"/>
                </a:cubicBezTo>
                <a:cubicBezTo>
                  <a:pt x="770" y="2020"/>
                  <a:pt x="762" y="2020"/>
                  <a:pt x="770" y="2020"/>
                </a:cubicBezTo>
                <a:close/>
                <a:moveTo>
                  <a:pt x="739" y="2082"/>
                </a:moveTo>
                <a:cubicBezTo>
                  <a:pt x="739" y="2082"/>
                  <a:pt x="739" y="2082"/>
                  <a:pt x="739" y="2090"/>
                </a:cubicBezTo>
                <a:cubicBezTo>
                  <a:pt x="739" y="2090"/>
                  <a:pt x="739" y="2090"/>
                  <a:pt x="739" y="2090"/>
                </a:cubicBezTo>
                <a:cubicBezTo>
                  <a:pt x="739" y="2082"/>
                  <a:pt x="739" y="2082"/>
                  <a:pt x="739" y="2082"/>
                </a:cubicBezTo>
                <a:close/>
                <a:moveTo>
                  <a:pt x="691" y="2153"/>
                </a:moveTo>
                <a:cubicBezTo>
                  <a:pt x="691" y="2153"/>
                  <a:pt x="691" y="2153"/>
                  <a:pt x="699" y="2161"/>
                </a:cubicBezTo>
                <a:cubicBezTo>
                  <a:pt x="699" y="2153"/>
                  <a:pt x="707" y="2145"/>
                  <a:pt x="707" y="2145"/>
                </a:cubicBezTo>
                <a:cubicBezTo>
                  <a:pt x="699" y="2153"/>
                  <a:pt x="699" y="2161"/>
                  <a:pt x="691" y="2153"/>
                </a:cubicBezTo>
                <a:close/>
                <a:moveTo>
                  <a:pt x="731" y="2090"/>
                </a:moveTo>
                <a:cubicBezTo>
                  <a:pt x="723" y="2098"/>
                  <a:pt x="723" y="2106"/>
                  <a:pt x="723" y="2114"/>
                </a:cubicBezTo>
                <a:cubicBezTo>
                  <a:pt x="723" y="2106"/>
                  <a:pt x="723" y="2098"/>
                  <a:pt x="731" y="2090"/>
                </a:cubicBezTo>
                <a:close/>
                <a:moveTo>
                  <a:pt x="715" y="2137"/>
                </a:moveTo>
                <a:cubicBezTo>
                  <a:pt x="715" y="2137"/>
                  <a:pt x="707" y="2137"/>
                  <a:pt x="707" y="2145"/>
                </a:cubicBezTo>
                <a:cubicBezTo>
                  <a:pt x="707" y="2137"/>
                  <a:pt x="715" y="2137"/>
                  <a:pt x="715" y="2137"/>
                </a:cubicBezTo>
                <a:cubicBezTo>
                  <a:pt x="715" y="2137"/>
                  <a:pt x="715" y="2137"/>
                  <a:pt x="715" y="2137"/>
                </a:cubicBezTo>
                <a:close/>
                <a:moveTo>
                  <a:pt x="841" y="1895"/>
                </a:moveTo>
                <a:cubicBezTo>
                  <a:pt x="841" y="1895"/>
                  <a:pt x="841" y="1895"/>
                  <a:pt x="841" y="1895"/>
                </a:cubicBezTo>
                <a:cubicBezTo>
                  <a:pt x="841" y="1895"/>
                  <a:pt x="841" y="1895"/>
                  <a:pt x="841" y="1895"/>
                </a:cubicBezTo>
                <a:cubicBezTo>
                  <a:pt x="841" y="1895"/>
                  <a:pt x="841" y="1895"/>
                  <a:pt x="841" y="1895"/>
                </a:cubicBezTo>
                <a:close/>
                <a:moveTo>
                  <a:pt x="841" y="1895"/>
                </a:moveTo>
                <a:cubicBezTo>
                  <a:pt x="841" y="1895"/>
                  <a:pt x="848" y="1887"/>
                  <a:pt x="848" y="1887"/>
                </a:cubicBezTo>
                <a:cubicBezTo>
                  <a:pt x="841" y="1895"/>
                  <a:pt x="841" y="1895"/>
                  <a:pt x="841" y="1895"/>
                </a:cubicBezTo>
                <a:close/>
                <a:moveTo>
                  <a:pt x="841" y="1895"/>
                </a:moveTo>
                <a:cubicBezTo>
                  <a:pt x="841" y="1902"/>
                  <a:pt x="841" y="1902"/>
                  <a:pt x="833" y="1910"/>
                </a:cubicBezTo>
                <a:cubicBezTo>
                  <a:pt x="833" y="1902"/>
                  <a:pt x="833" y="1910"/>
                  <a:pt x="833" y="1902"/>
                </a:cubicBezTo>
                <a:cubicBezTo>
                  <a:pt x="833" y="1910"/>
                  <a:pt x="833" y="1918"/>
                  <a:pt x="833" y="1926"/>
                </a:cubicBezTo>
                <a:cubicBezTo>
                  <a:pt x="833" y="1910"/>
                  <a:pt x="833" y="1910"/>
                  <a:pt x="841" y="1895"/>
                </a:cubicBezTo>
                <a:cubicBezTo>
                  <a:pt x="841" y="1895"/>
                  <a:pt x="841" y="1895"/>
                  <a:pt x="841" y="1895"/>
                </a:cubicBezTo>
                <a:close/>
                <a:moveTo>
                  <a:pt x="841" y="1887"/>
                </a:moveTo>
                <a:cubicBezTo>
                  <a:pt x="841" y="1895"/>
                  <a:pt x="841" y="1887"/>
                  <a:pt x="841" y="1895"/>
                </a:cubicBezTo>
                <a:cubicBezTo>
                  <a:pt x="841" y="1887"/>
                  <a:pt x="841" y="1879"/>
                  <a:pt x="848" y="1871"/>
                </a:cubicBezTo>
                <a:cubicBezTo>
                  <a:pt x="848" y="1871"/>
                  <a:pt x="848" y="1871"/>
                  <a:pt x="841" y="1887"/>
                </a:cubicBezTo>
                <a:close/>
                <a:moveTo>
                  <a:pt x="833" y="1895"/>
                </a:moveTo>
                <a:cubicBezTo>
                  <a:pt x="833" y="1895"/>
                  <a:pt x="833" y="1895"/>
                  <a:pt x="833" y="1902"/>
                </a:cubicBezTo>
                <a:cubicBezTo>
                  <a:pt x="833" y="1902"/>
                  <a:pt x="833" y="1902"/>
                  <a:pt x="833" y="1895"/>
                </a:cubicBezTo>
                <a:cubicBezTo>
                  <a:pt x="833" y="1895"/>
                  <a:pt x="833" y="1895"/>
                  <a:pt x="841" y="1895"/>
                </a:cubicBezTo>
                <a:cubicBezTo>
                  <a:pt x="841" y="1895"/>
                  <a:pt x="841" y="1895"/>
                  <a:pt x="841" y="1895"/>
                </a:cubicBezTo>
                <a:cubicBezTo>
                  <a:pt x="841" y="1887"/>
                  <a:pt x="833" y="1895"/>
                  <a:pt x="833" y="1895"/>
                </a:cubicBezTo>
                <a:close/>
                <a:moveTo>
                  <a:pt x="762" y="2059"/>
                </a:moveTo>
                <a:cubicBezTo>
                  <a:pt x="762" y="2059"/>
                  <a:pt x="762" y="2059"/>
                  <a:pt x="762" y="2067"/>
                </a:cubicBezTo>
                <a:cubicBezTo>
                  <a:pt x="762" y="2067"/>
                  <a:pt x="762" y="2067"/>
                  <a:pt x="762" y="2067"/>
                </a:cubicBezTo>
                <a:cubicBezTo>
                  <a:pt x="762" y="2059"/>
                  <a:pt x="762" y="2059"/>
                  <a:pt x="762" y="2059"/>
                </a:cubicBezTo>
                <a:close/>
                <a:moveTo>
                  <a:pt x="817" y="1965"/>
                </a:moveTo>
                <a:cubicBezTo>
                  <a:pt x="817" y="1957"/>
                  <a:pt x="817" y="1941"/>
                  <a:pt x="825" y="1926"/>
                </a:cubicBezTo>
                <a:cubicBezTo>
                  <a:pt x="825" y="1926"/>
                  <a:pt x="825" y="1926"/>
                  <a:pt x="825" y="1918"/>
                </a:cubicBezTo>
                <a:cubicBezTo>
                  <a:pt x="825" y="1918"/>
                  <a:pt x="825" y="1918"/>
                  <a:pt x="809" y="1965"/>
                </a:cubicBezTo>
                <a:cubicBezTo>
                  <a:pt x="809" y="1973"/>
                  <a:pt x="809" y="1973"/>
                  <a:pt x="809" y="1973"/>
                </a:cubicBezTo>
                <a:cubicBezTo>
                  <a:pt x="809" y="1973"/>
                  <a:pt x="809" y="1973"/>
                  <a:pt x="817" y="1957"/>
                </a:cubicBezTo>
                <a:cubicBezTo>
                  <a:pt x="817" y="1957"/>
                  <a:pt x="817" y="1957"/>
                  <a:pt x="817" y="1965"/>
                </a:cubicBezTo>
                <a:close/>
                <a:moveTo>
                  <a:pt x="40" y="1973"/>
                </a:moveTo>
                <a:cubicBezTo>
                  <a:pt x="40" y="1973"/>
                  <a:pt x="48" y="1973"/>
                  <a:pt x="48" y="1981"/>
                </a:cubicBezTo>
                <a:cubicBezTo>
                  <a:pt x="48" y="1981"/>
                  <a:pt x="48" y="1973"/>
                  <a:pt x="40" y="1973"/>
                </a:cubicBezTo>
                <a:close/>
                <a:moveTo>
                  <a:pt x="770" y="2161"/>
                </a:moveTo>
                <a:cubicBezTo>
                  <a:pt x="770" y="2161"/>
                  <a:pt x="770" y="2161"/>
                  <a:pt x="770" y="2161"/>
                </a:cubicBezTo>
                <a:cubicBezTo>
                  <a:pt x="770" y="2161"/>
                  <a:pt x="770" y="2161"/>
                  <a:pt x="770" y="2161"/>
                </a:cubicBezTo>
                <a:close/>
                <a:moveTo>
                  <a:pt x="770" y="2161"/>
                </a:moveTo>
                <a:cubicBezTo>
                  <a:pt x="778" y="2153"/>
                  <a:pt x="778" y="2161"/>
                  <a:pt x="778" y="2153"/>
                </a:cubicBezTo>
                <a:cubicBezTo>
                  <a:pt x="778" y="2153"/>
                  <a:pt x="770" y="2153"/>
                  <a:pt x="770" y="2153"/>
                </a:cubicBezTo>
                <a:cubicBezTo>
                  <a:pt x="770" y="2153"/>
                  <a:pt x="770" y="2153"/>
                  <a:pt x="770" y="2161"/>
                </a:cubicBezTo>
                <a:close/>
                <a:moveTo>
                  <a:pt x="95" y="2082"/>
                </a:moveTo>
                <a:cubicBezTo>
                  <a:pt x="95" y="2082"/>
                  <a:pt x="87" y="2075"/>
                  <a:pt x="87" y="2075"/>
                </a:cubicBezTo>
                <a:cubicBezTo>
                  <a:pt x="95" y="2082"/>
                  <a:pt x="95" y="2082"/>
                  <a:pt x="95" y="2082"/>
                </a:cubicBezTo>
                <a:close/>
                <a:moveTo>
                  <a:pt x="739" y="2239"/>
                </a:moveTo>
                <a:cubicBezTo>
                  <a:pt x="739" y="2239"/>
                  <a:pt x="739" y="2239"/>
                  <a:pt x="739" y="2239"/>
                </a:cubicBezTo>
                <a:cubicBezTo>
                  <a:pt x="739" y="2239"/>
                  <a:pt x="739" y="2239"/>
                  <a:pt x="731" y="2239"/>
                </a:cubicBezTo>
                <a:cubicBezTo>
                  <a:pt x="731" y="2239"/>
                  <a:pt x="731" y="2239"/>
                  <a:pt x="739" y="2239"/>
                </a:cubicBezTo>
                <a:close/>
                <a:moveTo>
                  <a:pt x="707" y="2301"/>
                </a:moveTo>
                <a:cubicBezTo>
                  <a:pt x="707" y="2301"/>
                  <a:pt x="707" y="2301"/>
                  <a:pt x="707" y="2301"/>
                </a:cubicBezTo>
                <a:cubicBezTo>
                  <a:pt x="707" y="2301"/>
                  <a:pt x="707" y="2301"/>
                  <a:pt x="723" y="2278"/>
                </a:cubicBezTo>
                <a:cubicBezTo>
                  <a:pt x="715" y="2278"/>
                  <a:pt x="715" y="2278"/>
                  <a:pt x="715" y="2278"/>
                </a:cubicBezTo>
                <a:cubicBezTo>
                  <a:pt x="715" y="2286"/>
                  <a:pt x="715" y="2286"/>
                  <a:pt x="707" y="2294"/>
                </a:cubicBezTo>
                <a:cubicBezTo>
                  <a:pt x="707" y="2294"/>
                  <a:pt x="707" y="2294"/>
                  <a:pt x="707" y="2294"/>
                </a:cubicBezTo>
                <a:cubicBezTo>
                  <a:pt x="707" y="2294"/>
                  <a:pt x="707" y="2294"/>
                  <a:pt x="707" y="2294"/>
                </a:cubicBezTo>
                <a:cubicBezTo>
                  <a:pt x="707" y="2294"/>
                  <a:pt x="707" y="2294"/>
                  <a:pt x="707" y="2294"/>
                </a:cubicBezTo>
                <a:cubicBezTo>
                  <a:pt x="707" y="2294"/>
                  <a:pt x="715" y="2286"/>
                  <a:pt x="715" y="2286"/>
                </a:cubicBezTo>
                <a:cubicBezTo>
                  <a:pt x="715" y="2294"/>
                  <a:pt x="707" y="2294"/>
                  <a:pt x="707" y="2301"/>
                </a:cubicBezTo>
                <a:close/>
                <a:moveTo>
                  <a:pt x="707" y="2294"/>
                </a:moveTo>
                <a:cubicBezTo>
                  <a:pt x="707" y="2286"/>
                  <a:pt x="715" y="2286"/>
                  <a:pt x="715" y="2286"/>
                </a:cubicBezTo>
                <a:cubicBezTo>
                  <a:pt x="715" y="2286"/>
                  <a:pt x="715" y="2286"/>
                  <a:pt x="707" y="2294"/>
                </a:cubicBezTo>
                <a:close/>
                <a:moveTo>
                  <a:pt x="833" y="2004"/>
                </a:moveTo>
                <a:cubicBezTo>
                  <a:pt x="833" y="2012"/>
                  <a:pt x="833" y="2012"/>
                  <a:pt x="833" y="2012"/>
                </a:cubicBezTo>
                <a:cubicBezTo>
                  <a:pt x="833" y="2012"/>
                  <a:pt x="833" y="2012"/>
                  <a:pt x="833" y="2012"/>
                </a:cubicBezTo>
                <a:cubicBezTo>
                  <a:pt x="833" y="2004"/>
                  <a:pt x="833" y="2012"/>
                  <a:pt x="833" y="2004"/>
                </a:cubicBezTo>
                <a:close/>
                <a:moveTo>
                  <a:pt x="833" y="2012"/>
                </a:moveTo>
                <a:cubicBezTo>
                  <a:pt x="833" y="2012"/>
                  <a:pt x="833" y="2012"/>
                  <a:pt x="833" y="2012"/>
                </a:cubicBezTo>
                <a:cubicBezTo>
                  <a:pt x="833" y="2028"/>
                  <a:pt x="833" y="2028"/>
                  <a:pt x="833" y="2028"/>
                </a:cubicBezTo>
                <a:cubicBezTo>
                  <a:pt x="833" y="2020"/>
                  <a:pt x="833" y="2028"/>
                  <a:pt x="833" y="2012"/>
                </a:cubicBezTo>
                <a:close/>
                <a:moveTo>
                  <a:pt x="801" y="2090"/>
                </a:moveTo>
                <a:cubicBezTo>
                  <a:pt x="801" y="2090"/>
                  <a:pt x="801" y="2090"/>
                  <a:pt x="809" y="2090"/>
                </a:cubicBezTo>
                <a:cubicBezTo>
                  <a:pt x="801" y="2090"/>
                  <a:pt x="801" y="2090"/>
                  <a:pt x="801" y="2090"/>
                </a:cubicBezTo>
                <a:close/>
                <a:moveTo>
                  <a:pt x="848" y="1926"/>
                </a:moveTo>
                <a:cubicBezTo>
                  <a:pt x="848" y="1926"/>
                  <a:pt x="848" y="1926"/>
                  <a:pt x="848" y="1926"/>
                </a:cubicBezTo>
                <a:cubicBezTo>
                  <a:pt x="841" y="1926"/>
                  <a:pt x="841" y="1926"/>
                  <a:pt x="841" y="1926"/>
                </a:cubicBezTo>
                <a:cubicBezTo>
                  <a:pt x="848" y="1926"/>
                  <a:pt x="848" y="1926"/>
                  <a:pt x="848" y="1926"/>
                </a:cubicBezTo>
                <a:close/>
                <a:moveTo>
                  <a:pt x="833" y="1957"/>
                </a:moveTo>
                <a:cubicBezTo>
                  <a:pt x="833" y="1957"/>
                  <a:pt x="833" y="1957"/>
                  <a:pt x="833" y="1957"/>
                </a:cubicBezTo>
                <a:cubicBezTo>
                  <a:pt x="833" y="1957"/>
                  <a:pt x="833" y="1957"/>
                  <a:pt x="833" y="1957"/>
                </a:cubicBezTo>
                <a:cubicBezTo>
                  <a:pt x="833" y="1957"/>
                  <a:pt x="833" y="1957"/>
                  <a:pt x="833" y="1957"/>
                </a:cubicBezTo>
                <a:close/>
                <a:moveTo>
                  <a:pt x="817" y="2059"/>
                </a:moveTo>
                <a:cubicBezTo>
                  <a:pt x="817" y="2059"/>
                  <a:pt x="817" y="2059"/>
                  <a:pt x="817" y="2059"/>
                </a:cubicBezTo>
                <a:cubicBezTo>
                  <a:pt x="817" y="2059"/>
                  <a:pt x="817" y="2059"/>
                  <a:pt x="817" y="2051"/>
                </a:cubicBezTo>
                <a:cubicBezTo>
                  <a:pt x="825" y="2043"/>
                  <a:pt x="825" y="2043"/>
                  <a:pt x="825" y="2051"/>
                </a:cubicBezTo>
                <a:cubicBezTo>
                  <a:pt x="825" y="2043"/>
                  <a:pt x="825" y="2035"/>
                  <a:pt x="825" y="2035"/>
                </a:cubicBezTo>
                <a:cubicBezTo>
                  <a:pt x="833" y="2028"/>
                  <a:pt x="833" y="2028"/>
                  <a:pt x="833" y="2028"/>
                </a:cubicBezTo>
                <a:cubicBezTo>
                  <a:pt x="833" y="2028"/>
                  <a:pt x="833" y="2028"/>
                  <a:pt x="825" y="2035"/>
                </a:cubicBezTo>
                <a:cubicBezTo>
                  <a:pt x="825" y="2035"/>
                  <a:pt x="825" y="2035"/>
                  <a:pt x="825" y="2028"/>
                </a:cubicBezTo>
                <a:cubicBezTo>
                  <a:pt x="833" y="2020"/>
                  <a:pt x="825" y="2020"/>
                  <a:pt x="833" y="2012"/>
                </a:cubicBezTo>
                <a:cubicBezTo>
                  <a:pt x="833" y="2012"/>
                  <a:pt x="833" y="2012"/>
                  <a:pt x="833" y="2012"/>
                </a:cubicBezTo>
                <a:cubicBezTo>
                  <a:pt x="817" y="2028"/>
                  <a:pt x="809" y="2067"/>
                  <a:pt x="809" y="2075"/>
                </a:cubicBezTo>
                <a:cubicBezTo>
                  <a:pt x="817" y="2059"/>
                  <a:pt x="817" y="2067"/>
                  <a:pt x="817" y="2059"/>
                </a:cubicBezTo>
                <a:cubicBezTo>
                  <a:pt x="817" y="2059"/>
                  <a:pt x="817" y="2059"/>
                  <a:pt x="817" y="2059"/>
                </a:cubicBezTo>
                <a:close/>
                <a:moveTo>
                  <a:pt x="739" y="2239"/>
                </a:moveTo>
                <a:cubicBezTo>
                  <a:pt x="739" y="2239"/>
                  <a:pt x="739" y="2239"/>
                  <a:pt x="739" y="2239"/>
                </a:cubicBezTo>
                <a:cubicBezTo>
                  <a:pt x="739" y="2247"/>
                  <a:pt x="739" y="2239"/>
                  <a:pt x="739" y="2247"/>
                </a:cubicBezTo>
                <a:cubicBezTo>
                  <a:pt x="739" y="2247"/>
                  <a:pt x="739" y="2239"/>
                  <a:pt x="739" y="2239"/>
                </a:cubicBezTo>
                <a:cubicBezTo>
                  <a:pt x="746" y="2239"/>
                  <a:pt x="746" y="2239"/>
                  <a:pt x="746" y="2239"/>
                </a:cubicBezTo>
                <a:cubicBezTo>
                  <a:pt x="746" y="2239"/>
                  <a:pt x="746" y="2239"/>
                  <a:pt x="746" y="2239"/>
                </a:cubicBezTo>
                <a:cubicBezTo>
                  <a:pt x="746" y="2223"/>
                  <a:pt x="746" y="2223"/>
                  <a:pt x="746" y="2223"/>
                </a:cubicBezTo>
                <a:cubicBezTo>
                  <a:pt x="746" y="2231"/>
                  <a:pt x="746" y="2231"/>
                  <a:pt x="746" y="2231"/>
                </a:cubicBezTo>
                <a:cubicBezTo>
                  <a:pt x="746" y="2231"/>
                  <a:pt x="746" y="2231"/>
                  <a:pt x="739" y="2239"/>
                </a:cubicBezTo>
                <a:cubicBezTo>
                  <a:pt x="739" y="2239"/>
                  <a:pt x="739" y="2239"/>
                  <a:pt x="739" y="2239"/>
                </a:cubicBezTo>
                <a:close/>
                <a:moveTo>
                  <a:pt x="809" y="2082"/>
                </a:moveTo>
                <a:cubicBezTo>
                  <a:pt x="817" y="2075"/>
                  <a:pt x="817" y="2075"/>
                  <a:pt x="809" y="2075"/>
                </a:cubicBezTo>
                <a:cubicBezTo>
                  <a:pt x="809" y="2075"/>
                  <a:pt x="809" y="2075"/>
                  <a:pt x="809" y="2082"/>
                </a:cubicBezTo>
                <a:cubicBezTo>
                  <a:pt x="809" y="2082"/>
                  <a:pt x="809" y="2082"/>
                  <a:pt x="809" y="2090"/>
                </a:cubicBezTo>
                <a:cubicBezTo>
                  <a:pt x="809" y="2090"/>
                  <a:pt x="809" y="2090"/>
                  <a:pt x="809" y="2090"/>
                </a:cubicBezTo>
                <a:cubicBezTo>
                  <a:pt x="809" y="2082"/>
                  <a:pt x="809" y="2082"/>
                  <a:pt x="809" y="2082"/>
                </a:cubicBezTo>
                <a:close/>
                <a:moveTo>
                  <a:pt x="833" y="2012"/>
                </a:moveTo>
                <a:cubicBezTo>
                  <a:pt x="825" y="2028"/>
                  <a:pt x="833" y="2020"/>
                  <a:pt x="825" y="2028"/>
                </a:cubicBezTo>
                <a:cubicBezTo>
                  <a:pt x="833" y="2020"/>
                  <a:pt x="833" y="2020"/>
                  <a:pt x="833" y="2012"/>
                </a:cubicBezTo>
                <a:close/>
                <a:moveTo>
                  <a:pt x="731" y="2255"/>
                </a:moveTo>
                <a:cubicBezTo>
                  <a:pt x="731" y="2247"/>
                  <a:pt x="731" y="2255"/>
                  <a:pt x="739" y="2247"/>
                </a:cubicBezTo>
                <a:cubicBezTo>
                  <a:pt x="731" y="2247"/>
                  <a:pt x="731" y="2247"/>
                  <a:pt x="731" y="2255"/>
                </a:cubicBezTo>
                <a:close/>
                <a:moveTo>
                  <a:pt x="244" y="2294"/>
                </a:moveTo>
                <a:cubicBezTo>
                  <a:pt x="244" y="2294"/>
                  <a:pt x="244" y="2294"/>
                  <a:pt x="244" y="2294"/>
                </a:cubicBezTo>
                <a:cubicBezTo>
                  <a:pt x="244" y="2294"/>
                  <a:pt x="244" y="2286"/>
                  <a:pt x="244" y="2286"/>
                </a:cubicBezTo>
                <a:cubicBezTo>
                  <a:pt x="244" y="2286"/>
                  <a:pt x="244" y="2294"/>
                  <a:pt x="244" y="2294"/>
                </a:cubicBezTo>
                <a:close/>
                <a:moveTo>
                  <a:pt x="228" y="2270"/>
                </a:moveTo>
                <a:cubicBezTo>
                  <a:pt x="236" y="2278"/>
                  <a:pt x="236" y="2278"/>
                  <a:pt x="244" y="2286"/>
                </a:cubicBezTo>
                <a:cubicBezTo>
                  <a:pt x="244" y="2286"/>
                  <a:pt x="244" y="2278"/>
                  <a:pt x="236" y="2278"/>
                </a:cubicBezTo>
                <a:cubicBezTo>
                  <a:pt x="236" y="2278"/>
                  <a:pt x="236" y="2278"/>
                  <a:pt x="228" y="2270"/>
                </a:cubicBezTo>
                <a:close/>
                <a:moveTo>
                  <a:pt x="181" y="2200"/>
                </a:moveTo>
                <a:cubicBezTo>
                  <a:pt x="189" y="2208"/>
                  <a:pt x="189" y="2208"/>
                  <a:pt x="189" y="2215"/>
                </a:cubicBezTo>
                <a:cubicBezTo>
                  <a:pt x="189" y="2215"/>
                  <a:pt x="189" y="2215"/>
                  <a:pt x="189" y="2208"/>
                </a:cubicBezTo>
                <a:cubicBezTo>
                  <a:pt x="189" y="2208"/>
                  <a:pt x="189" y="2208"/>
                  <a:pt x="181" y="2200"/>
                </a:cubicBezTo>
                <a:close/>
                <a:moveTo>
                  <a:pt x="150" y="2145"/>
                </a:moveTo>
                <a:cubicBezTo>
                  <a:pt x="158" y="2161"/>
                  <a:pt x="158" y="2161"/>
                  <a:pt x="158" y="2161"/>
                </a:cubicBezTo>
                <a:cubicBezTo>
                  <a:pt x="158" y="2161"/>
                  <a:pt x="158" y="2161"/>
                  <a:pt x="158" y="2161"/>
                </a:cubicBezTo>
                <a:cubicBezTo>
                  <a:pt x="150" y="2153"/>
                  <a:pt x="150" y="2153"/>
                  <a:pt x="150" y="2145"/>
                </a:cubicBezTo>
                <a:close/>
                <a:moveTo>
                  <a:pt x="126" y="2121"/>
                </a:moveTo>
                <a:cubicBezTo>
                  <a:pt x="126" y="2114"/>
                  <a:pt x="126" y="2114"/>
                  <a:pt x="118" y="2106"/>
                </a:cubicBezTo>
                <a:cubicBezTo>
                  <a:pt x="126" y="2114"/>
                  <a:pt x="126" y="2114"/>
                  <a:pt x="126" y="2121"/>
                </a:cubicBezTo>
                <a:close/>
                <a:moveTo>
                  <a:pt x="676" y="2192"/>
                </a:moveTo>
                <a:cubicBezTo>
                  <a:pt x="676" y="2192"/>
                  <a:pt x="676" y="2192"/>
                  <a:pt x="676" y="2192"/>
                </a:cubicBezTo>
                <a:cubicBezTo>
                  <a:pt x="676" y="2192"/>
                  <a:pt x="676" y="2192"/>
                  <a:pt x="676" y="2192"/>
                </a:cubicBezTo>
                <a:cubicBezTo>
                  <a:pt x="676" y="2184"/>
                  <a:pt x="676" y="2184"/>
                  <a:pt x="676" y="2184"/>
                </a:cubicBezTo>
                <a:cubicBezTo>
                  <a:pt x="676" y="2184"/>
                  <a:pt x="676" y="2184"/>
                  <a:pt x="676" y="2184"/>
                </a:cubicBezTo>
                <a:cubicBezTo>
                  <a:pt x="676" y="2184"/>
                  <a:pt x="676" y="2184"/>
                  <a:pt x="676" y="2184"/>
                </a:cubicBezTo>
                <a:cubicBezTo>
                  <a:pt x="676" y="2184"/>
                  <a:pt x="676" y="2184"/>
                  <a:pt x="676" y="2184"/>
                </a:cubicBezTo>
                <a:cubicBezTo>
                  <a:pt x="676" y="2192"/>
                  <a:pt x="676" y="2192"/>
                  <a:pt x="676" y="2192"/>
                </a:cubicBezTo>
                <a:cubicBezTo>
                  <a:pt x="676" y="2192"/>
                  <a:pt x="676" y="2192"/>
                  <a:pt x="676" y="2192"/>
                </a:cubicBezTo>
                <a:cubicBezTo>
                  <a:pt x="676" y="2192"/>
                  <a:pt x="676" y="2192"/>
                  <a:pt x="676" y="2192"/>
                </a:cubicBezTo>
                <a:close/>
                <a:moveTo>
                  <a:pt x="684" y="2168"/>
                </a:moveTo>
                <a:cubicBezTo>
                  <a:pt x="684" y="2168"/>
                  <a:pt x="684" y="2168"/>
                  <a:pt x="684" y="2168"/>
                </a:cubicBezTo>
                <a:cubicBezTo>
                  <a:pt x="684" y="2161"/>
                  <a:pt x="684" y="2161"/>
                  <a:pt x="684" y="2168"/>
                </a:cubicBezTo>
                <a:close/>
                <a:moveTo>
                  <a:pt x="597" y="2333"/>
                </a:moveTo>
                <a:cubicBezTo>
                  <a:pt x="605" y="2325"/>
                  <a:pt x="605" y="2325"/>
                  <a:pt x="605" y="2325"/>
                </a:cubicBezTo>
                <a:cubicBezTo>
                  <a:pt x="605" y="2325"/>
                  <a:pt x="605" y="2325"/>
                  <a:pt x="605" y="2317"/>
                </a:cubicBezTo>
                <a:cubicBezTo>
                  <a:pt x="605" y="2317"/>
                  <a:pt x="597" y="2325"/>
                  <a:pt x="597" y="2325"/>
                </a:cubicBezTo>
                <a:cubicBezTo>
                  <a:pt x="597" y="2325"/>
                  <a:pt x="597" y="2325"/>
                  <a:pt x="597" y="2325"/>
                </a:cubicBezTo>
                <a:cubicBezTo>
                  <a:pt x="597" y="2333"/>
                  <a:pt x="597" y="2333"/>
                  <a:pt x="597" y="2333"/>
                </a:cubicBezTo>
                <a:cubicBezTo>
                  <a:pt x="597" y="2333"/>
                  <a:pt x="589" y="2333"/>
                  <a:pt x="589" y="2341"/>
                </a:cubicBezTo>
                <a:cubicBezTo>
                  <a:pt x="597" y="2341"/>
                  <a:pt x="597" y="2341"/>
                  <a:pt x="597" y="2341"/>
                </a:cubicBezTo>
                <a:cubicBezTo>
                  <a:pt x="597" y="2341"/>
                  <a:pt x="597" y="2341"/>
                  <a:pt x="589" y="2341"/>
                </a:cubicBezTo>
                <a:cubicBezTo>
                  <a:pt x="597" y="2341"/>
                  <a:pt x="597" y="2341"/>
                  <a:pt x="597" y="2333"/>
                </a:cubicBezTo>
                <a:close/>
                <a:moveTo>
                  <a:pt x="550" y="2395"/>
                </a:moveTo>
                <a:cubicBezTo>
                  <a:pt x="558" y="2395"/>
                  <a:pt x="550" y="2403"/>
                  <a:pt x="558" y="2388"/>
                </a:cubicBezTo>
                <a:cubicBezTo>
                  <a:pt x="558" y="2388"/>
                  <a:pt x="558" y="2388"/>
                  <a:pt x="566" y="2388"/>
                </a:cubicBezTo>
                <a:cubicBezTo>
                  <a:pt x="558" y="2388"/>
                  <a:pt x="558" y="2388"/>
                  <a:pt x="550" y="2395"/>
                </a:cubicBezTo>
                <a:close/>
                <a:moveTo>
                  <a:pt x="550" y="2411"/>
                </a:moveTo>
                <a:cubicBezTo>
                  <a:pt x="550" y="2403"/>
                  <a:pt x="550" y="2403"/>
                  <a:pt x="550" y="2403"/>
                </a:cubicBezTo>
                <a:cubicBezTo>
                  <a:pt x="550" y="2403"/>
                  <a:pt x="550" y="2403"/>
                  <a:pt x="550" y="2411"/>
                </a:cubicBezTo>
                <a:close/>
                <a:moveTo>
                  <a:pt x="393" y="2341"/>
                </a:moveTo>
                <a:cubicBezTo>
                  <a:pt x="393" y="2341"/>
                  <a:pt x="393" y="2341"/>
                  <a:pt x="393" y="2341"/>
                </a:cubicBezTo>
                <a:cubicBezTo>
                  <a:pt x="393" y="2341"/>
                  <a:pt x="393" y="2341"/>
                  <a:pt x="393" y="2341"/>
                </a:cubicBezTo>
                <a:cubicBezTo>
                  <a:pt x="393" y="2341"/>
                  <a:pt x="393" y="2341"/>
                  <a:pt x="393" y="2341"/>
                </a:cubicBezTo>
                <a:close/>
                <a:moveTo>
                  <a:pt x="527" y="2442"/>
                </a:moveTo>
                <a:cubicBezTo>
                  <a:pt x="527" y="2442"/>
                  <a:pt x="527" y="2442"/>
                  <a:pt x="527" y="2442"/>
                </a:cubicBezTo>
                <a:cubicBezTo>
                  <a:pt x="527" y="2442"/>
                  <a:pt x="527" y="2442"/>
                  <a:pt x="527" y="2442"/>
                </a:cubicBezTo>
                <a:cubicBezTo>
                  <a:pt x="527" y="2442"/>
                  <a:pt x="527" y="2442"/>
                  <a:pt x="527" y="2442"/>
                </a:cubicBezTo>
                <a:close/>
                <a:moveTo>
                  <a:pt x="731" y="2106"/>
                </a:moveTo>
                <a:cubicBezTo>
                  <a:pt x="731" y="2090"/>
                  <a:pt x="739" y="2082"/>
                  <a:pt x="746" y="2067"/>
                </a:cubicBezTo>
                <a:cubicBezTo>
                  <a:pt x="746" y="2067"/>
                  <a:pt x="746" y="2067"/>
                  <a:pt x="731" y="2090"/>
                </a:cubicBezTo>
                <a:cubicBezTo>
                  <a:pt x="731" y="2090"/>
                  <a:pt x="731" y="2090"/>
                  <a:pt x="731" y="2090"/>
                </a:cubicBezTo>
                <a:cubicBezTo>
                  <a:pt x="731" y="2098"/>
                  <a:pt x="731" y="2098"/>
                  <a:pt x="731" y="2098"/>
                </a:cubicBezTo>
                <a:cubicBezTo>
                  <a:pt x="731" y="2098"/>
                  <a:pt x="731" y="2098"/>
                  <a:pt x="723" y="2106"/>
                </a:cubicBezTo>
                <a:cubicBezTo>
                  <a:pt x="715" y="2114"/>
                  <a:pt x="723" y="2114"/>
                  <a:pt x="723" y="2114"/>
                </a:cubicBezTo>
                <a:cubicBezTo>
                  <a:pt x="715" y="2121"/>
                  <a:pt x="715" y="2121"/>
                  <a:pt x="715" y="2121"/>
                </a:cubicBezTo>
                <a:cubicBezTo>
                  <a:pt x="715" y="2121"/>
                  <a:pt x="715" y="2121"/>
                  <a:pt x="715" y="2129"/>
                </a:cubicBezTo>
                <a:cubicBezTo>
                  <a:pt x="715" y="2129"/>
                  <a:pt x="715" y="2129"/>
                  <a:pt x="715" y="2137"/>
                </a:cubicBezTo>
                <a:cubicBezTo>
                  <a:pt x="715" y="2129"/>
                  <a:pt x="715" y="2129"/>
                  <a:pt x="723" y="2121"/>
                </a:cubicBezTo>
                <a:cubicBezTo>
                  <a:pt x="723" y="2114"/>
                  <a:pt x="723" y="2106"/>
                  <a:pt x="731" y="2106"/>
                </a:cubicBezTo>
                <a:close/>
                <a:moveTo>
                  <a:pt x="40" y="1957"/>
                </a:moveTo>
                <a:cubicBezTo>
                  <a:pt x="40" y="1957"/>
                  <a:pt x="40" y="1957"/>
                  <a:pt x="40" y="1957"/>
                </a:cubicBezTo>
                <a:cubicBezTo>
                  <a:pt x="40" y="1957"/>
                  <a:pt x="40" y="1957"/>
                  <a:pt x="48" y="1965"/>
                </a:cubicBezTo>
                <a:cubicBezTo>
                  <a:pt x="48" y="1957"/>
                  <a:pt x="48" y="1965"/>
                  <a:pt x="40" y="1957"/>
                </a:cubicBezTo>
                <a:close/>
                <a:moveTo>
                  <a:pt x="8" y="1949"/>
                </a:moveTo>
                <a:cubicBezTo>
                  <a:pt x="8" y="1957"/>
                  <a:pt x="8" y="1957"/>
                  <a:pt x="8" y="1957"/>
                </a:cubicBezTo>
                <a:cubicBezTo>
                  <a:pt x="16" y="1957"/>
                  <a:pt x="16" y="1957"/>
                  <a:pt x="16" y="1957"/>
                </a:cubicBezTo>
                <a:lnTo>
                  <a:pt x="8" y="1949"/>
                </a:lnTo>
                <a:close/>
                <a:moveTo>
                  <a:pt x="48" y="1981"/>
                </a:moveTo>
                <a:cubicBezTo>
                  <a:pt x="48" y="1973"/>
                  <a:pt x="48" y="1973"/>
                  <a:pt x="48" y="1973"/>
                </a:cubicBezTo>
                <a:cubicBezTo>
                  <a:pt x="48" y="1973"/>
                  <a:pt x="48" y="1981"/>
                  <a:pt x="48" y="1981"/>
                </a:cubicBezTo>
                <a:close/>
                <a:moveTo>
                  <a:pt x="71" y="1988"/>
                </a:moveTo>
                <a:cubicBezTo>
                  <a:pt x="71" y="1988"/>
                  <a:pt x="63" y="1988"/>
                  <a:pt x="55" y="1981"/>
                </a:cubicBezTo>
                <a:cubicBezTo>
                  <a:pt x="55" y="1973"/>
                  <a:pt x="55" y="1981"/>
                  <a:pt x="48" y="1981"/>
                </a:cubicBezTo>
                <a:cubicBezTo>
                  <a:pt x="55" y="1981"/>
                  <a:pt x="63" y="1988"/>
                  <a:pt x="71" y="1988"/>
                </a:cubicBezTo>
                <a:close/>
                <a:moveTo>
                  <a:pt x="8" y="1949"/>
                </a:moveTo>
                <a:cubicBezTo>
                  <a:pt x="8" y="1949"/>
                  <a:pt x="8" y="1949"/>
                  <a:pt x="8" y="1949"/>
                </a:cubicBezTo>
                <a:cubicBezTo>
                  <a:pt x="8" y="1949"/>
                  <a:pt x="8" y="1949"/>
                  <a:pt x="8" y="1949"/>
                </a:cubicBezTo>
                <a:cubicBezTo>
                  <a:pt x="8" y="1949"/>
                  <a:pt x="8" y="1949"/>
                  <a:pt x="8" y="1949"/>
                </a:cubicBezTo>
                <a:close/>
                <a:moveTo>
                  <a:pt x="48" y="1973"/>
                </a:moveTo>
                <a:cubicBezTo>
                  <a:pt x="55" y="1973"/>
                  <a:pt x="55" y="1973"/>
                  <a:pt x="55" y="1981"/>
                </a:cubicBezTo>
                <a:cubicBezTo>
                  <a:pt x="55" y="1973"/>
                  <a:pt x="55" y="1973"/>
                  <a:pt x="48" y="1973"/>
                </a:cubicBezTo>
                <a:close/>
                <a:moveTo>
                  <a:pt x="32" y="1965"/>
                </a:moveTo>
                <a:cubicBezTo>
                  <a:pt x="32" y="1965"/>
                  <a:pt x="32" y="1965"/>
                  <a:pt x="24" y="1965"/>
                </a:cubicBezTo>
                <a:cubicBezTo>
                  <a:pt x="32" y="1965"/>
                  <a:pt x="40" y="1965"/>
                  <a:pt x="48" y="1973"/>
                </a:cubicBezTo>
                <a:cubicBezTo>
                  <a:pt x="32" y="1965"/>
                  <a:pt x="24" y="1957"/>
                  <a:pt x="16" y="1957"/>
                </a:cubicBezTo>
                <a:lnTo>
                  <a:pt x="32" y="1965"/>
                </a:lnTo>
                <a:close/>
                <a:moveTo>
                  <a:pt x="24" y="1965"/>
                </a:moveTo>
                <a:cubicBezTo>
                  <a:pt x="24" y="1965"/>
                  <a:pt x="24" y="1965"/>
                  <a:pt x="16" y="1957"/>
                </a:cubicBezTo>
                <a:cubicBezTo>
                  <a:pt x="24" y="1965"/>
                  <a:pt x="24" y="1965"/>
                  <a:pt x="24" y="1965"/>
                </a:cubicBezTo>
                <a:close/>
                <a:moveTo>
                  <a:pt x="8" y="1957"/>
                </a:moveTo>
                <a:cubicBezTo>
                  <a:pt x="8" y="1957"/>
                  <a:pt x="8" y="1957"/>
                  <a:pt x="8" y="1957"/>
                </a:cubicBezTo>
                <a:cubicBezTo>
                  <a:pt x="8" y="1957"/>
                  <a:pt x="8" y="1957"/>
                  <a:pt x="0" y="1957"/>
                </a:cubicBezTo>
                <a:cubicBezTo>
                  <a:pt x="8" y="1957"/>
                  <a:pt x="8" y="1957"/>
                  <a:pt x="16" y="1965"/>
                </a:cubicBezTo>
                <a:cubicBezTo>
                  <a:pt x="16" y="1965"/>
                  <a:pt x="16" y="1965"/>
                  <a:pt x="24" y="1965"/>
                </a:cubicBezTo>
                <a:cubicBezTo>
                  <a:pt x="24" y="1965"/>
                  <a:pt x="24" y="1965"/>
                  <a:pt x="16" y="1957"/>
                </a:cubicBezTo>
                <a:cubicBezTo>
                  <a:pt x="24" y="1957"/>
                  <a:pt x="24" y="1957"/>
                  <a:pt x="24" y="1957"/>
                </a:cubicBezTo>
                <a:cubicBezTo>
                  <a:pt x="24" y="1957"/>
                  <a:pt x="24" y="1957"/>
                  <a:pt x="8" y="1957"/>
                </a:cubicBezTo>
                <a:close/>
                <a:moveTo>
                  <a:pt x="48" y="1988"/>
                </a:moveTo>
                <a:cubicBezTo>
                  <a:pt x="48" y="1988"/>
                  <a:pt x="48" y="1988"/>
                  <a:pt x="48" y="1988"/>
                </a:cubicBezTo>
                <a:cubicBezTo>
                  <a:pt x="40" y="1988"/>
                  <a:pt x="40" y="1988"/>
                  <a:pt x="40" y="1988"/>
                </a:cubicBezTo>
                <a:lnTo>
                  <a:pt x="48" y="1988"/>
                </a:lnTo>
                <a:close/>
                <a:moveTo>
                  <a:pt x="55" y="1988"/>
                </a:moveTo>
                <a:cubicBezTo>
                  <a:pt x="55" y="1996"/>
                  <a:pt x="55" y="1996"/>
                  <a:pt x="55" y="1996"/>
                </a:cubicBezTo>
                <a:cubicBezTo>
                  <a:pt x="55" y="1996"/>
                  <a:pt x="55" y="1996"/>
                  <a:pt x="55" y="1996"/>
                </a:cubicBezTo>
                <a:lnTo>
                  <a:pt x="55" y="1988"/>
                </a:lnTo>
                <a:close/>
                <a:moveTo>
                  <a:pt x="32" y="1981"/>
                </a:moveTo>
                <a:cubicBezTo>
                  <a:pt x="40" y="1988"/>
                  <a:pt x="40" y="1988"/>
                  <a:pt x="40" y="1988"/>
                </a:cubicBezTo>
                <a:cubicBezTo>
                  <a:pt x="40" y="1988"/>
                  <a:pt x="40" y="1988"/>
                  <a:pt x="40" y="1988"/>
                </a:cubicBezTo>
                <a:cubicBezTo>
                  <a:pt x="40" y="1981"/>
                  <a:pt x="40" y="1981"/>
                  <a:pt x="40" y="1981"/>
                </a:cubicBezTo>
                <a:lnTo>
                  <a:pt x="32" y="1981"/>
                </a:lnTo>
                <a:close/>
                <a:moveTo>
                  <a:pt x="87" y="2020"/>
                </a:moveTo>
                <a:cubicBezTo>
                  <a:pt x="87" y="2020"/>
                  <a:pt x="87" y="2020"/>
                  <a:pt x="87" y="2020"/>
                </a:cubicBezTo>
                <a:cubicBezTo>
                  <a:pt x="87" y="2020"/>
                  <a:pt x="87" y="2020"/>
                  <a:pt x="87" y="2020"/>
                </a:cubicBezTo>
                <a:close/>
                <a:moveTo>
                  <a:pt x="126" y="2059"/>
                </a:moveTo>
                <a:cubicBezTo>
                  <a:pt x="118" y="2059"/>
                  <a:pt x="118" y="2059"/>
                  <a:pt x="118" y="2051"/>
                </a:cubicBezTo>
                <a:cubicBezTo>
                  <a:pt x="118" y="2059"/>
                  <a:pt x="126" y="2059"/>
                  <a:pt x="126" y="2075"/>
                </a:cubicBezTo>
                <a:cubicBezTo>
                  <a:pt x="126" y="2075"/>
                  <a:pt x="126" y="2075"/>
                  <a:pt x="126" y="2059"/>
                </a:cubicBezTo>
                <a:close/>
                <a:moveTo>
                  <a:pt x="32" y="1981"/>
                </a:moveTo>
                <a:cubicBezTo>
                  <a:pt x="24" y="1973"/>
                  <a:pt x="24" y="1973"/>
                  <a:pt x="24" y="1973"/>
                </a:cubicBezTo>
                <a:cubicBezTo>
                  <a:pt x="32" y="1981"/>
                  <a:pt x="24" y="1981"/>
                  <a:pt x="32" y="1981"/>
                </a:cubicBezTo>
                <a:close/>
                <a:moveTo>
                  <a:pt x="24" y="1973"/>
                </a:moveTo>
                <a:cubicBezTo>
                  <a:pt x="24" y="1981"/>
                  <a:pt x="32" y="1981"/>
                  <a:pt x="32" y="1988"/>
                </a:cubicBezTo>
                <a:cubicBezTo>
                  <a:pt x="32" y="1981"/>
                  <a:pt x="32" y="1981"/>
                  <a:pt x="24" y="1973"/>
                </a:cubicBezTo>
                <a:close/>
                <a:moveTo>
                  <a:pt x="40" y="1996"/>
                </a:moveTo>
                <a:cubicBezTo>
                  <a:pt x="40" y="1996"/>
                  <a:pt x="40" y="1996"/>
                  <a:pt x="40" y="1996"/>
                </a:cubicBezTo>
                <a:cubicBezTo>
                  <a:pt x="40" y="1988"/>
                  <a:pt x="40" y="1988"/>
                  <a:pt x="40" y="1988"/>
                </a:cubicBezTo>
                <a:cubicBezTo>
                  <a:pt x="40" y="1988"/>
                  <a:pt x="40" y="1996"/>
                  <a:pt x="40" y="1996"/>
                </a:cubicBezTo>
                <a:close/>
                <a:moveTo>
                  <a:pt x="32" y="1988"/>
                </a:moveTo>
                <a:cubicBezTo>
                  <a:pt x="40" y="1988"/>
                  <a:pt x="40" y="1988"/>
                  <a:pt x="40" y="1996"/>
                </a:cubicBezTo>
                <a:cubicBezTo>
                  <a:pt x="40" y="1996"/>
                  <a:pt x="40" y="1996"/>
                  <a:pt x="40" y="1996"/>
                </a:cubicBezTo>
                <a:cubicBezTo>
                  <a:pt x="48" y="1996"/>
                  <a:pt x="48" y="1996"/>
                  <a:pt x="55" y="1996"/>
                </a:cubicBezTo>
                <a:cubicBezTo>
                  <a:pt x="40" y="1988"/>
                  <a:pt x="40" y="1988"/>
                  <a:pt x="32" y="1988"/>
                </a:cubicBezTo>
                <a:close/>
                <a:moveTo>
                  <a:pt x="95" y="2028"/>
                </a:moveTo>
                <a:cubicBezTo>
                  <a:pt x="95" y="2028"/>
                  <a:pt x="95" y="2028"/>
                  <a:pt x="87" y="2028"/>
                </a:cubicBezTo>
                <a:cubicBezTo>
                  <a:pt x="95" y="2028"/>
                  <a:pt x="87" y="2028"/>
                  <a:pt x="95" y="2028"/>
                </a:cubicBezTo>
                <a:close/>
                <a:moveTo>
                  <a:pt x="63" y="2012"/>
                </a:moveTo>
                <a:cubicBezTo>
                  <a:pt x="63" y="2012"/>
                  <a:pt x="63" y="2012"/>
                  <a:pt x="63" y="2012"/>
                </a:cubicBezTo>
                <a:cubicBezTo>
                  <a:pt x="63" y="2012"/>
                  <a:pt x="63" y="2012"/>
                  <a:pt x="79" y="2028"/>
                </a:cubicBezTo>
                <a:cubicBezTo>
                  <a:pt x="79" y="2028"/>
                  <a:pt x="79" y="2028"/>
                  <a:pt x="79" y="2028"/>
                </a:cubicBezTo>
                <a:cubicBezTo>
                  <a:pt x="79" y="2028"/>
                  <a:pt x="79" y="2028"/>
                  <a:pt x="71" y="2012"/>
                </a:cubicBezTo>
                <a:cubicBezTo>
                  <a:pt x="71" y="2012"/>
                  <a:pt x="71" y="2012"/>
                  <a:pt x="55" y="2004"/>
                </a:cubicBezTo>
                <a:cubicBezTo>
                  <a:pt x="55" y="2004"/>
                  <a:pt x="55" y="2004"/>
                  <a:pt x="63" y="2012"/>
                </a:cubicBezTo>
                <a:close/>
                <a:moveTo>
                  <a:pt x="71" y="2012"/>
                </a:moveTo>
                <a:cubicBezTo>
                  <a:pt x="79" y="2020"/>
                  <a:pt x="79" y="2020"/>
                  <a:pt x="79" y="2020"/>
                </a:cubicBezTo>
                <a:cubicBezTo>
                  <a:pt x="79" y="2020"/>
                  <a:pt x="79" y="2020"/>
                  <a:pt x="87" y="2028"/>
                </a:cubicBezTo>
                <a:cubicBezTo>
                  <a:pt x="87" y="2020"/>
                  <a:pt x="87" y="2020"/>
                  <a:pt x="87" y="2020"/>
                </a:cubicBezTo>
                <a:cubicBezTo>
                  <a:pt x="79" y="2012"/>
                  <a:pt x="79" y="2020"/>
                  <a:pt x="71" y="2012"/>
                </a:cubicBezTo>
                <a:close/>
                <a:moveTo>
                  <a:pt x="95" y="2028"/>
                </a:moveTo>
                <a:cubicBezTo>
                  <a:pt x="95" y="2028"/>
                  <a:pt x="95" y="2028"/>
                  <a:pt x="87" y="2028"/>
                </a:cubicBezTo>
                <a:cubicBezTo>
                  <a:pt x="87" y="2028"/>
                  <a:pt x="103" y="2035"/>
                  <a:pt x="103" y="2043"/>
                </a:cubicBezTo>
                <a:cubicBezTo>
                  <a:pt x="103" y="2035"/>
                  <a:pt x="103" y="2035"/>
                  <a:pt x="95" y="2028"/>
                </a:cubicBezTo>
                <a:close/>
                <a:moveTo>
                  <a:pt x="87" y="2028"/>
                </a:moveTo>
                <a:cubicBezTo>
                  <a:pt x="87" y="2028"/>
                  <a:pt x="87" y="2028"/>
                  <a:pt x="87" y="2028"/>
                </a:cubicBezTo>
                <a:cubicBezTo>
                  <a:pt x="87" y="2028"/>
                  <a:pt x="87" y="2028"/>
                  <a:pt x="87" y="2028"/>
                </a:cubicBezTo>
                <a:cubicBezTo>
                  <a:pt x="87" y="2028"/>
                  <a:pt x="87" y="2028"/>
                  <a:pt x="87" y="2028"/>
                </a:cubicBezTo>
                <a:cubicBezTo>
                  <a:pt x="87" y="2028"/>
                  <a:pt x="87" y="2028"/>
                  <a:pt x="87" y="2028"/>
                </a:cubicBezTo>
                <a:close/>
                <a:moveTo>
                  <a:pt x="55" y="1996"/>
                </a:moveTo>
                <a:cubicBezTo>
                  <a:pt x="55" y="1996"/>
                  <a:pt x="55" y="1996"/>
                  <a:pt x="40" y="1996"/>
                </a:cubicBezTo>
                <a:cubicBezTo>
                  <a:pt x="48" y="1996"/>
                  <a:pt x="48" y="2004"/>
                  <a:pt x="55" y="2004"/>
                </a:cubicBezTo>
                <a:cubicBezTo>
                  <a:pt x="55" y="2004"/>
                  <a:pt x="55" y="2004"/>
                  <a:pt x="55" y="2004"/>
                </a:cubicBezTo>
                <a:cubicBezTo>
                  <a:pt x="55" y="2004"/>
                  <a:pt x="55" y="2004"/>
                  <a:pt x="55" y="1996"/>
                </a:cubicBezTo>
                <a:close/>
                <a:moveTo>
                  <a:pt x="0" y="1973"/>
                </a:moveTo>
                <a:cubicBezTo>
                  <a:pt x="0" y="1973"/>
                  <a:pt x="0" y="1973"/>
                  <a:pt x="8" y="1973"/>
                </a:cubicBezTo>
                <a:cubicBezTo>
                  <a:pt x="8" y="1973"/>
                  <a:pt x="8" y="1973"/>
                  <a:pt x="8" y="1973"/>
                </a:cubicBezTo>
                <a:cubicBezTo>
                  <a:pt x="8" y="1973"/>
                  <a:pt x="8" y="1973"/>
                  <a:pt x="0" y="1973"/>
                </a:cubicBezTo>
                <a:cubicBezTo>
                  <a:pt x="8" y="1973"/>
                  <a:pt x="0" y="1973"/>
                  <a:pt x="0" y="1973"/>
                </a:cubicBezTo>
                <a:close/>
                <a:moveTo>
                  <a:pt x="8" y="1981"/>
                </a:moveTo>
                <a:cubicBezTo>
                  <a:pt x="8" y="1988"/>
                  <a:pt x="8" y="1988"/>
                  <a:pt x="8" y="1988"/>
                </a:cubicBezTo>
                <a:cubicBezTo>
                  <a:pt x="16" y="1988"/>
                  <a:pt x="16" y="1988"/>
                  <a:pt x="16" y="1988"/>
                </a:cubicBezTo>
                <a:cubicBezTo>
                  <a:pt x="8" y="1981"/>
                  <a:pt x="8" y="1981"/>
                  <a:pt x="8" y="1981"/>
                </a:cubicBezTo>
                <a:close/>
                <a:moveTo>
                  <a:pt x="24" y="1988"/>
                </a:moveTo>
                <a:cubicBezTo>
                  <a:pt x="16" y="1988"/>
                  <a:pt x="16" y="1988"/>
                  <a:pt x="8" y="1988"/>
                </a:cubicBezTo>
                <a:lnTo>
                  <a:pt x="24" y="1988"/>
                </a:lnTo>
                <a:close/>
                <a:moveTo>
                  <a:pt x="103" y="2090"/>
                </a:moveTo>
                <a:cubicBezTo>
                  <a:pt x="103" y="2090"/>
                  <a:pt x="103" y="2090"/>
                  <a:pt x="103" y="2090"/>
                </a:cubicBezTo>
                <a:cubicBezTo>
                  <a:pt x="103" y="2090"/>
                  <a:pt x="103" y="2090"/>
                  <a:pt x="110" y="2090"/>
                </a:cubicBezTo>
                <a:cubicBezTo>
                  <a:pt x="110" y="2090"/>
                  <a:pt x="110" y="2090"/>
                  <a:pt x="103" y="2082"/>
                </a:cubicBezTo>
                <a:cubicBezTo>
                  <a:pt x="103" y="2090"/>
                  <a:pt x="103" y="2090"/>
                  <a:pt x="103" y="2090"/>
                </a:cubicBezTo>
                <a:close/>
                <a:moveTo>
                  <a:pt x="103" y="2082"/>
                </a:moveTo>
                <a:cubicBezTo>
                  <a:pt x="103" y="2082"/>
                  <a:pt x="103" y="2082"/>
                  <a:pt x="103" y="2082"/>
                </a:cubicBezTo>
                <a:cubicBezTo>
                  <a:pt x="103" y="2082"/>
                  <a:pt x="103" y="2082"/>
                  <a:pt x="103" y="2082"/>
                </a:cubicBezTo>
                <a:close/>
                <a:moveTo>
                  <a:pt x="103" y="2082"/>
                </a:moveTo>
                <a:cubicBezTo>
                  <a:pt x="103" y="2082"/>
                  <a:pt x="103" y="2082"/>
                  <a:pt x="103" y="2082"/>
                </a:cubicBezTo>
                <a:cubicBezTo>
                  <a:pt x="110" y="2082"/>
                  <a:pt x="110" y="2082"/>
                  <a:pt x="110" y="2082"/>
                </a:cubicBezTo>
                <a:cubicBezTo>
                  <a:pt x="95" y="2075"/>
                  <a:pt x="95" y="2075"/>
                  <a:pt x="95" y="2075"/>
                </a:cubicBezTo>
                <a:cubicBezTo>
                  <a:pt x="103" y="2075"/>
                  <a:pt x="103" y="2075"/>
                  <a:pt x="103" y="2075"/>
                </a:cubicBezTo>
                <a:cubicBezTo>
                  <a:pt x="103" y="2082"/>
                  <a:pt x="103" y="2082"/>
                  <a:pt x="103" y="2082"/>
                </a:cubicBezTo>
                <a:close/>
                <a:moveTo>
                  <a:pt x="95" y="2075"/>
                </a:moveTo>
                <a:cubicBezTo>
                  <a:pt x="87" y="2067"/>
                  <a:pt x="87" y="2067"/>
                  <a:pt x="87" y="2067"/>
                </a:cubicBezTo>
                <a:cubicBezTo>
                  <a:pt x="87" y="2075"/>
                  <a:pt x="87" y="2075"/>
                  <a:pt x="87" y="2075"/>
                </a:cubicBezTo>
                <a:cubicBezTo>
                  <a:pt x="95" y="2075"/>
                  <a:pt x="95" y="2075"/>
                  <a:pt x="95" y="2075"/>
                </a:cubicBezTo>
                <a:close/>
                <a:moveTo>
                  <a:pt x="87" y="2067"/>
                </a:moveTo>
                <a:cubicBezTo>
                  <a:pt x="79" y="2067"/>
                  <a:pt x="87" y="2067"/>
                  <a:pt x="87" y="2075"/>
                </a:cubicBezTo>
                <a:cubicBezTo>
                  <a:pt x="87" y="2067"/>
                  <a:pt x="87" y="2075"/>
                  <a:pt x="87" y="2067"/>
                </a:cubicBezTo>
                <a:close/>
                <a:moveTo>
                  <a:pt x="95" y="2090"/>
                </a:moveTo>
                <a:cubicBezTo>
                  <a:pt x="95" y="2090"/>
                  <a:pt x="95" y="2082"/>
                  <a:pt x="95" y="2082"/>
                </a:cubicBezTo>
                <a:cubicBezTo>
                  <a:pt x="95" y="2082"/>
                  <a:pt x="95" y="2082"/>
                  <a:pt x="95" y="2090"/>
                </a:cubicBezTo>
                <a:close/>
                <a:moveTo>
                  <a:pt x="158" y="2161"/>
                </a:moveTo>
                <a:cubicBezTo>
                  <a:pt x="158" y="2168"/>
                  <a:pt x="158" y="2168"/>
                  <a:pt x="158" y="2168"/>
                </a:cubicBezTo>
                <a:cubicBezTo>
                  <a:pt x="158" y="2168"/>
                  <a:pt x="158" y="2161"/>
                  <a:pt x="158" y="2161"/>
                </a:cubicBezTo>
                <a:cubicBezTo>
                  <a:pt x="158" y="2161"/>
                  <a:pt x="158" y="2161"/>
                  <a:pt x="158" y="2161"/>
                </a:cubicBezTo>
                <a:close/>
                <a:moveTo>
                  <a:pt x="699" y="2317"/>
                </a:moveTo>
                <a:cubicBezTo>
                  <a:pt x="691" y="2317"/>
                  <a:pt x="691" y="2317"/>
                  <a:pt x="691" y="2317"/>
                </a:cubicBezTo>
                <a:cubicBezTo>
                  <a:pt x="691" y="2325"/>
                  <a:pt x="691" y="2325"/>
                  <a:pt x="691" y="2325"/>
                </a:cubicBezTo>
                <a:lnTo>
                  <a:pt x="699" y="2317"/>
                </a:lnTo>
                <a:close/>
                <a:moveTo>
                  <a:pt x="212" y="2247"/>
                </a:moveTo>
                <a:cubicBezTo>
                  <a:pt x="212" y="2247"/>
                  <a:pt x="212" y="2247"/>
                  <a:pt x="212" y="2247"/>
                </a:cubicBezTo>
                <a:cubicBezTo>
                  <a:pt x="212" y="2239"/>
                  <a:pt x="212" y="2239"/>
                  <a:pt x="212" y="2239"/>
                </a:cubicBezTo>
                <a:lnTo>
                  <a:pt x="212" y="2247"/>
                </a:lnTo>
                <a:close/>
                <a:moveTo>
                  <a:pt x="676" y="2356"/>
                </a:moveTo>
                <a:cubicBezTo>
                  <a:pt x="676" y="2356"/>
                  <a:pt x="676" y="2356"/>
                  <a:pt x="676" y="2348"/>
                </a:cubicBezTo>
                <a:cubicBezTo>
                  <a:pt x="676" y="2348"/>
                  <a:pt x="676" y="2348"/>
                  <a:pt x="668" y="2364"/>
                </a:cubicBezTo>
                <a:lnTo>
                  <a:pt x="676" y="2356"/>
                </a:lnTo>
                <a:close/>
                <a:moveTo>
                  <a:pt x="652" y="2395"/>
                </a:moveTo>
                <a:cubicBezTo>
                  <a:pt x="644" y="2395"/>
                  <a:pt x="644" y="2395"/>
                  <a:pt x="644" y="2395"/>
                </a:cubicBezTo>
                <a:cubicBezTo>
                  <a:pt x="644" y="2403"/>
                  <a:pt x="644" y="2403"/>
                  <a:pt x="644" y="2403"/>
                </a:cubicBezTo>
                <a:lnTo>
                  <a:pt x="652" y="2395"/>
                </a:lnTo>
                <a:close/>
                <a:moveTo>
                  <a:pt x="770" y="2176"/>
                </a:moveTo>
                <a:cubicBezTo>
                  <a:pt x="778" y="2176"/>
                  <a:pt x="778" y="2176"/>
                  <a:pt x="778" y="2176"/>
                </a:cubicBezTo>
                <a:cubicBezTo>
                  <a:pt x="770" y="2176"/>
                  <a:pt x="770" y="2176"/>
                  <a:pt x="770" y="2176"/>
                </a:cubicBezTo>
                <a:close/>
                <a:moveTo>
                  <a:pt x="778" y="2184"/>
                </a:moveTo>
                <a:cubicBezTo>
                  <a:pt x="778" y="2184"/>
                  <a:pt x="770" y="2176"/>
                  <a:pt x="770" y="2176"/>
                </a:cubicBezTo>
                <a:cubicBezTo>
                  <a:pt x="770" y="2176"/>
                  <a:pt x="770" y="2184"/>
                  <a:pt x="770" y="2184"/>
                </a:cubicBezTo>
                <a:cubicBezTo>
                  <a:pt x="770" y="2184"/>
                  <a:pt x="770" y="2184"/>
                  <a:pt x="778" y="2184"/>
                </a:cubicBezTo>
                <a:close/>
                <a:moveTo>
                  <a:pt x="770" y="2184"/>
                </a:moveTo>
                <a:cubicBezTo>
                  <a:pt x="770" y="2184"/>
                  <a:pt x="762" y="2192"/>
                  <a:pt x="770" y="2184"/>
                </a:cubicBezTo>
                <a:close/>
                <a:moveTo>
                  <a:pt x="762" y="2208"/>
                </a:moveTo>
                <a:cubicBezTo>
                  <a:pt x="762" y="2200"/>
                  <a:pt x="762" y="2200"/>
                  <a:pt x="762" y="2200"/>
                </a:cubicBezTo>
                <a:cubicBezTo>
                  <a:pt x="754" y="2208"/>
                  <a:pt x="754" y="2208"/>
                  <a:pt x="754" y="2208"/>
                </a:cubicBezTo>
                <a:lnTo>
                  <a:pt x="762" y="2208"/>
                </a:lnTo>
                <a:close/>
                <a:moveTo>
                  <a:pt x="676" y="2364"/>
                </a:moveTo>
                <a:cubicBezTo>
                  <a:pt x="676" y="2364"/>
                  <a:pt x="676" y="2364"/>
                  <a:pt x="676" y="2364"/>
                </a:cubicBezTo>
                <a:cubicBezTo>
                  <a:pt x="668" y="2364"/>
                  <a:pt x="668" y="2364"/>
                  <a:pt x="668" y="2372"/>
                </a:cubicBezTo>
                <a:cubicBezTo>
                  <a:pt x="676" y="2372"/>
                  <a:pt x="668" y="2372"/>
                  <a:pt x="676" y="2364"/>
                </a:cubicBezTo>
                <a:close/>
                <a:moveTo>
                  <a:pt x="676" y="2364"/>
                </a:moveTo>
                <a:cubicBezTo>
                  <a:pt x="676" y="2356"/>
                  <a:pt x="676" y="2356"/>
                  <a:pt x="676" y="2356"/>
                </a:cubicBezTo>
                <a:cubicBezTo>
                  <a:pt x="676" y="2356"/>
                  <a:pt x="676" y="2356"/>
                  <a:pt x="676" y="2356"/>
                </a:cubicBezTo>
                <a:cubicBezTo>
                  <a:pt x="676" y="2356"/>
                  <a:pt x="676" y="2364"/>
                  <a:pt x="676" y="2364"/>
                </a:cubicBezTo>
                <a:cubicBezTo>
                  <a:pt x="676" y="2364"/>
                  <a:pt x="676" y="2364"/>
                  <a:pt x="676" y="2364"/>
                </a:cubicBezTo>
                <a:close/>
                <a:moveTo>
                  <a:pt x="283" y="2341"/>
                </a:moveTo>
                <a:cubicBezTo>
                  <a:pt x="283" y="2341"/>
                  <a:pt x="283" y="2341"/>
                  <a:pt x="275" y="2341"/>
                </a:cubicBezTo>
                <a:cubicBezTo>
                  <a:pt x="283" y="2341"/>
                  <a:pt x="283" y="2341"/>
                  <a:pt x="283" y="2341"/>
                </a:cubicBezTo>
                <a:cubicBezTo>
                  <a:pt x="283" y="2341"/>
                  <a:pt x="283" y="2341"/>
                  <a:pt x="283" y="2341"/>
                </a:cubicBezTo>
                <a:close/>
                <a:moveTo>
                  <a:pt x="275" y="2325"/>
                </a:moveTo>
                <a:cubicBezTo>
                  <a:pt x="275" y="2325"/>
                  <a:pt x="275" y="2325"/>
                  <a:pt x="275" y="2325"/>
                </a:cubicBezTo>
                <a:cubicBezTo>
                  <a:pt x="267" y="2325"/>
                  <a:pt x="267" y="2325"/>
                  <a:pt x="267" y="2325"/>
                </a:cubicBezTo>
                <a:cubicBezTo>
                  <a:pt x="267" y="2325"/>
                  <a:pt x="267" y="2325"/>
                  <a:pt x="275" y="2333"/>
                </a:cubicBezTo>
                <a:cubicBezTo>
                  <a:pt x="275" y="2333"/>
                  <a:pt x="275" y="2333"/>
                  <a:pt x="275" y="2333"/>
                </a:cubicBezTo>
                <a:cubicBezTo>
                  <a:pt x="275" y="2333"/>
                  <a:pt x="275" y="2333"/>
                  <a:pt x="275" y="2333"/>
                </a:cubicBezTo>
                <a:cubicBezTo>
                  <a:pt x="275" y="2333"/>
                  <a:pt x="275" y="2341"/>
                  <a:pt x="275" y="2341"/>
                </a:cubicBezTo>
                <a:cubicBezTo>
                  <a:pt x="275" y="2341"/>
                  <a:pt x="275" y="2341"/>
                  <a:pt x="275" y="2341"/>
                </a:cubicBezTo>
                <a:cubicBezTo>
                  <a:pt x="275" y="2333"/>
                  <a:pt x="275" y="2333"/>
                  <a:pt x="275" y="2325"/>
                </a:cubicBezTo>
                <a:close/>
                <a:moveTo>
                  <a:pt x="291" y="2348"/>
                </a:moveTo>
                <a:cubicBezTo>
                  <a:pt x="291" y="2348"/>
                  <a:pt x="291" y="2348"/>
                  <a:pt x="291" y="2356"/>
                </a:cubicBezTo>
                <a:cubicBezTo>
                  <a:pt x="291" y="2341"/>
                  <a:pt x="291" y="2348"/>
                  <a:pt x="291" y="2348"/>
                </a:cubicBezTo>
                <a:close/>
                <a:moveTo>
                  <a:pt x="275" y="2341"/>
                </a:moveTo>
                <a:cubicBezTo>
                  <a:pt x="283" y="2341"/>
                  <a:pt x="275" y="2341"/>
                  <a:pt x="283" y="2341"/>
                </a:cubicBezTo>
                <a:cubicBezTo>
                  <a:pt x="283" y="2341"/>
                  <a:pt x="283" y="2341"/>
                  <a:pt x="283" y="2341"/>
                </a:cubicBezTo>
                <a:cubicBezTo>
                  <a:pt x="283" y="2341"/>
                  <a:pt x="283" y="2341"/>
                  <a:pt x="283" y="2341"/>
                </a:cubicBezTo>
                <a:cubicBezTo>
                  <a:pt x="283" y="2341"/>
                  <a:pt x="275" y="2341"/>
                  <a:pt x="275" y="2341"/>
                </a:cubicBezTo>
                <a:close/>
                <a:moveTo>
                  <a:pt x="291" y="2356"/>
                </a:moveTo>
                <a:cubicBezTo>
                  <a:pt x="291" y="2356"/>
                  <a:pt x="291" y="2356"/>
                  <a:pt x="291" y="2356"/>
                </a:cubicBezTo>
                <a:cubicBezTo>
                  <a:pt x="291" y="2356"/>
                  <a:pt x="291" y="2356"/>
                  <a:pt x="291" y="2356"/>
                </a:cubicBezTo>
                <a:cubicBezTo>
                  <a:pt x="291" y="2356"/>
                  <a:pt x="291" y="2356"/>
                  <a:pt x="291" y="2356"/>
                </a:cubicBezTo>
                <a:close/>
                <a:moveTo>
                  <a:pt x="252" y="2309"/>
                </a:moveTo>
                <a:cubicBezTo>
                  <a:pt x="244" y="2301"/>
                  <a:pt x="244" y="2301"/>
                  <a:pt x="244" y="2301"/>
                </a:cubicBezTo>
                <a:cubicBezTo>
                  <a:pt x="244" y="2294"/>
                  <a:pt x="236" y="2286"/>
                  <a:pt x="244" y="2286"/>
                </a:cubicBezTo>
                <a:cubicBezTo>
                  <a:pt x="244" y="2286"/>
                  <a:pt x="244" y="2286"/>
                  <a:pt x="228" y="2286"/>
                </a:cubicBezTo>
                <a:cubicBezTo>
                  <a:pt x="244" y="2301"/>
                  <a:pt x="252" y="2309"/>
                  <a:pt x="260" y="2317"/>
                </a:cubicBezTo>
                <a:cubicBezTo>
                  <a:pt x="260" y="2317"/>
                  <a:pt x="260" y="2309"/>
                  <a:pt x="260" y="2309"/>
                </a:cubicBezTo>
                <a:cubicBezTo>
                  <a:pt x="252" y="2301"/>
                  <a:pt x="252" y="2301"/>
                  <a:pt x="252" y="2309"/>
                </a:cubicBezTo>
                <a:close/>
                <a:moveTo>
                  <a:pt x="322" y="2380"/>
                </a:moveTo>
                <a:cubicBezTo>
                  <a:pt x="315" y="2372"/>
                  <a:pt x="322" y="2380"/>
                  <a:pt x="315" y="2372"/>
                </a:cubicBezTo>
                <a:cubicBezTo>
                  <a:pt x="315" y="2372"/>
                  <a:pt x="315" y="2372"/>
                  <a:pt x="315" y="2380"/>
                </a:cubicBezTo>
                <a:cubicBezTo>
                  <a:pt x="322" y="2388"/>
                  <a:pt x="322" y="2380"/>
                  <a:pt x="322" y="2388"/>
                </a:cubicBezTo>
                <a:cubicBezTo>
                  <a:pt x="322" y="2388"/>
                  <a:pt x="322" y="2388"/>
                  <a:pt x="322" y="2388"/>
                </a:cubicBezTo>
                <a:cubicBezTo>
                  <a:pt x="322" y="2388"/>
                  <a:pt x="322" y="2388"/>
                  <a:pt x="322" y="2380"/>
                </a:cubicBezTo>
                <a:close/>
                <a:moveTo>
                  <a:pt x="197" y="2231"/>
                </a:moveTo>
                <a:cubicBezTo>
                  <a:pt x="197" y="2231"/>
                  <a:pt x="197" y="2231"/>
                  <a:pt x="197" y="2231"/>
                </a:cubicBezTo>
                <a:cubicBezTo>
                  <a:pt x="197" y="2231"/>
                  <a:pt x="197" y="2231"/>
                  <a:pt x="197" y="2231"/>
                </a:cubicBezTo>
                <a:close/>
                <a:moveTo>
                  <a:pt x="197" y="2239"/>
                </a:moveTo>
                <a:cubicBezTo>
                  <a:pt x="197" y="2239"/>
                  <a:pt x="197" y="2239"/>
                  <a:pt x="197" y="2239"/>
                </a:cubicBezTo>
                <a:cubicBezTo>
                  <a:pt x="197" y="2239"/>
                  <a:pt x="197" y="2239"/>
                  <a:pt x="197" y="2239"/>
                </a:cubicBezTo>
                <a:cubicBezTo>
                  <a:pt x="197" y="2239"/>
                  <a:pt x="205" y="2239"/>
                  <a:pt x="205" y="2239"/>
                </a:cubicBezTo>
                <a:cubicBezTo>
                  <a:pt x="205" y="2239"/>
                  <a:pt x="205" y="2239"/>
                  <a:pt x="205" y="2239"/>
                </a:cubicBezTo>
                <a:cubicBezTo>
                  <a:pt x="197" y="2231"/>
                  <a:pt x="197" y="2231"/>
                  <a:pt x="197" y="2231"/>
                </a:cubicBezTo>
                <a:cubicBezTo>
                  <a:pt x="197" y="2231"/>
                  <a:pt x="197" y="2239"/>
                  <a:pt x="197" y="2239"/>
                </a:cubicBezTo>
                <a:close/>
                <a:moveTo>
                  <a:pt x="362" y="2427"/>
                </a:moveTo>
                <a:cubicBezTo>
                  <a:pt x="354" y="2419"/>
                  <a:pt x="354" y="2419"/>
                  <a:pt x="354" y="2419"/>
                </a:cubicBezTo>
                <a:cubicBezTo>
                  <a:pt x="354" y="2427"/>
                  <a:pt x="354" y="2427"/>
                  <a:pt x="354" y="2427"/>
                </a:cubicBezTo>
                <a:lnTo>
                  <a:pt x="362" y="2427"/>
                </a:lnTo>
                <a:close/>
                <a:moveTo>
                  <a:pt x="393" y="2474"/>
                </a:moveTo>
                <a:cubicBezTo>
                  <a:pt x="393" y="2474"/>
                  <a:pt x="393" y="2466"/>
                  <a:pt x="393" y="2466"/>
                </a:cubicBezTo>
                <a:cubicBezTo>
                  <a:pt x="393" y="2474"/>
                  <a:pt x="393" y="2474"/>
                  <a:pt x="393" y="2474"/>
                </a:cubicBezTo>
                <a:cubicBezTo>
                  <a:pt x="393" y="2474"/>
                  <a:pt x="393" y="2474"/>
                  <a:pt x="393" y="2474"/>
                </a:cubicBezTo>
                <a:close/>
                <a:moveTo>
                  <a:pt x="346" y="2411"/>
                </a:moveTo>
                <a:cubicBezTo>
                  <a:pt x="346" y="2411"/>
                  <a:pt x="346" y="2411"/>
                  <a:pt x="346" y="2411"/>
                </a:cubicBezTo>
                <a:cubicBezTo>
                  <a:pt x="346" y="2411"/>
                  <a:pt x="346" y="2411"/>
                  <a:pt x="346" y="2411"/>
                </a:cubicBezTo>
                <a:cubicBezTo>
                  <a:pt x="338" y="2403"/>
                  <a:pt x="338" y="2403"/>
                  <a:pt x="338" y="2403"/>
                </a:cubicBezTo>
                <a:cubicBezTo>
                  <a:pt x="338" y="2403"/>
                  <a:pt x="338" y="2403"/>
                  <a:pt x="330" y="2403"/>
                </a:cubicBezTo>
                <a:cubicBezTo>
                  <a:pt x="338" y="2403"/>
                  <a:pt x="338" y="2403"/>
                  <a:pt x="338" y="2403"/>
                </a:cubicBezTo>
                <a:cubicBezTo>
                  <a:pt x="322" y="2388"/>
                  <a:pt x="322" y="2388"/>
                  <a:pt x="322" y="2388"/>
                </a:cubicBezTo>
                <a:cubicBezTo>
                  <a:pt x="330" y="2395"/>
                  <a:pt x="330" y="2403"/>
                  <a:pt x="338" y="2411"/>
                </a:cubicBezTo>
                <a:cubicBezTo>
                  <a:pt x="338" y="2411"/>
                  <a:pt x="338" y="2411"/>
                  <a:pt x="346" y="2419"/>
                </a:cubicBezTo>
                <a:cubicBezTo>
                  <a:pt x="346" y="2411"/>
                  <a:pt x="346" y="2411"/>
                  <a:pt x="346" y="2419"/>
                </a:cubicBezTo>
                <a:cubicBezTo>
                  <a:pt x="346" y="2419"/>
                  <a:pt x="346" y="2419"/>
                  <a:pt x="346" y="2411"/>
                </a:cubicBezTo>
                <a:cubicBezTo>
                  <a:pt x="346" y="2411"/>
                  <a:pt x="346" y="2411"/>
                  <a:pt x="346" y="2411"/>
                </a:cubicBezTo>
                <a:close/>
                <a:moveTo>
                  <a:pt x="370" y="2442"/>
                </a:moveTo>
                <a:cubicBezTo>
                  <a:pt x="362" y="2435"/>
                  <a:pt x="362" y="2435"/>
                  <a:pt x="354" y="2427"/>
                </a:cubicBezTo>
                <a:cubicBezTo>
                  <a:pt x="354" y="2427"/>
                  <a:pt x="354" y="2427"/>
                  <a:pt x="354" y="2427"/>
                </a:cubicBezTo>
                <a:cubicBezTo>
                  <a:pt x="354" y="2427"/>
                  <a:pt x="354" y="2427"/>
                  <a:pt x="370" y="2442"/>
                </a:cubicBezTo>
                <a:close/>
                <a:moveTo>
                  <a:pt x="424" y="2505"/>
                </a:moveTo>
                <a:cubicBezTo>
                  <a:pt x="432" y="2513"/>
                  <a:pt x="432" y="2513"/>
                  <a:pt x="432" y="2513"/>
                </a:cubicBezTo>
                <a:cubicBezTo>
                  <a:pt x="440" y="2521"/>
                  <a:pt x="440" y="2521"/>
                  <a:pt x="440" y="2521"/>
                </a:cubicBezTo>
                <a:lnTo>
                  <a:pt x="424" y="2505"/>
                </a:lnTo>
                <a:close/>
                <a:moveTo>
                  <a:pt x="566" y="2521"/>
                </a:moveTo>
                <a:cubicBezTo>
                  <a:pt x="566" y="2521"/>
                  <a:pt x="566" y="2521"/>
                  <a:pt x="566" y="2521"/>
                </a:cubicBezTo>
                <a:cubicBezTo>
                  <a:pt x="558" y="2521"/>
                  <a:pt x="550" y="2521"/>
                  <a:pt x="566" y="2521"/>
                </a:cubicBezTo>
                <a:close/>
                <a:moveTo>
                  <a:pt x="566" y="2521"/>
                </a:moveTo>
                <a:cubicBezTo>
                  <a:pt x="566" y="2521"/>
                  <a:pt x="566" y="2521"/>
                  <a:pt x="566" y="2521"/>
                </a:cubicBezTo>
                <a:cubicBezTo>
                  <a:pt x="527" y="2521"/>
                  <a:pt x="487" y="2521"/>
                  <a:pt x="472" y="2521"/>
                </a:cubicBezTo>
                <a:cubicBezTo>
                  <a:pt x="527" y="2521"/>
                  <a:pt x="558" y="2521"/>
                  <a:pt x="566" y="2521"/>
                </a:cubicBezTo>
                <a:close/>
                <a:moveTo>
                  <a:pt x="566" y="2521"/>
                </a:moveTo>
                <a:cubicBezTo>
                  <a:pt x="566" y="2521"/>
                  <a:pt x="566" y="2521"/>
                  <a:pt x="566" y="2521"/>
                </a:cubicBezTo>
                <a:cubicBezTo>
                  <a:pt x="582" y="2521"/>
                  <a:pt x="589" y="2521"/>
                  <a:pt x="566" y="2521"/>
                </a:cubicBezTo>
                <a:close/>
                <a:moveTo>
                  <a:pt x="456" y="2521"/>
                </a:moveTo>
                <a:cubicBezTo>
                  <a:pt x="401" y="2528"/>
                  <a:pt x="456" y="2521"/>
                  <a:pt x="456" y="2521"/>
                </a:cubicBezTo>
                <a:close/>
                <a:moveTo>
                  <a:pt x="299" y="2364"/>
                </a:moveTo>
                <a:cubicBezTo>
                  <a:pt x="307" y="2372"/>
                  <a:pt x="307" y="2372"/>
                  <a:pt x="307" y="2372"/>
                </a:cubicBezTo>
                <a:cubicBezTo>
                  <a:pt x="299" y="2356"/>
                  <a:pt x="299" y="2364"/>
                  <a:pt x="299" y="2356"/>
                </a:cubicBezTo>
                <a:cubicBezTo>
                  <a:pt x="291" y="2356"/>
                  <a:pt x="291" y="2356"/>
                  <a:pt x="291" y="2356"/>
                </a:cubicBezTo>
                <a:cubicBezTo>
                  <a:pt x="299" y="2356"/>
                  <a:pt x="299" y="2364"/>
                  <a:pt x="299" y="2364"/>
                </a:cubicBezTo>
                <a:close/>
                <a:moveTo>
                  <a:pt x="354" y="2427"/>
                </a:moveTo>
                <a:cubicBezTo>
                  <a:pt x="354" y="2427"/>
                  <a:pt x="354" y="2427"/>
                  <a:pt x="354" y="2427"/>
                </a:cubicBezTo>
                <a:cubicBezTo>
                  <a:pt x="354" y="2427"/>
                  <a:pt x="354" y="2427"/>
                  <a:pt x="354" y="2427"/>
                </a:cubicBezTo>
                <a:close/>
                <a:moveTo>
                  <a:pt x="346" y="2427"/>
                </a:moveTo>
                <a:cubicBezTo>
                  <a:pt x="354" y="2427"/>
                  <a:pt x="354" y="2427"/>
                  <a:pt x="354" y="2427"/>
                </a:cubicBezTo>
                <a:cubicBezTo>
                  <a:pt x="346" y="2419"/>
                  <a:pt x="346" y="2419"/>
                  <a:pt x="346" y="2419"/>
                </a:cubicBezTo>
                <a:lnTo>
                  <a:pt x="346" y="2427"/>
                </a:lnTo>
                <a:close/>
                <a:moveTo>
                  <a:pt x="315" y="2380"/>
                </a:moveTo>
                <a:cubicBezTo>
                  <a:pt x="315" y="2380"/>
                  <a:pt x="315" y="2380"/>
                  <a:pt x="307" y="2372"/>
                </a:cubicBezTo>
                <a:cubicBezTo>
                  <a:pt x="307" y="2372"/>
                  <a:pt x="315" y="2380"/>
                  <a:pt x="315" y="2380"/>
                </a:cubicBezTo>
                <a:close/>
                <a:moveTo>
                  <a:pt x="260" y="2309"/>
                </a:moveTo>
                <a:cubicBezTo>
                  <a:pt x="260" y="2325"/>
                  <a:pt x="260" y="2325"/>
                  <a:pt x="260" y="2325"/>
                </a:cubicBezTo>
                <a:cubicBezTo>
                  <a:pt x="260" y="2317"/>
                  <a:pt x="260" y="2317"/>
                  <a:pt x="260" y="2317"/>
                </a:cubicBezTo>
                <a:lnTo>
                  <a:pt x="260" y="2309"/>
                </a:lnTo>
                <a:close/>
                <a:moveTo>
                  <a:pt x="417" y="2505"/>
                </a:moveTo>
                <a:cubicBezTo>
                  <a:pt x="417" y="2497"/>
                  <a:pt x="417" y="2497"/>
                  <a:pt x="417" y="2497"/>
                </a:cubicBezTo>
                <a:cubicBezTo>
                  <a:pt x="409" y="2489"/>
                  <a:pt x="409" y="2489"/>
                  <a:pt x="409" y="2489"/>
                </a:cubicBezTo>
                <a:lnTo>
                  <a:pt x="417" y="2505"/>
                </a:lnTo>
                <a:close/>
                <a:moveTo>
                  <a:pt x="260" y="2317"/>
                </a:moveTo>
                <a:cubicBezTo>
                  <a:pt x="260" y="2325"/>
                  <a:pt x="267" y="2325"/>
                  <a:pt x="260" y="2325"/>
                </a:cubicBezTo>
                <a:cubicBezTo>
                  <a:pt x="260" y="2325"/>
                  <a:pt x="260" y="2325"/>
                  <a:pt x="260" y="2317"/>
                </a:cubicBezTo>
                <a:close/>
                <a:moveTo>
                  <a:pt x="432" y="501"/>
                </a:moveTo>
                <a:cubicBezTo>
                  <a:pt x="432" y="501"/>
                  <a:pt x="440" y="501"/>
                  <a:pt x="440" y="517"/>
                </a:cubicBezTo>
                <a:cubicBezTo>
                  <a:pt x="440" y="501"/>
                  <a:pt x="440" y="501"/>
                  <a:pt x="448" y="501"/>
                </a:cubicBezTo>
                <a:cubicBezTo>
                  <a:pt x="448" y="501"/>
                  <a:pt x="448" y="501"/>
                  <a:pt x="432" y="501"/>
                </a:cubicBezTo>
                <a:close/>
                <a:moveTo>
                  <a:pt x="424" y="501"/>
                </a:moveTo>
                <a:cubicBezTo>
                  <a:pt x="432" y="501"/>
                  <a:pt x="432" y="501"/>
                  <a:pt x="432" y="501"/>
                </a:cubicBezTo>
                <a:cubicBezTo>
                  <a:pt x="432" y="501"/>
                  <a:pt x="424" y="501"/>
                  <a:pt x="424" y="501"/>
                </a:cubicBezTo>
                <a:close/>
                <a:moveTo>
                  <a:pt x="456" y="619"/>
                </a:moveTo>
                <a:cubicBezTo>
                  <a:pt x="464" y="627"/>
                  <a:pt x="464" y="627"/>
                  <a:pt x="464" y="627"/>
                </a:cubicBezTo>
                <a:cubicBezTo>
                  <a:pt x="464" y="627"/>
                  <a:pt x="464" y="627"/>
                  <a:pt x="464" y="619"/>
                </a:cubicBezTo>
                <a:cubicBezTo>
                  <a:pt x="464" y="619"/>
                  <a:pt x="464" y="619"/>
                  <a:pt x="464" y="611"/>
                </a:cubicBezTo>
                <a:cubicBezTo>
                  <a:pt x="456" y="611"/>
                  <a:pt x="456" y="611"/>
                  <a:pt x="456" y="611"/>
                </a:cubicBezTo>
                <a:cubicBezTo>
                  <a:pt x="456" y="611"/>
                  <a:pt x="456" y="611"/>
                  <a:pt x="456" y="619"/>
                </a:cubicBezTo>
                <a:cubicBezTo>
                  <a:pt x="456" y="619"/>
                  <a:pt x="456" y="619"/>
                  <a:pt x="456" y="619"/>
                </a:cubicBezTo>
                <a:cubicBezTo>
                  <a:pt x="456" y="619"/>
                  <a:pt x="456" y="619"/>
                  <a:pt x="456" y="619"/>
                </a:cubicBezTo>
                <a:cubicBezTo>
                  <a:pt x="456" y="619"/>
                  <a:pt x="456" y="619"/>
                  <a:pt x="456" y="627"/>
                </a:cubicBezTo>
                <a:cubicBezTo>
                  <a:pt x="456" y="627"/>
                  <a:pt x="456" y="627"/>
                  <a:pt x="456" y="627"/>
                </a:cubicBezTo>
                <a:cubicBezTo>
                  <a:pt x="456" y="634"/>
                  <a:pt x="456" y="634"/>
                  <a:pt x="456" y="627"/>
                </a:cubicBezTo>
                <a:cubicBezTo>
                  <a:pt x="456" y="627"/>
                  <a:pt x="456" y="627"/>
                  <a:pt x="456" y="634"/>
                </a:cubicBezTo>
                <a:cubicBezTo>
                  <a:pt x="456" y="627"/>
                  <a:pt x="456" y="627"/>
                  <a:pt x="456" y="619"/>
                </a:cubicBezTo>
                <a:cubicBezTo>
                  <a:pt x="456" y="619"/>
                  <a:pt x="456" y="619"/>
                  <a:pt x="456" y="619"/>
                </a:cubicBezTo>
                <a:close/>
                <a:moveTo>
                  <a:pt x="464" y="658"/>
                </a:moveTo>
                <a:cubicBezTo>
                  <a:pt x="464" y="650"/>
                  <a:pt x="464" y="650"/>
                  <a:pt x="464" y="634"/>
                </a:cubicBezTo>
                <a:cubicBezTo>
                  <a:pt x="464" y="634"/>
                  <a:pt x="456" y="634"/>
                  <a:pt x="456" y="634"/>
                </a:cubicBezTo>
                <a:cubicBezTo>
                  <a:pt x="464" y="650"/>
                  <a:pt x="464" y="658"/>
                  <a:pt x="464" y="674"/>
                </a:cubicBezTo>
                <a:cubicBezTo>
                  <a:pt x="464" y="674"/>
                  <a:pt x="464" y="674"/>
                  <a:pt x="464" y="666"/>
                </a:cubicBezTo>
                <a:cubicBezTo>
                  <a:pt x="464" y="666"/>
                  <a:pt x="464" y="666"/>
                  <a:pt x="464" y="658"/>
                </a:cubicBezTo>
                <a:close/>
                <a:moveTo>
                  <a:pt x="464" y="674"/>
                </a:moveTo>
                <a:cubicBezTo>
                  <a:pt x="464" y="674"/>
                  <a:pt x="464" y="681"/>
                  <a:pt x="464" y="681"/>
                </a:cubicBezTo>
                <a:cubicBezTo>
                  <a:pt x="464" y="697"/>
                  <a:pt x="464" y="697"/>
                  <a:pt x="464" y="697"/>
                </a:cubicBezTo>
                <a:cubicBezTo>
                  <a:pt x="464" y="697"/>
                  <a:pt x="464" y="697"/>
                  <a:pt x="464" y="697"/>
                </a:cubicBezTo>
                <a:cubicBezTo>
                  <a:pt x="464" y="697"/>
                  <a:pt x="464" y="697"/>
                  <a:pt x="464" y="697"/>
                </a:cubicBezTo>
                <a:cubicBezTo>
                  <a:pt x="464" y="697"/>
                  <a:pt x="464" y="697"/>
                  <a:pt x="464" y="697"/>
                </a:cubicBezTo>
                <a:cubicBezTo>
                  <a:pt x="464" y="705"/>
                  <a:pt x="464" y="697"/>
                  <a:pt x="464" y="705"/>
                </a:cubicBezTo>
                <a:cubicBezTo>
                  <a:pt x="464" y="705"/>
                  <a:pt x="464" y="705"/>
                  <a:pt x="464" y="713"/>
                </a:cubicBezTo>
                <a:cubicBezTo>
                  <a:pt x="464" y="728"/>
                  <a:pt x="472" y="744"/>
                  <a:pt x="472" y="767"/>
                </a:cubicBezTo>
                <a:cubicBezTo>
                  <a:pt x="472" y="767"/>
                  <a:pt x="472" y="760"/>
                  <a:pt x="472" y="752"/>
                </a:cubicBezTo>
                <a:cubicBezTo>
                  <a:pt x="472" y="752"/>
                  <a:pt x="472" y="752"/>
                  <a:pt x="472" y="744"/>
                </a:cubicBezTo>
                <a:cubicBezTo>
                  <a:pt x="464" y="736"/>
                  <a:pt x="464" y="736"/>
                  <a:pt x="464" y="721"/>
                </a:cubicBezTo>
                <a:cubicBezTo>
                  <a:pt x="464" y="721"/>
                  <a:pt x="464" y="721"/>
                  <a:pt x="464" y="713"/>
                </a:cubicBezTo>
                <a:cubicBezTo>
                  <a:pt x="464" y="713"/>
                  <a:pt x="464" y="713"/>
                  <a:pt x="464" y="713"/>
                </a:cubicBezTo>
                <a:cubicBezTo>
                  <a:pt x="464" y="705"/>
                  <a:pt x="464" y="705"/>
                  <a:pt x="464" y="697"/>
                </a:cubicBezTo>
                <a:cubicBezTo>
                  <a:pt x="464" y="697"/>
                  <a:pt x="464" y="697"/>
                  <a:pt x="464" y="697"/>
                </a:cubicBezTo>
                <a:cubicBezTo>
                  <a:pt x="464" y="689"/>
                  <a:pt x="464" y="689"/>
                  <a:pt x="464" y="681"/>
                </a:cubicBezTo>
                <a:cubicBezTo>
                  <a:pt x="464" y="681"/>
                  <a:pt x="464" y="681"/>
                  <a:pt x="464" y="666"/>
                </a:cubicBezTo>
                <a:cubicBezTo>
                  <a:pt x="464" y="666"/>
                  <a:pt x="464" y="666"/>
                  <a:pt x="464" y="674"/>
                </a:cubicBezTo>
                <a:close/>
                <a:moveTo>
                  <a:pt x="472" y="924"/>
                </a:moveTo>
                <a:cubicBezTo>
                  <a:pt x="472" y="924"/>
                  <a:pt x="472" y="924"/>
                  <a:pt x="464" y="924"/>
                </a:cubicBezTo>
                <a:cubicBezTo>
                  <a:pt x="472" y="932"/>
                  <a:pt x="472" y="932"/>
                  <a:pt x="472" y="932"/>
                </a:cubicBezTo>
                <a:cubicBezTo>
                  <a:pt x="472" y="932"/>
                  <a:pt x="472" y="924"/>
                  <a:pt x="472" y="924"/>
                </a:cubicBezTo>
                <a:close/>
                <a:moveTo>
                  <a:pt x="464" y="1644"/>
                </a:moveTo>
                <a:cubicBezTo>
                  <a:pt x="464" y="1644"/>
                  <a:pt x="464" y="1644"/>
                  <a:pt x="464" y="1668"/>
                </a:cubicBezTo>
                <a:cubicBezTo>
                  <a:pt x="464" y="1691"/>
                  <a:pt x="464" y="1691"/>
                  <a:pt x="464" y="1691"/>
                </a:cubicBezTo>
                <a:cubicBezTo>
                  <a:pt x="464" y="1714"/>
                  <a:pt x="464" y="1730"/>
                  <a:pt x="464" y="1761"/>
                </a:cubicBezTo>
                <a:cubicBezTo>
                  <a:pt x="464" y="1761"/>
                  <a:pt x="464" y="1761"/>
                  <a:pt x="464" y="1761"/>
                </a:cubicBezTo>
                <a:cubicBezTo>
                  <a:pt x="464" y="1761"/>
                  <a:pt x="464" y="1761"/>
                  <a:pt x="464" y="1761"/>
                </a:cubicBezTo>
                <a:cubicBezTo>
                  <a:pt x="464" y="1769"/>
                  <a:pt x="464" y="1777"/>
                  <a:pt x="464" y="1793"/>
                </a:cubicBezTo>
                <a:cubicBezTo>
                  <a:pt x="464" y="1785"/>
                  <a:pt x="464" y="1769"/>
                  <a:pt x="464" y="1754"/>
                </a:cubicBezTo>
                <a:cubicBezTo>
                  <a:pt x="464" y="1754"/>
                  <a:pt x="464" y="1754"/>
                  <a:pt x="464" y="1754"/>
                </a:cubicBezTo>
                <a:cubicBezTo>
                  <a:pt x="464" y="1754"/>
                  <a:pt x="464" y="1754"/>
                  <a:pt x="464" y="1754"/>
                </a:cubicBezTo>
                <a:cubicBezTo>
                  <a:pt x="464" y="1754"/>
                  <a:pt x="464" y="1746"/>
                  <a:pt x="464" y="1746"/>
                </a:cubicBezTo>
                <a:cubicBezTo>
                  <a:pt x="464" y="1746"/>
                  <a:pt x="464" y="1746"/>
                  <a:pt x="472" y="1707"/>
                </a:cubicBezTo>
                <a:cubicBezTo>
                  <a:pt x="472" y="1707"/>
                  <a:pt x="472" y="1707"/>
                  <a:pt x="472" y="1691"/>
                </a:cubicBezTo>
                <a:cubicBezTo>
                  <a:pt x="472" y="1691"/>
                  <a:pt x="472" y="1691"/>
                  <a:pt x="472" y="1707"/>
                </a:cubicBezTo>
                <a:cubicBezTo>
                  <a:pt x="472" y="1691"/>
                  <a:pt x="472" y="1668"/>
                  <a:pt x="472" y="1660"/>
                </a:cubicBezTo>
                <a:cubicBezTo>
                  <a:pt x="472" y="1660"/>
                  <a:pt x="472" y="1660"/>
                  <a:pt x="464" y="1644"/>
                </a:cubicBezTo>
                <a:close/>
                <a:moveTo>
                  <a:pt x="464" y="2067"/>
                </a:moveTo>
                <a:cubicBezTo>
                  <a:pt x="472" y="2067"/>
                  <a:pt x="472" y="2067"/>
                  <a:pt x="472" y="2067"/>
                </a:cubicBezTo>
                <a:cubicBezTo>
                  <a:pt x="464" y="2059"/>
                  <a:pt x="472" y="2067"/>
                  <a:pt x="464" y="2067"/>
                </a:cubicBezTo>
                <a:close/>
                <a:moveTo>
                  <a:pt x="472" y="1785"/>
                </a:moveTo>
                <a:cubicBezTo>
                  <a:pt x="472" y="1793"/>
                  <a:pt x="472" y="1793"/>
                  <a:pt x="472" y="1801"/>
                </a:cubicBezTo>
                <a:cubicBezTo>
                  <a:pt x="472" y="1793"/>
                  <a:pt x="472" y="1793"/>
                  <a:pt x="472" y="1785"/>
                </a:cubicBezTo>
                <a:close/>
                <a:moveTo>
                  <a:pt x="479" y="2137"/>
                </a:moveTo>
                <a:cubicBezTo>
                  <a:pt x="479" y="2137"/>
                  <a:pt x="479" y="2137"/>
                  <a:pt x="479" y="2137"/>
                </a:cubicBezTo>
                <a:cubicBezTo>
                  <a:pt x="479" y="2137"/>
                  <a:pt x="479" y="2137"/>
                  <a:pt x="479" y="2121"/>
                </a:cubicBezTo>
                <a:cubicBezTo>
                  <a:pt x="479" y="2121"/>
                  <a:pt x="479" y="2121"/>
                  <a:pt x="479" y="2145"/>
                </a:cubicBezTo>
                <a:cubicBezTo>
                  <a:pt x="479" y="2137"/>
                  <a:pt x="479" y="2137"/>
                  <a:pt x="479" y="2137"/>
                </a:cubicBezTo>
                <a:cubicBezTo>
                  <a:pt x="479" y="2137"/>
                  <a:pt x="479" y="2137"/>
                  <a:pt x="479" y="2137"/>
                </a:cubicBezTo>
                <a:close/>
                <a:moveTo>
                  <a:pt x="464" y="2028"/>
                </a:moveTo>
                <a:cubicBezTo>
                  <a:pt x="464" y="2028"/>
                  <a:pt x="464" y="2035"/>
                  <a:pt x="464" y="2035"/>
                </a:cubicBezTo>
                <a:cubicBezTo>
                  <a:pt x="464" y="2035"/>
                  <a:pt x="464" y="2035"/>
                  <a:pt x="472" y="2067"/>
                </a:cubicBezTo>
                <a:cubicBezTo>
                  <a:pt x="479" y="2075"/>
                  <a:pt x="479" y="2075"/>
                  <a:pt x="479" y="2075"/>
                </a:cubicBezTo>
                <a:cubicBezTo>
                  <a:pt x="479" y="2075"/>
                  <a:pt x="479" y="2075"/>
                  <a:pt x="472" y="2059"/>
                </a:cubicBezTo>
                <a:cubicBezTo>
                  <a:pt x="472" y="2043"/>
                  <a:pt x="472" y="2035"/>
                  <a:pt x="464" y="2028"/>
                </a:cubicBezTo>
                <a:close/>
                <a:moveTo>
                  <a:pt x="464" y="1988"/>
                </a:moveTo>
                <a:cubicBezTo>
                  <a:pt x="464" y="2004"/>
                  <a:pt x="464" y="2012"/>
                  <a:pt x="464" y="2028"/>
                </a:cubicBezTo>
                <a:cubicBezTo>
                  <a:pt x="464" y="2020"/>
                  <a:pt x="464" y="2012"/>
                  <a:pt x="464" y="2012"/>
                </a:cubicBezTo>
                <a:cubicBezTo>
                  <a:pt x="464" y="1988"/>
                  <a:pt x="464" y="1988"/>
                  <a:pt x="464" y="1988"/>
                </a:cubicBezTo>
                <a:close/>
                <a:moveTo>
                  <a:pt x="479" y="1315"/>
                </a:moveTo>
                <a:cubicBezTo>
                  <a:pt x="479" y="1323"/>
                  <a:pt x="479" y="1323"/>
                  <a:pt x="472" y="1331"/>
                </a:cubicBezTo>
                <a:cubicBezTo>
                  <a:pt x="479" y="1354"/>
                  <a:pt x="479" y="1354"/>
                  <a:pt x="479" y="1354"/>
                </a:cubicBezTo>
                <a:cubicBezTo>
                  <a:pt x="479" y="1347"/>
                  <a:pt x="479" y="1339"/>
                  <a:pt x="479" y="1315"/>
                </a:cubicBezTo>
                <a:close/>
                <a:moveTo>
                  <a:pt x="487" y="2153"/>
                </a:moveTo>
                <a:cubicBezTo>
                  <a:pt x="479" y="2145"/>
                  <a:pt x="479" y="2145"/>
                  <a:pt x="479" y="2145"/>
                </a:cubicBezTo>
                <a:cubicBezTo>
                  <a:pt x="487" y="2161"/>
                  <a:pt x="487" y="2161"/>
                  <a:pt x="487" y="2161"/>
                </a:cubicBezTo>
                <a:lnTo>
                  <a:pt x="487" y="2153"/>
                </a:lnTo>
                <a:close/>
                <a:moveTo>
                  <a:pt x="464" y="814"/>
                </a:moveTo>
                <a:cubicBezTo>
                  <a:pt x="464" y="846"/>
                  <a:pt x="464" y="846"/>
                  <a:pt x="464" y="861"/>
                </a:cubicBezTo>
                <a:cubicBezTo>
                  <a:pt x="464" y="877"/>
                  <a:pt x="464" y="877"/>
                  <a:pt x="464" y="877"/>
                </a:cubicBezTo>
                <a:cubicBezTo>
                  <a:pt x="464" y="846"/>
                  <a:pt x="464" y="830"/>
                  <a:pt x="464" y="830"/>
                </a:cubicBezTo>
                <a:cubicBezTo>
                  <a:pt x="464" y="814"/>
                  <a:pt x="464" y="822"/>
                  <a:pt x="464" y="814"/>
                </a:cubicBezTo>
                <a:close/>
                <a:moveTo>
                  <a:pt x="472" y="1597"/>
                </a:moveTo>
                <a:cubicBezTo>
                  <a:pt x="472" y="1605"/>
                  <a:pt x="472" y="1613"/>
                  <a:pt x="472" y="1613"/>
                </a:cubicBezTo>
                <a:cubicBezTo>
                  <a:pt x="472" y="1621"/>
                  <a:pt x="472" y="1621"/>
                  <a:pt x="472" y="1628"/>
                </a:cubicBezTo>
                <a:cubicBezTo>
                  <a:pt x="472" y="1636"/>
                  <a:pt x="472" y="1636"/>
                  <a:pt x="472" y="1636"/>
                </a:cubicBezTo>
                <a:cubicBezTo>
                  <a:pt x="472" y="1636"/>
                  <a:pt x="472" y="1636"/>
                  <a:pt x="472" y="1644"/>
                </a:cubicBezTo>
                <a:cubicBezTo>
                  <a:pt x="472" y="1621"/>
                  <a:pt x="472" y="1621"/>
                  <a:pt x="479" y="1605"/>
                </a:cubicBezTo>
                <a:cubicBezTo>
                  <a:pt x="479" y="1597"/>
                  <a:pt x="479" y="1597"/>
                  <a:pt x="472" y="1597"/>
                </a:cubicBezTo>
                <a:close/>
                <a:moveTo>
                  <a:pt x="464" y="1973"/>
                </a:moveTo>
                <a:cubicBezTo>
                  <a:pt x="464" y="1965"/>
                  <a:pt x="464" y="1965"/>
                  <a:pt x="464" y="1965"/>
                </a:cubicBezTo>
                <a:cubicBezTo>
                  <a:pt x="464" y="1973"/>
                  <a:pt x="464" y="1973"/>
                  <a:pt x="464" y="1973"/>
                </a:cubicBezTo>
                <a:close/>
                <a:moveTo>
                  <a:pt x="464" y="1761"/>
                </a:moveTo>
                <a:cubicBezTo>
                  <a:pt x="464" y="1754"/>
                  <a:pt x="464" y="1746"/>
                  <a:pt x="472" y="1738"/>
                </a:cubicBezTo>
                <a:cubicBezTo>
                  <a:pt x="472" y="1730"/>
                  <a:pt x="472" y="1730"/>
                  <a:pt x="464" y="1746"/>
                </a:cubicBezTo>
                <a:cubicBezTo>
                  <a:pt x="464" y="1746"/>
                  <a:pt x="464" y="1754"/>
                  <a:pt x="464" y="1754"/>
                </a:cubicBezTo>
                <a:cubicBezTo>
                  <a:pt x="464" y="1754"/>
                  <a:pt x="464" y="1761"/>
                  <a:pt x="464" y="1761"/>
                </a:cubicBezTo>
                <a:close/>
                <a:moveTo>
                  <a:pt x="464" y="767"/>
                </a:moveTo>
                <a:cubicBezTo>
                  <a:pt x="464" y="767"/>
                  <a:pt x="464" y="767"/>
                  <a:pt x="464" y="767"/>
                </a:cubicBezTo>
                <a:cubicBezTo>
                  <a:pt x="464" y="767"/>
                  <a:pt x="464" y="767"/>
                  <a:pt x="464" y="767"/>
                </a:cubicBezTo>
                <a:cubicBezTo>
                  <a:pt x="464" y="752"/>
                  <a:pt x="464" y="752"/>
                  <a:pt x="464" y="744"/>
                </a:cubicBezTo>
                <a:cubicBezTo>
                  <a:pt x="464" y="744"/>
                  <a:pt x="464" y="744"/>
                  <a:pt x="464" y="736"/>
                </a:cubicBezTo>
                <a:cubicBezTo>
                  <a:pt x="464" y="736"/>
                  <a:pt x="464" y="736"/>
                  <a:pt x="464" y="736"/>
                </a:cubicBezTo>
                <a:cubicBezTo>
                  <a:pt x="464" y="736"/>
                  <a:pt x="464" y="736"/>
                  <a:pt x="464" y="736"/>
                </a:cubicBezTo>
                <a:cubicBezTo>
                  <a:pt x="464" y="736"/>
                  <a:pt x="464" y="736"/>
                  <a:pt x="464" y="736"/>
                </a:cubicBezTo>
                <a:cubicBezTo>
                  <a:pt x="464" y="736"/>
                  <a:pt x="464" y="736"/>
                  <a:pt x="456" y="713"/>
                </a:cubicBezTo>
                <a:cubicBezTo>
                  <a:pt x="456" y="713"/>
                  <a:pt x="456" y="713"/>
                  <a:pt x="456" y="728"/>
                </a:cubicBezTo>
                <a:cubicBezTo>
                  <a:pt x="464" y="736"/>
                  <a:pt x="464" y="752"/>
                  <a:pt x="464" y="775"/>
                </a:cubicBezTo>
                <a:cubicBezTo>
                  <a:pt x="464" y="775"/>
                  <a:pt x="464" y="775"/>
                  <a:pt x="464" y="767"/>
                </a:cubicBezTo>
                <a:close/>
                <a:moveTo>
                  <a:pt x="456" y="642"/>
                </a:moveTo>
                <a:cubicBezTo>
                  <a:pt x="456" y="642"/>
                  <a:pt x="456" y="650"/>
                  <a:pt x="456" y="658"/>
                </a:cubicBezTo>
                <a:cubicBezTo>
                  <a:pt x="456" y="666"/>
                  <a:pt x="456" y="666"/>
                  <a:pt x="456" y="666"/>
                </a:cubicBezTo>
                <a:cubicBezTo>
                  <a:pt x="456" y="666"/>
                  <a:pt x="456" y="666"/>
                  <a:pt x="456" y="674"/>
                </a:cubicBezTo>
                <a:cubicBezTo>
                  <a:pt x="456" y="658"/>
                  <a:pt x="456" y="650"/>
                  <a:pt x="456" y="642"/>
                </a:cubicBezTo>
                <a:close/>
                <a:moveTo>
                  <a:pt x="456" y="666"/>
                </a:moveTo>
                <a:cubicBezTo>
                  <a:pt x="456" y="674"/>
                  <a:pt x="456" y="674"/>
                  <a:pt x="456" y="674"/>
                </a:cubicBezTo>
                <a:cubicBezTo>
                  <a:pt x="456" y="674"/>
                  <a:pt x="456" y="674"/>
                  <a:pt x="456" y="681"/>
                </a:cubicBezTo>
                <a:cubicBezTo>
                  <a:pt x="456" y="681"/>
                  <a:pt x="456" y="681"/>
                  <a:pt x="456" y="666"/>
                </a:cubicBezTo>
                <a:close/>
                <a:moveTo>
                  <a:pt x="448" y="580"/>
                </a:moveTo>
                <a:cubicBezTo>
                  <a:pt x="448" y="572"/>
                  <a:pt x="448" y="572"/>
                  <a:pt x="448" y="572"/>
                </a:cubicBezTo>
                <a:cubicBezTo>
                  <a:pt x="448" y="564"/>
                  <a:pt x="448" y="564"/>
                  <a:pt x="448" y="564"/>
                </a:cubicBezTo>
                <a:cubicBezTo>
                  <a:pt x="440" y="564"/>
                  <a:pt x="440" y="564"/>
                  <a:pt x="440" y="564"/>
                </a:cubicBezTo>
                <a:lnTo>
                  <a:pt x="448" y="580"/>
                </a:lnTo>
                <a:close/>
                <a:moveTo>
                  <a:pt x="464" y="791"/>
                </a:moveTo>
                <a:cubicBezTo>
                  <a:pt x="464" y="791"/>
                  <a:pt x="464" y="791"/>
                  <a:pt x="464" y="799"/>
                </a:cubicBezTo>
                <a:cubicBezTo>
                  <a:pt x="464" y="799"/>
                  <a:pt x="464" y="799"/>
                  <a:pt x="464" y="799"/>
                </a:cubicBezTo>
                <a:cubicBezTo>
                  <a:pt x="464" y="799"/>
                  <a:pt x="464" y="799"/>
                  <a:pt x="464" y="783"/>
                </a:cubicBezTo>
                <a:cubicBezTo>
                  <a:pt x="464" y="783"/>
                  <a:pt x="464" y="783"/>
                  <a:pt x="464" y="783"/>
                </a:cubicBezTo>
                <a:cubicBezTo>
                  <a:pt x="464" y="783"/>
                  <a:pt x="464" y="783"/>
                  <a:pt x="464" y="775"/>
                </a:cubicBezTo>
                <a:cubicBezTo>
                  <a:pt x="464" y="783"/>
                  <a:pt x="464" y="783"/>
                  <a:pt x="464" y="783"/>
                </a:cubicBezTo>
                <a:cubicBezTo>
                  <a:pt x="464" y="783"/>
                  <a:pt x="464" y="783"/>
                  <a:pt x="464" y="791"/>
                </a:cubicBezTo>
                <a:close/>
                <a:moveTo>
                  <a:pt x="464" y="1808"/>
                </a:moveTo>
                <a:cubicBezTo>
                  <a:pt x="464" y="1808"/>
                  <a:pt x="464" y="1808"/>
                  <a:pt x="472" y="1801"/>
                </a:cubicBezTo>
                <a:cubicBezTo>
                  <a:pt x="472" y="1801"/>
                  <a:pt x="472" y="1801"/>
                  <a:pt x="464" y="1793"/>
                </a:cubicBezTo>
                <a:cubicBezTo>
                  <a:pt x="464" y="1801"/>
                  <a:pt x="464" y="1801"/>
                  <a:pt x="464" y="1808"/>
                </a:cubicBezTo>
                <a:close/>
                <a:moveTo>
                  <a:pt x="456" y="650"/>
                </a:moveTo>
                <a:cubicBezTo>
                  <a:pt x="456" y="642"/>
                  <a:pt x="456" y="642"/>
                  <a:pt x="456" y="642"/>
                </a:cubicBezTo>
                <a:cubicBezTo>
                  <a:pt x="456" y="658"/>
                  <a:pt x="456" y="658"/>
                  <a:pt x="456" y="658"/>
                </a:cubicBezTo>
                <a:cubicBezTo>
                  <a:pt x="456" y="650"/>
                  <a:pt x="456" y="650"/>
                  <a:pt x="456" y="650"/>
                </a:cubicBezTo>
                <a:close/>
                <a:moveTo>
                  <a:pt x="456" y="634"/>
                </a:moveTo>
                <a:cubicBezTo>
                  <a:pt x="456" y="642"/>
                  <a:pt x="456" y="642"/>
                  <a:pt x="456" y="642"/>
                </a:cubicBezTo>
                <a:cubicBezTo>
                  <a:pt x="456" y="642"/>
                  <a:pt x="456" y="642"/>
                  <a:pt x="456" y="634"/>
                </a:cubicBezTo>
                <a:close/>
                <a:moveTo>
                  <a:pt x="487" y="2129"/>
                </a:moveTo>
                <a:cubicBezTo>
                  <a:pt x="479" y="2114"/>
                  <a:pt x="479" y="2106"/>
                  <a:pt x="479" y="2106"/>
                </a:cubicBezTo>
                <a:cubicBezTo>
                  <a:pt x="479" y="2121"/>
                  <a:pt x="479" y="2121"/>
                  <a:pt x="487" y="2129"/>
                </a:cubicBezTo>
                <a:close/>
                <a:moveTo>
                  <a:pt x="440" y="533"/>
                </a:moveTo>
                <a:cubicBezTo>
                  <a:pt x="448" y="541"/>
                  <a:pt x="440" y="533"/>
                  <a:pt x="448" y="541"/>
                </a:cubicBezTo>
                <a:cubicBezTo>
                  <a:pt x="440" y="541"/>
                  <a:pt x="440" y="533"/>
                  <a:pt x="440" y="533"/>
                </a:cubicBezTo>
                <a:close/>
                <a:moveTo>
                  <a:pt x="487" y="2137"/>
                </a:moveTo>
                <a:cubicBezTo>
                  <a:pt x="487" y="2129"/>
                  <a:pt x="487" y="2129"/>
                  <a:pt x="487" y="2129"/>
                </a:cubicBezTo>
                <a:cubicBezTo>
                  <a:pt x="487" y="2129"/>
                  <a:pt x="487" y="2129"/>
                  <a:pt x="487" y="2137"/>
                </a:cubicBezTo>
                <a:close/>
                <a:moveTo>
                  <a:pt x="479" y="1691"/>
                </a:moveTo>
                <a:cubicBezTo>
                  <a:pt x="472" y="1707"/>
                  <a:pt x="472" y="1707"/>
                  <a:pt x="472" y="1707"/>
                </a:cubicBezTo>
                <a:cubicBezTo>
                  <a:pt x="479" y="1699"/>
                  <a:pt x="479" y="1691"/>
                  <a:pt x="479" y="1691"/>
                </a:cubicBezTo>
                <a:close/>
                <a:moveTo>
                  <a:pt x="472" y="2035"/>
                </a:moveTo>
                <a:cubicBezTo>
                  <a:pt x="479" y="2051"/>
                  <a:pt x="479" y="2059"/>
                  <a:pt x="479" y="2075"/>
                </a:cubicBezTo>
                <a:cubicBezTo>
                  <a:pt x="479" y="2075"/>
                  <a:pt x="479" y="2075"/>
                  <a:pt x="479" y="2075"/>
                </a:cubicBezTo>
                <a:cubicBezTo>
                  <a:pt x="479" y="2059"/>
                  <a:pt x="479" y="2059"/>
                  <a:pt x="479" y="2035"/>
                </a:cubicBezTo>
                <a:cubicBezTo>
                  <a:pt x="479" y="2035"/>
                  <a:pt x="479" y="2035"/>
                  <a:pt x="472" y="2035"/>
                </a:cubicBezTo>
                <a:close/>
                <a:moveTo>
                  <a:pt x="495" y="2145"/>
                </a:moveTo>
                <a:cubicBezTo>
                  <a:pt x="487" y="2137"/>
                  <a:pt x="487" y="2137"/>
                  <a:pt x="487" y="2137"/>
                </a:cubicBezTo>
                <a:cubicBezTo>
                  <a:pt x="487" y="2137"/>
                  <a:pt x="487" y="2145"/>
                  <a:pt x="495" y="2161"/>
                </a:cubicBezTo>
                <a:cubicBezTo>
                  <a:pt x="495" y="2161"/>
                  <a:pt x="495" y="2161"/>
                  <a:pt x="495" y="2161"/>
                </a:cubicBezTo>
                <a:cubicBezTo>
                  <a:pt x="495" y="2153"/>
                  <a:pt x="495" y="2153"/>
                  <a:pt x="495" y="2145"/>
                </a:cubicBezTo>
                <a:cubicBezTo>
                  <a:pt x="495" y="2153"/>
                  <a:pt x="495" y="2153"/>
                  <a:pt x="495" y="2153"/>
                </a:cubicBezTo>
                <a:cubicBezTo>
                  <a:pt x="495" y="2153"/>
                  <a:pt x="495" y="2161"/>
                  <a:pt x="495" y="2161"/>
                </a:cubicBezTo>
                <a:cubicBezTo>
                  <a:pt x="495" y="2161"/>
                  <a:pt x="495" y="2153"/>
                  <a:pt x="495" y="2153"/>
                </a:cubicBezTo>
                <a:cubicBezTo>
                  <a:pt x="495" y="2153"/>
                  <a:pt x="495" y="2153"/>
                  <a:pt x="495" y="2153"/>
                </a:cubicBezTo>
                <a:cubicBezTo>
                  <a:pt x="495" y="2145"/>
                  <a:pt x="495" y="2145"/>
                  <a:pt x="495" y="2145"/>
                </a:cubicBezTo>
                <a:cubicBezTo>
                  <a:pt x="495" y="2145"/>
                  <a:pt x="495" y="2137"/>
                  <a:pt x="495" y="2129"/>
                </a:cubicBezTo>
                <a:cubicBezTo>
                  <a:pt x="487" y="2129"/>
                  <a:pt x="487" y="2129"/>
                  <a:pt x="495" y="2145"/>
                </a:cubicBezTo>
                <a:close/>
                <a:moveTo>
                  <a:pt x="495" y="2129"/>
                </a:moveTo>
                <a:cubicBezTo>
                  <a:pt x="495" y="2129"/>
                  <a:pt x="495" y="2129"/>
                  <a:pt x="495" y="2129"/>
                </a:cubicBezTo>
                <a:cubicBezTo>
                  <a:pt x="495" y="2129"/>
                  <a:pt x="495" y="2129"/>
                  <a:pt x="487" y="2121"/>
                </a:cubicBezTo>
                <a:cubicBezTo>
                  <a:pt x="487" y="2129"/>
                  <a:pt x="495" y="2129"/>
                  <a:pt x="495" y="2129"/>
                </a:cubicBezTo>
                <a:close/>
                <a:moveTo>
                  <a:pt x="495" y="2176"/>
                </a:moveTo>
                <a:cubicBezTo>
                  <a:pt x="503" y="2192"/>
                  <a:pt x="503" y="2184"/>
                  <a:pt x="503" y="2192"/>
                </a:cubicBezTo>
                <a:cubicBezTo>
                  <a:pt x="503" y="2192"/>
                  <a:pt x="503" y="2192"/>
                  <a:pt x="503" y="2192"/>
                </a:cubicBezTo>
                <a:cubicBezTo>
                  <a:pt x="503" y="2184"/>
                  <a:pt x="503" y="2184"/>
                  <a:pt x="503" y="2184"/>
                </a:cubicBezTo>
                <a:cubicBezTo>
                  <a:pt x="503" y="2184"/>
                  <a:pt x="503" y="2184"/>
                  <a:pt x="503" y="2176"/>
                </a:cubicBezTo>
                <a:cubicBezTo>
                  <a:pt x="495" y="2176"/>
                  <a:pt x="495" y="2176"/>
                  <a:pt x="495" y="2176"/>
                </a:cubicBezTo>
                <a:close/>
                <a:moveTo>
                  <a:pt x="495" y="2161"/>
                </a:moveTo>
                <a:cubicBezTo>
                  <a:pt x="495" y="2161"/>
                  <a:pt x="503" y="2168"/>
                  <a:pt x="503" y="2168"/>
                </a:cubicBezTo>
                <a:cubicBezTo>
                  <a:pt x="503" y="2168"/>
                  <a:pt x="495" y="2161"/>
                  <a:pt x="495" y="2161"/>
                </a:cubicBezTo>
                <a:close/>
                <a:moveTo>
                  <a:pt x="503" y="2176"/>
                </a:moveTo>
                <a:cubicBezTo>
                  <a:pt x="503" y="2176"/>
                  <a:pt x="503" y="2176"/>
                  <a:pt x="503" y="2168"/>
                </a:cubicBezTo>
                <a:cubicBezTo>
                  <a:pt x="503" y="2176"/>
                  <a:pt x="503" y="2176"/>
                  <a:pt x="503" y="2176"/>
                </a:cubicBezTo>
                <a:cubicBezTo>
                  <a:pt x="503" y="2176"/>
                  <a:pt x="503" y="2176"/>
                  <a:pt x="503" y="2176"/>
                </a:cubicBezTo>
                <a:close/>
                <a:moveTo>
                  <a:pt x="487" y="2121"/>
                </a:moveTo>
                <a:cubicBezTo>
                  <a:pt x="487" y="2121"/>
                  <a:pt x="487" y="2121"/>
                  <a:pt x="487" y="2121"/>
                </a:cubicBezTo>
                <a:cubicBezTo>
                  <a:pt x="487" y="2121"/>
                  <a:pt x="495" y="2129"/>
                  <a:pt x="495" y="2129"/>
                </a:cubicBezTo>
                <a:cubicBezTo>
                  <a:pt x="487" y="2121"/>
                  <a:pt x="487" y="2121"/>
                  <a:pt x="487" y="2121"/>
                </a:cubicBezTo>
                <a:cubicBezTo>
                  <a:pt x="487" y="2114"/>
                  <a:pt x="487" y="2114"/>
                  <a:pt x="487" y="2114"/>
                </a:cubicBezTo>
                <a:cubicBezTo>
                  <a:pt x="487" y="2114"/>
                  <a:pt x="487" y="2114"/>
                  <a:pt x="487" y="2121"/>
                </a:cubicBezTo>
                <a:cubicBezTo>
                  <a:pt x="487" y="2121"/>
                  <a:pt x="487" y="2121"/>
                  <a:pt x="487" y="2121"/>
                </a:cubicBezTo>
                <a:cubicBezTo>
                  <a:pt x="487" y="2121"/>
                  <a:pt x="487" y="2121"/>
                  <a:pt x="487" y="2121"/>
                </a:cubicBezTo>
                <a:cubicBezTo>
                  <a:pt x="487" y="2121"/>
                  <a:pt x="487" y="2121"/>
                  <a:pt x="487" y="2121"/>
                </a:cubicBezTo>
                <a:close/>
                <a:moveTo>
                  <a:pt x="472" y="1848"/>
                </a:moveTo>
                <a:cubicBezTo>
                  <a:pt x="472" y="1848"/>
                  <a:pt x="472" y="1855"/>
                  <a:pt x="472" y="1863"/>
                </a:cubicBezTo>
                <a:cubicBezTo>
                  <a:pt x="472" y="1863"/>
                  <a:pt x="472" y="1871"/>
                  <a:pt x="472" y="1871"/>
                </a:cubicBezTo>
                <a:cubicBezTo>
                  <a:pt x="472" y="1871"/>
                  <a:pt x="472" y="1855"/>
                  <a:pt x="479" y="1840"/>
                </a:cubicBezTo>
                <a:cubicBezTo>
                  <a:pt x="472" y="1840"/>
                  <a:pt x="472" y="1840"/>
                  <a:pt x="472" y="1848"/>
                </a:cubicBezTo>
                <a:close/>
                <a:moveTo>
                  <a:pt x="479" y="2082"/>
                </a:moveTo>
                <a:cubicBezTo>
                  <a:pt x="479" y="2090"/>
                  <a:pt x="479" y="2090"/>
                  <a:pt x="479" y="2090"/>
                </a:cubicBezTo>
                <a:cubicBezTo>
                  <a:pt x="479" y="2090"/>
                  <a:pt x="479" y="2090"/>
                  <a:pt x="479" y="2090"/>
                </a:cubicBezTo>
                <a:cubicBezTo>
                  <a:pt x="487" y="2098"/>
                  <a:pt x="487" y="2098"/>
                  <a:pt x="487" y="2098"/>
                </a:cubicBezTo>
                <a:cubicBezTo>
                  <a:pt x="487" y="2090"/>
                  <a:pt x="487" y="2082"/>
                  <a:pt x="479" y="2067"/>
                </a:cubicBezTo>
                <a:cubicBezTo>
                  <a:pt x="479" y="2075"/>
                  <a:pt x="479" y="2075"/>
                  <a:pt x="479" y="2075"/>
                </a:cubicBezTo>
                <a:cubicBezTo>
                  <a:pt x="479" y="2082"/>
                  <a:pt x="479" y="2082"/>
                  <a:pt x="479" y="2082"/>
                </a:cubicBezTo>
                <a:close/>
                <a:moveTo>
                  <a:pt x="487" y="2098"/>
                </a:moveTo>
                <a:cubicBezTo>
                  <a:pt x="487" y="2106"/>
                  <a:pt x="487" y="2114"/>
                  <a:pt x="487" y="2121"/>
                </a:cubicBezTo>
                <a:cubicBezTo>
                  <a:pt x="487" y="2106"/>
                  <a:pt x="487" y="2106"/>
                  <a:pt x="487" y="2098"/>
                </a:cubicBezTo>
                <a:close/>
                <a:moveTo>
                  <a:pt x="479" y="2067"/>
                </a:moveTo>
                <a:cubicBezTo>
                  <a:pt x="479" y="2067"/>
                  <a:pt x="479" y="2067"/>
                  <a:pt x="479" y="2059"/>
                </a:cubicBezTo>
                <a:cubicBezTo>
                  <a:pt x="479" y="2059"/>
                  <a:pt x="479" y="2059"/>
                  <a:pt x="479" y="2059"/>
                </a:cubicBezTo>
                <a:cubicBezTo>
                  <a:pt x="479" y="2059"/>
                  <a:pt x="479" y="2067"/>
                  <a:pt x="479" y="2067"/>
                </a:cubicBezTo>
                <a:cubicBezTo>
                  <a:pt x="479" y="2067"/>
                  <a:pt x="479" y="2067"/>
                  <a:pt x="479" y="2067"/>
                </a:cubicBezTo>
                <a:close/>
                <a:moveTo>
                  <a:pt x="448" y="525"/>
                </a:moveTo>
                <a:cubicBezTo>
                  <a:pt x="448" y="525"/>
                  <a:pt x="448" y="533"/>
                  <a:pt x="448" y="533"/>
                </a:cubicBezTo>
                <a:cubicBezTo>
                  <a:pt x="456" y="548"/>
                  <a:pt x="456" y="548"/>
                  <a:pt x="456" y="548"/>
                </a:cubicBezTo>
                <a:cubicBezTo>
                  <a:pt x="448" y="533"/>
                  <a:pt x="448" y="525"/>
                  <a:pt x="448" y="525"/>
                </a:cubicBezTo>
                <a:close/>
                <a:moveTo>
                  <a:pt x="456" y="580"/>
                </a:moveTo>
                <a:cubicBezTo>
                  <a:pt x="456" y="580"/>
                  <a:pt x="456" y="580"/>
                  <a:pt x="456" y="595"/>
                </a:cubicBezTo>
                <a:cubicBezTo>
                  <a:pt x="456" y="587"/>
                  <a:pt x="456" y="587"/>
                  <a:pt x="456" y="587"/>
                </a:cubicBezTo>
                <a:cubicBezTo>
                  <a:pt x="456" y="587"/>
                  <a:pt x="456" y="587"/>
                  <a:pt x="456" y="580"/>
                </a:cubicBezTo>
                <a:close/>
                <a:moveTo>
                  <a:pt x="550" y="1934"/>
                </a:moveTo>
                <a:cubicBezTo>
                  <a:pt x="550" y="1934"/>
                  <a:pt x="550" y="1941"/>
                  <a:pt x="550" y="1949"/>
                </a:cubicBezTo>
                <a:cubicBezTo>
                  <a:pt x="550" y="1949"/>
                  <a:pt x="550" y="1949"/>
                  <a:pt x="550" y="1965"/>
                </a:cubicBezTo>
                <a:cubicBezTo>
                  <a:pt x="550" y="1949"/>
                  <a:pt x="550" y="1926"/>
                  <a:pt x="550" y="1918"/>
                </a:cubicBezTo>
                <a:cubicBezTo>
                  <a:pt x="550" y="1918"/>
                  <a:pt x="550" y="1918"/>
                  <a:pt x="550" y="1926"/>
                </a:cubicBezTo>
                <a:cubicBezTo>
                  <a:pt x="550" y="1926"/>
                  <a:pt x="550" y="1934"/>
                  <a:pt x="550" y="1934"/>
                </a:cubicBezTo>
                <a:close/>
                <a:moveTo>
                  <a:pt x="456" y="541"/>
                </a:moveTo>
                <a:cubicBezTo>
                  <a:pt x="456" y="548"/>
                  <a:pt x="456" y="548"/>
                  <a:pt x="464" y="556"/>
                </a:cubicBezTo>
                <a:cubicBezTo>
                  <a:pt x="464" y="548"/>
                  <a:pt x="456" y="548"/>
                  <a:pt x="456" y="541"/>
                </a:cubicBezTo>
                <a:close/>
                <a:moveTo>
                  <a:pt x="448" y="423"/>
                </a:moveTo>
                <a:cubicBezTo>
                  <a:pt x="448" y="423"/>
                  <a:pt x="448" y="423"/>
                  <a:pt x="448" y="415"/>
                </a:cubicBezTo>
                <a:cubicBezTo>
                  <a:pt x="448" y="415"/>
                  <a:pt x="448" y="423"/>
                  <a:pt x="448" y="415"/>
                </a:cubicBezTo>
                <a:cubicBezTo>
                  <a:pt x="448" y="423"/>
                  <a:pt x="448" y="423"/>
                  <a:pt x="448" y="423"/>
                </a:cubicBezTo>
                <a:cubicBezTo>
                  <a:pt x="448" y="423"/>
                  <a:pt x="448" y="423"/>
                  <a:pt x="448" y="423"/>
                </a:cubicBezTo>
                <a:close/>
                <a:moveTo>
                  <a:pt x="542" y="2059"/>
                </a:moveTo>
                <a:cubicBezTo>
                  <a:pt x="542" y="2051"/>
                  <a:pt x="542" y="2043"/>
                  <a:pt x="542" y="2043"/>
                </a:cubicBezTo>
                <a:cubicBezTo>
                  <a:pt x="542" y="2043"/>
                  <a:pt x="542" y="2043"/>
                  <a:pt x="542" y="2043"/>
                </a:cubicBezTo>
                <a:cubicBezTo>
                  <a:pt x="542" y="2059"/>
                  <a:pt x="542" y="2059"/>
                  <a:pt x="542" y="2059"/>
                </a:cubicBezTo>
                <a:close/>
                <a:moveTo>
                  <a:pt x="487" y="893"/>
                </a:moveTo>
                <a:cubicBezTo>
                  <a:pt x="487" y="901"/>
                  <a:pt x="487" y="901"/>
                  <a:pt x="487" y="901"/>
                </a:cubicBezTo>
                <a:cubicBezTo>
                  <a:pt x="487" y="885"/>
                  <a:pt x="487" y="885"/>
                  <a:pt x="487" y="885"/>
                </a:cubicBezTo>
                <a:cubicBezTo>
                  <a:pt x="487" y="893"/>
                  <a:pt x="487" y="893"/>
                  <a:pt x="487" y="893"/>
                </a:cubicBezTo>
                <a:close/>
                <a:moveTo>
                  <a:pt x="542" y="2082"/>
                </a:moveTo>
                <a:cubicBezTo>
                  <a:pt x="542" y="2082"/>
                  <a:pt x="550" y="2090"/>
                  <a:pt x="550" y="2090"/>
                </a:cubicBezTo>
                <a:cubicBezTo>
                  <a:pt x="550" y="2082"/>
                  <a:pt x="542" y="2051"/>
                  <a:pt x="542" y="2051"/>
                </a:cubicBezTo>
                <a:cubicBezTo>
                  <a:pt x="542" y="2059"/>
                  <a:pt x="542" y="2059"/>
                  <a:pt x="542" y="2059"/>
                </a:cubicBezTo>
                <a:cubicBezTo>
                  <a:pt x="542" y="2059"/>
                  <a:pt x="542" y="2059"/>
                  <a:pt x="542" y="2059"/>
                </a:cubicBezTo>
                <a:cubicBezTo>
                  <a:pt x="542" y="2067"/>
                  <a:pt x="542" y="2067"/>
                  <a:pt x="542" y="2075"/>
                </a:cubicBezTo>
                <a:cubicBezTo>
                  <a:pt x="542" y="2082"/>
                  <a:pt x="542" y="2075"/>
                  <a:pt x="542" y="2082"/>
                </a:cubicBezTo>
                <a:close/>
                <a:moveTo>
                  <a:pt x="479" y="220"/>
                </a:moveTo>
                <a:cubicBezTo>
                  <a:pt x="479" y="220"/>
                  <a:pt x="479" y="220"/>
                  <a:pt x="479" y="220"/>
                </a:cubicBezTo>
                <a:cubicBezTo>
                  <a:pt x="479" y="220"/>
                  <a:pt x="479" y="220"/>
                  <a:pt x="479" y="212"/>
                </a:cubicBezTo>
                <a:cubicBezTo>
                  <a:pt x="479" y="220"/>
                  <a:pt x="479" y="220"/>
                  <a:pt x="479" y="220"/>
                </a:cubicBezTo>
                <a:close/>
                <a:moveTo>
                  <a:pt x="472" y="173"/>
                </a:moveTo>
                <a:cubicBezTo>
                  <a:pt x="472" y="180"/>
                  <a:pt x="472" y="180"/>
                  <a:pt x="472" y="180"/>
                </a:cubicBezTo>
                <a:cubicBezTo>
                  <a:pt x="472" y="180"/>
                  <a:pt x="472" y="180"/>
                  <a:pt x="472" y="188"/>
                </a:cubicBezTo>
                <a:cubicBezTo>
                  <a:pt x="479" y="188"/>
                  <a:pt x="479" y="188"/>
                  <a:pt x="479" y="188"/>
                </a:cubicBezTo>
                <a:cubicBezTo>
                  <a:pt x="472" y="180"/>
                  <a:pt x="472" y="180"/>
                  <a:pt x="472" y="173"/>
                </a:cubicBezTo>
                <a:close/>
                <a:moveTo>
                  <a:pt x="409" y="24"/>
                </a:moveTo>
                <a:cubicBezTo>
                  <a:pt x="409" y="24"/>
                  <a:pt x="409" y="24"/>
                  <a:pt x="409" y="24"/>
                </a:cubicBezTo>
                <a:cubicBezTo>
                  <a:pt x="409" y="24"/>
                  <a:pt x="409" y="24"/>
                  <a:pt x="409" y="32"/>
                </a:cubicBezTo>
                <a:cubicBezTo>
                  <a:pt x="409" y="24"/>
                  <a:pt x="409" y="24"/>
                  <a:pt x="409" y="24"/>
                </a:cubicBezTo>
                <a:close/>
                <a:moveTo>
                  <a:pt x="542" y="564"/>
                </a:moveTo>
                <a:cubicBezTo>
                  <a:pt x="542" y="564"/>
                  <a:pt x="542" y="564"/>
                  <a:pt x="542" y="548"/>
                </a:cubicBezTo>
                <a:cubicBezTo>
                  <a:pt x="542" y="548"/>
                  <a:pt x="542" y="548"/>
                  <a:pt x="534" y="548"/>
                </a:cubicBezTo>
                <a:cubicBezTo>
                  <a:pt x="534" y="548"/>
                  <a:pt x="534" y="548"/>
                  <a:pt x="542" y="564"/>
                </a:cubicBezTo>
                <a:cubicBezTo>
                  <a:pt x="542" y="564"/>
                  <a:pt x="542" y="564"/>
                  <a:pt x="542" y="564"/>
                </a:cubicBezTo>
                <a:close/>
                <a:moveTo>
                  <a:pt x="409" y="16"/>
                </a:moveTo>
                <a:cubicBezTo>
                  <a:pt x="409" y="16"/>
                  <a:pt x="409" y="16"/>
                  <a:pt x="409" y="16"/>
                </a:cubicBezTo>
                <a:cubicBezTo>
                  <a:pt x="409" y="16"/>
                  <a:pt x="409" y="16"/>
                  <a:pt x="409" y="24"/>
                </a:cubicBezTo>
                <a:cubicBezTo>
                  <a:pt x="409" y="16"/>
                  <a:pt x="409" y="16"/>
                  <a:pt x="409" y="16"/>
                </a:cubicBezTo>
                <a:close/>
                <a:moveTo>
                  <a:pt x="487" y="1057"/>
                </a:moveTo>
                <a:cubicBezTo>
                  <a:pt x="487" y="1057"/>
                  <a:pt x="487" y="1057"/>
                  <a:pt x="487" y="1057"/>
                </a:cubicBezTo>
                <a:cubicBezTo>
                  <a:pt x="487" y="1057"/>
                  <a:pt x="487" y="1065"/>
                  <a:pt x="487" y="1065"/>
                </a:cubicBezTo>
                <a:cubicBezTo>
                  <a:pt x="487" y="1065"/>
                  <a:pt x="487" y="1065"/>
                  <a:pt x="495" y="1065"/>
                </a:cubicBezTo>
                <a:cubicBezTo>
                  <a:pt x="487" y="1049"/>
                  <a:pt x="495" y="1057"/>
                  <a:pt x="487" y="1049"/>
                </a:cubicBezTo>
                <a:cubicBezTo>
                  <a:pt x="487" y="1057"/>
                  <a:pt x="487" y="1057"/>
                  <a:pt x="487" y="1057"/>
                </a:cubicBezTo>
                <a:close/>
                <a:moveTo>
                  <a:pt x="519" y="431"/>
                </a:moveTo>
                <a:cubicBezTo>
                  <a:pt x="519" y="431"/>
                  <a:pt x="519" y="431"/>
                  <a:pt x="519" y="423"/>
                </a:cubicBezTo>
                <a:cubicBezTo>
                  <a:pt x="519" y="431"/>
                  <a:pt x="519" y="447"/>
                  <a:pt x="511" y="431"/>
                </a:cubicBezTo>
                <a:cubicBezTo>
                  <a:pt x="511" y="431"/>
                  <a:pt x="511" y="431"/>
                  <a:pt x="519" y="447"/>
                </a:cubicBezTo>
                <a:cubicBezTo>
                  <a:pt x="519" y="431"/>
                  <a:pt x="519" y="439"/>
                  <a:pt x="519" y="431"/>
                </a:cubicBezTo>
                <a:close/>
                <a:moveTo>
                  <a:pt x="511" y="2184"/>
                </a:moveTo>
                <a:cubicBezTo>
                  <a:pt x="511" y="2184"/>
                  <a:pt x="511" y="2184"/>
                  <a:pt x="511" y="2192"/>
                </a:cubicBezTo>
                <a:cubicBezTo>
                  <a:pt x="511" y="2192"/>
                  <a:pt x="511" y="2192"/>
                  <a:pt x="511" y="2192"/>
                </a:cubicBezTo>
                <a:cubicBezTo>
                  <a:pt x="511" y="2184"/>
                  <a:pt x="511" y="2184"/>
                  <a:pt x="511" y="2176"/>
                </a:cubicBezTo>
                <a:cubicBezTo>
                  <a:pt x="511" y="2192"/>
                  <a:pt x="511" y="2184"/>
                  <a:pt x="511" y="2184"/>
                </a:cubicBezTo>
                <a:close/>
                <a:moveTo>
                  <a:pt x="527" y="2121"/>
                </a:moveTo>
                <a:cubicBezTo>
                  <a:pt x="527" y="2121"/>
                  <a:pt x="527" y="2121"/>
                  <a:pt x="527" y="2121"/>
                </a:cubicBezTo>
                <a:cubicBezTo>
                  <a:pt x="527" y="2121"/>
                  <a:pt x="527" y="2121"/>
                  <a:pt x="527" y="2129"/>
                </a:cubicBezTo>
                <a:cubicBezTo>
                  <a:pt x="527" y="2129"/>
                  <a:pt x="527" y="2129"/>
                  <a:pt x="527" y="2137"/>
                </a:cubicBezTo>
                <a:cubicBezTo>
                  <a:pt x="527" y="2137"/>
                  <a:pt x="527" y="2137"/>
                  <a:pt x="527" y="2137"/>
                </a:cubicBezTo>
                <a:cubicBezTo>
                  <a:pt x="527" y="2129"/>
                  <a:pt x="527" y="2129"/>
                  <a:pt x="527" y="2121"/>
                </a:cubicBezTo>
                <a:cubicBezTo>
                  <a:pt x="527" y="2129"/>
                  <a:pt x="527" y="2129"/>
                  <a:pt x="527" y="2129"/>
                </a:cubicBezTo>
                <a:cubicBezTo>
                  <a:pt x="527" y="2129"/>
                  <a:pt x="527" y="2121"/>
                  <a:pt x="527" y="2121"/>
                </a:cubicBezTo>
                <a:cubicBezTo>
                  <a:pt x="527" y="2121"/>
                  <a:pt x="527" y="2114"/>
                  <a:pt x="527" y="2114"/>
                </a:cubicBezTo>
                <a:cubicBezTo>
                  <a:pt x="527" y="2114"/>
                  <a:pt x="527" y="2121"/>
                  <a:pt x="527" y="2121"/>
                </a:cubicBezTo>
                <a:close/>
                <a:moveTo>
                  <a:pt x="464" y="611"/>
                </a:moveTo>
                <a:cubicBezTo>
                  <a:pt x="464" y="611"/>
                  <a:pt x="464" y="611"/>
                  <a:pt x="464" y="603"/>
                </a:cubicBezTo>
                <a:cubicBezTo>
                  <a:pt x="464" y="611"/>
                  <a:pt x="464" y="611"/>
                  <a:pt x="464" y="619"/>
                </a:cubicBezTo>
                <a:cubicBezTo>
                  <a:pt x="464" y="619"/>
                  <a:pt x="464" y="611"/>
                  <a:pt x="464" y="611"/>
                </a:cubicBezTo>
                <a:close/>
                <a:moveTo>
                  <a:pt x="503" y="2059"/>
                </a:moveTo>
                <a:cubicBezTo>
                  <a:pt x="503" y="2059"/>
                  <a:pt x="503" y="2059"/>
                  <a:pt x="503" y="2059"/>
                </a:cubicBezTo>
                <a:cubicBezTo>
                  <a:pt x="503" y="2059"/>
                  <a:pt x="503" y="2067"/>
                  <a:pt x="503" y="2067"/>
                </a:cubicBezTo>
                <a:cubicBezTo>
                  <a:pt x="503" y="2067"/>
                  <a:pt x="503" y="2067"/>
                  <a:pt x="503" y="2067"/>
                </a:cubicBezTo>
                <a:cubicBezTo>
                  <a:pt x="503" y="2059"/>
                  <a:pt x="503" y="2059"/>
                  <a:pt x="503" y="2051"/>
                </a:cubicBezTo>
                <a:cubicBezTo>
                  <a:pt x="503" y="2051"/>
                  <a:pt x="503" y="2059"/>
                  <a:pt x="503" y="2059"/>
                </a:cubicBezTo>
                <a:close/>
                <a:moveTo>
                  <a:pt x="448" y="415"/>
                </a:moveTo>
                <a:cubicBezTo>
                  <a:pt x="448" y="415"/>
                  <a:pt x="448" y="415"/>
                  <a:pt x="448" y="415"/>
                </a:cubicBezTo>
                <a:cubicBezTo>
                  <a:pt x="448" y="415"/>
                  <a:pt x="448" y="415"/>
                  <a:pt x="448" y="415"/>
                </a:cubicBezTo>
                <a:cubicBezTo>
                  <a:pt x="448" y="415"/>
                  <a:pt x="440" y="407"/>
                  <a:pt x="440" y="407"/>
                </a:cubicBezTo>
                <a:cubicBezTo>
                  <a:pt x="440" y="407"/>
                  <a:pt x="440" y="407"/>
                  <a:pt x="440" y="407"/>
                </a:cubicBezTo>
                <a:cubicBezTo>
                  <a:pt x="440" y="407"/>
                  <a:pt x="440" y="400"/>
                  <a:pt x="440" y="400"/>
                </a:cubicBezTo>
                <a:cubicBezTo>
                  <a:pt x="440" y="400"/>
                  <a:pt x="440" y="400"/>
                  <a:pt x="440" y="400"/>
                </a:cubicBezTo>
                <a:cubicBezTo>
                  <a:pt x="440" y="400"/>
                  <a:pt x="440" y="400"/>
                  <a:pt x="440" y="400"/>
                </a:cubicBezTo>
                <a:cubicBezTo>
                  <a:pt x="440" y="400"/>
                  <a:pt x="440" y="400"/>
                  <a:pt x="440" y="400"/>
                </a:cubicBezTo>
                <a:cubicBezTo>
                  <a:pt x="440" y="400"/>
                  <a:pt x="440" y="400"/>
                  <a:pt x="448" y="400"/>
                </a:cubicBezTo>
                <a:cubicBezTo>
                  <a:pt x="448" y="392"/>
                  <a:pt x="440" y="384"/>
                  <a:pt x="440" y="376"/>
                </a:cubicBezTo>
                <a:cubicBezTo>
                  <a:pt x="440" y="384"/>
                  <a:pt x="448" y="384"/>
                  <a:pt x="448" y="384"/>
                </a:cubicBezTo>
                <a:cubicBezTo>
                  <a:pt x="448" y="376"/>
                  <a:pt x="448" y="376"/>
                  <a:pt x="440" y="360"/>
                </a:cubicBezTo>
                <a:cubicBezTo>
                  <a:pt x="440" y="368"/>
                  <a:pt x="440" y="368"/>
                  <a:pt x="440" y="368"/>
                </a:cubicBezTo>
                <a:cubicBezTo>
                  <a:pt x="440" y="360"/>
                  <a:pt x="440" y="353"/>
                  <a:pt x="440" y="337"/>
                </a:cubicBezTo>
                <a:cubicBezTo>
                  <a:pt x="440" y="337"/>
                  <a:pt x="440" y="337"/>
                  <a:pt x="432" y="337"/>
                </a:cubicBezTo>
                <a:cubicBezTo>
                  <a:pt x="432" y="337"/>
                  <a:pt x="432" y="337"/>
                  <a:pt x="440" y="376"/>
                </a:cubicBezTo>
                <a:cubicBezTo>
                  <a:pt x="440" y="376"/>
                  <a:pt x="440" y="384"/>
                  <a:pt x="440" y="384"/>
                </a:cubicBezTo>
                <a:cubicBezTo>
                  <a:pt x="440" y="392"/>
                  <a:pt x="440" y="400"/>
                  <a:pt x="440" y="407"/>
                </a:cubicBezTo>
                <a:cubicBezTo>
                  <a:pt x="440" y="407"/>
                  <a:pt x="440" y="407"/>
                  <a:pt x="440" y="407"/>
                </a:cubicBezTo>
                <a:cubicBezTo>
                  <a:pt x="440" y="407"/>
                  <a:pt x="440" y="415"/>
                  <a:pt x="448" y="415"/>
                </a:cubicBezTo>
                <a:cubicBezTo>
                  <a:pt x="448" y="415"/>
                  <a:pt x="448" y="423"/>
                  <a:pt x="448" y="431"/>
                </a:cubicBezTo>
                <a:cubicBezTo>
                  <a:pt x="448" y="423"/>
                  <a:pt x="448" y="423"/>
                  <a:pt x="448" y="423"/>
                </a:cubicBezTo>
                <a:cubicBezTo>
                  <a:pt x="448" y="423"/>
                  <a:pt x="448" y="423"/>
                  <a:pt x="448" y="415"/>
                </a:cubicBezTo>
                <a:close/>
                <a:moveTo>
                  <a:pt x="503" y="2161"/>
                </a:moveTo>
                <a:cubicBezTo>
                  <a:pt x="503" y="2161"/>
                  <a:pt x="503" y="2161"/>
                  <a:pt x="503" y="2168"/>
                </a:cubicBezTo>
                <a:cubicBezTo>
                  <a:pt x="503" y="2168"/>
                  <a:pt x="511" y="2168"/>
                  <a:pt x="511" y="2176"/>
                </a:cubicBezTo>
                <a:cubicBezTo>
                  <a:pt x="511" y="2176"/>
                  <a:pt x="511" y="2176"/>
                  <a:pt x="511" y="2184"/>
                </a:cubicBezTo>
                <a:cubicBezTo>
                  <a:pt x="511" y="2176"/>
                  <a:pt x="503" y="2145"/>
                  <a:pt x="495" y="2129"/>
                </a:cubicBezTo>
                <a:cubicBezTo>
                  <a:pt x="495" y="2129"/>
                  <a:pt x="495" y="2129"/>
                  <a:pt x="503" y="2153"/>
                </a:cubicBezTo>
                <a:cubicBezTo>
                  <a:pt x="503" y="2161"/>
                  <a:pt x="503" y="2153"/>
                  <a:pt x="503" y="2161"/>
                </a:cubicBezTo>
                <a:close/>
                <a:moveTo>
                  <a:pt x="424" y="251"/>
                </a:moveTo>
                <a:cubicBezTo>
                  <a:pt x="424" y="251"/>
                  <a:pt x="424" y="251"/>
                  <a:pt x="424" y="251"/>
                </a:cubicBezTo>
                <a:cubicBezTo>
                  <a:pt x="424" y="251"/>
                  <a:pt x="424" y="251"/>
                  <a:pt x="424" y="259"/>
                </a:cubicBezTo>
                <a:cubicBezTo>
                  <a:pt x="424" y="259"/>
                  <a:pt x="424" y="259"/>
                  <a:pt x="424" y="259"/>
                </a:cubicBezTo>
                <a:cubicBezTo>
                  <a:pt x="424" y="251"/>
                  <a:pt x="424" y="251"/>
                  <a:pt x="424" y="251"/>
                </a:cubicBezTo>
                <a:close/>
                <a:moveTo>
                  <a:pt x="448" y="431"/>
                </a:moveTo>
                <a:cubicBezTo>
                  <a:pt x="448" y="431"/>
                  <a:pt x="448" y="431"/>
                  <a:pt x="448" y="431"/>
                </a:cubicBezTo>
                <a:cubicBezTo>
                  <a:pt x="448" y="439"/>
                  <a:pt x="448" y="439"/>
                  <a:pt x="448" y="447"/>
                </a:cubicBezTo>
                <a:cubicBezTo>
                  <a:pt x="448" y="447"/>
                  <a:pt x="448" y="447"/>
                  <a:pt x="448" y="454"/>
                </a:cubicBezTo>
                <a:cubicBezTo>
                  <a:pt x="448" y="447"/>
                  <a:pt x="448" y="439"/>
                  <a:pt x="448" y="423"/>
                </a:cubicBezTo>
                <a:cubicBezTo>
                  <a:pt x="448" y="423"/>
                  <a:pt x="448" y="431"/>
                  <a:pt x="448" y="431"/>
                </a:cubicBezTo>
                <a:close/>
                <a:moveTo>
                  <a:pt x="448" y="454"/>
                </a:moveTo>
                <a:cubicBezTo>
                  <a:pt x="448" y="454"/>
                  <a:pt x="448" y="462"/>
                  <a:pt x="456" y="462"/>
                </a:cubicBezTo>
                <a:cubicBezTo>
                  <a:pt x="456" y="462"/>
                  <a:pt x="456" y="462"/>
                  <a:pt x="456" y="454"/>
                </a:cubicBezTo>
                <a:cubicBezTo>
                  <a:pt x="448" y="454"/>
                  <a:pt x="448" y="454"/>
                  <a:pt x="448" y="454"/>
                </a:cubicBezTo>
                <a:close/>
                <a:moveTo>
                  <a:pt x="409" y="149"/>
                </a:moveTo>
                <a:cubicBezTo>
                  <a:pt x="409" y="149"/>
                  <a:pt x="409" y="149"/>
                  <a:pt x="409" y="149"/>
                </a:cubicBezTo>
                <a:cubicBezTo>
                  <a:pt x="409" y="134"/>
                  <a:pt x="409" y="141"/>
                  <a:pt x="401" y="134"/>
                </a:cubicBezTo>
                <a:cubicBezTo>
                  <a:pt x="401" y="134"/>
                  <a:pt x="401" y="134"/>
                  <a:pt x="409" y="165"/>
                </a:cubicBezTo>
                <a:cubicBezTo>
                  <a:pt x="409" y="157"/>
                  <a:pt x="409" y="157"/>
                  <a:pt x="409" y="157"/>
                </a:cubicBezTo>
                <a:cubicBezTo>
                  <a:pt x="409" y="165"/>
                  <a:pt x="409" y="173"/>
                  <a:pt x="409" y="180"/>
                </a:cubicBezTo>
                <a:cubicBezTo>
                  <a:pt x="409" y="188"/>
                  <a:pt x="409" y="188"/>
                  <a:pt x="417" y="196"/>
                </a:cubicBezTo>
                <a:cubicBezTo>
                  <a:pt x="417" y="188"/>
                  <a:pt x="409" y="180"/>
                  <a:pt x="409" y="173"/>
                </a:cubicBezTo>
                <a:cubicBezTo>
                  <a:pt x="409" y="173"/>
                  <a:pt x="409" y="173"/>
                  <a:pt x="409" y="165"/>
                </a:cubicBezTo>
                <a:cubicBezTo>
                  <a:pt x="409" y="165"/>
                  <a:pt x="409" y="165"/>
                  <a:pt x="417" y="196"/>
                </a:cubicBezTo>
                <a:cubicBezTo>
                  <a:pt x="417" y="196"/>
                  <a:pt x="417" y="196"/>
                  <a:pt x="424" y="204"/>
                </a:cubicBezTo>
                <a:cubicBezTo>
                  <a:pt x="424" y="204"/>
                  <a:pt x="424" y="204"/>
                  <a:pt x="417" y="204"/>
                </a:cubicBezTo>
                <a:cubicBezTo>
                  <a:pt x="424" y="220"/>
                  <a:pt x="424" y="227"/>
                  <a:pt x="424" y="251"/>
                </a:cubicBezTo>
                <a:cubicBezTo>
                  <a:pt x="424" y="251"/>
                  <a:pt x="424" y="251"/>
                  <a:pt x="424" y="251"/>
                </a:cubicBezTo>
                <a:cubicBezTo>
                  <a:pt x="424" y="251"/>
                  <a:pt x="424" y="251"/>
                  <a:pt x="424" y="251"/>
                </a:cubicBezTo>
                <a:cubicBezTo>
                  <a:pt x="424" y="259"/>
                  <a:pt x="424" y="259"/>
                  <a:pt x="424" y="259"/>
                </a:cubicBezTo>
                <a:cubicBezTo>
                  <a:pt x="424" y="259"/>
                  <a:pt x="424" y="259"/>
                  <a:pt x="424" y="259"/>
                </a:cubicBezTo>
                <a:cubicBezTo>
                  <a:pt x="424" y="259"/>
                  <a:pt x="424" y="259"/>
                  <a:pt x="424" y="259"/>
                </a:cubicBezTo>
                <a:cubicBezTo>
                  <a:pt x="424" y="259"/>
                  <a:pt x="424" y="259"/>
                  <a:pt x="424" y="259"/>
                </a:cubicBezTo>
                <a:cubicBezTo>
                  <a:pt x="424" y="267"/>
                  <a:pt x="432" y="298"/>
                  <a:pt x="440" y="306"/>
                </a:cubicBezTo>
                <a:cubicBezTo>
                  <a:pt x="440" y="306"/>
                  <a:pt x="440" y="306"/>
                  <a:pt x="432" y="298"/>
                </a:cubicBezTo>
                <a:cubicBezTo>
                  <a:pt x="440" y="321"/>
                  <a:pt x="440" y="321"/>
                  <a:pt x="440" y="329"/>
                </a:cubicBezTo>
                <a:cubicBezTo>
                  <a:pt x="440" y="329"/>
                  <a:pt x="440" y="329"/>
                  <a:pt x="440" y="353"/>
                </a:cubicBezTo>
                <a:cubicBezTo>
                  <a:pt x="440" y="353"/>
                  <a:pt x="440" y="353"/>
                  <a:pt x="440" y="360"/>
                </a:cubicBezTo>
                <a:cubicBezTo>
                  <a:pt x="440" y="360"/>
                  <a:pt x="440" y="360"/>
                  <a:pt x="448" y="368"/>
                </a:cubicBezTo>
                <a:cubicBezTo>
                  <a:pt x="456" y="407"/>
                  <a:pt x="456" y="454"/>
                  <a:pt x="456" y="470"/>
                </a:cubicBezTo>
                <a:cubicBezTo>
                  <a:pt x="456" y="470"/>
                  <a:pt x="456" y="470"/>
                  <a:pt x="464" y="494"/>
                </a:cubicBezTo>
                <a:cubicBezTo>
                  <a:pt x="456" y="486"/>
                  <a:pt x="456" y="494"/>
                  <a:pt x="456" y="494"/>
                </a:cubicBezTo>
                <a:cubicBezTo>
                  <a:pt x="456" y="486"/>
                  <a:pt x="456" y="470"/>
                  <a:pt x="456" y="462"/>
                </a:cubicBezTo>
                <a:cubicBezTo>
                  <a:pt x="456" y="486"/>
                  <a:pt x="448" y="494"/>
                  <a:pt x="448" y="494"/>
                </a:cubicBezTo>
                <a:cubicBezTo>
                  <a:pt x="448" y="494"/>
                  <a:pt x="448" y="494"/>
                  <a:pt x="456" y="501"/>
                </a:cubicBezTo>
                <a:cubicBezTo>
                  <a:pt x="456" y="501"/>
                  <a:pt x="456" y="501"/>
                  <a:pt x="456" y="501"/>
                </a:cubicBezTo>
                <a:cubicBezTo>
                  <a:pt x="456" y="509"/>
                  <a:pt x="456" y="509"/>
                  <a:pt x="456" y="525"/>
                </a:cubicBezTo>
                <a:cubicBezTo>
                  <a:pt x="456" y="533"/>
                  <a:pt x="456" y="533"/>
                  <a:pt x="456" y="541"/>
                </a:cubicBezTo>
                <a:cubicBezTo>
                  <a:pt x="456" y="541"/>
                  <a:pt x="456" y="533"/>
                  <a:pt x="464" y="533"/>
                </a:cubicBezTo>
                <a:cubicBezTo>
                  <a:pt x="464" y="541"/>
                  <a:pt x="464" y="541"/>
                  <a:pt x="464" y="541"/>
                </a:cubicBezTo>
                <a:cubicBezTo>
                  <a:pt x="464" y="541"/>
                  <a:pt x="464" y="541"/>
                  <a:pt x="464" y="541"/>
                </a:cubicBezTo>
                <a:cubicBezTo>
                  <a:pt x="464" y="548"/>
                  <a:pt x="464" y="548"/>
                  <a:pt x="464" y="556"/>
                </a:cubicBezTo>
                <a:cubicBezTo>
                  <a:pt x="464" y="548"/>
                  <a:pt x="464" y="548"/>
                  <a:pt x="464" y="548"/>
                </a:cubicBezTo>
                <a:cubicBezTo>
                  <a:pt x="464" y="564"/>
                  <a:pt x="464" y="564"/>
                  <a:pt x="464" y="564"/>
                </a:cubicBezTo>
                <a:cubicBezTo>
                  <a:pt x="464" y="572"/>
                  <a:pt x="464" y="580"/>
                  <a:pt x="464" y="587"/>
                </a:cubicBezTo>
                <a:cubicBezTo>
                  <a:pt x="464" y="587"/>
                  <a:pt x="464" y="595"/>
                  <a:pt x="464" y="595"/>
                </a:cubicBezTo>
                <a:cubicBezTo>
                  <a:pt x="464" y="603"/>
                  <a:pt x="464" y="603"/>
                  <a:pt x="464" y="611"/>
                </a:cubicBezTo>
                <a:cubicBezTo>
                  <a:pt x="464" y="603"/>
                  <a:pt x="472" y="603"/>
                  <a:pt x="472" y="595"/>
                </a:cubicBezTo>
                <a:cubicBezTo>
                  <a:pt x="472" y="611"/>
                  <a:pt x="472" y="619"/>
                  <a:pt x="472" y="627"/>
                </a:cubicBezTo>
                <a:cubicBezTo>
                  <a:pt x="472" y="634"/>
                  <a:pt x="472" y="634"/>
                  <a:pt x="464" y="627"/>
                </a:cubicBezTo>
                <a:cubicBezTo>
                  <a:pt x="464" y="634"/>
                  <a:pt x="464" y="642"/>
                  <a:pt x="464" y="650"/>
                </a:cubicBezTo>
                <a:cubicBezTo>
                  <a:pt x="464" y="650"/>
                  <a:pt x="464" y="650"/>
                  <a:pt x="464" y="650"/>
                </a:cubicBezTo>
                <a:cubicBezTo>
                  <a:pt x="464" y="658"/>
                  <a:pt x="464" y="658"/>
                  <a:pt x="464" y="658"/>
                </a:cubicBezTo>
                <a:cubicBezTo>
                  <a:pt x="464" y="666"/>
                  <a:pt x="464" y="666"/>
                  <a:pt x="464" y="666"/>
                </a:cubicBezTo>
                <a:cubicBezTo>
                  <a:pt x="464" y="666"/>
                  <a:pt x="464" y="666"/>
                  <a:pt x="464" y="666"/>
                </a:cubicBezTo>
                <a:cubicBezTo>
                  <a:pt x="464" y="666"/>
                  <a:pt x="464" y="666"/>
                  <a:pt x="464" y="666"/>
                </a:cubicBezTo>
                <a:cubicBezTo>
                  <a:pt x="464" y="666"/>
                  <a:pt x="464" y="658"/>
                  <a:pt x="464" y="658"/>
                </a:cubicBezTo>
                <a:cubicBezTo>
                  <a:pt x="464" y="674"/>
                  <a:pt x="472" y="681"/>
                  <a:pt x="472" y="721"/>
                </a:cubicBezTo>
                <a:cubicBezTo>
                  <a:pt x="472" y="728"/>
                  <a:pt x="472" y="728"/>
                  <a:pt x="472" y="736"/>
                </a:cubicBezTo>
                <a:cubicBezTo>
                  <a:pt x="472" y="721"/>
                  <a:pt x="479" y="713"/>
                  <a:pt x="479" y="713"/>
                </a:cubicBezTo>
                <a:cubicBezTo>
                  <a:pt x="479" y="713"/>
                  <a:pt x="479" y="713"/>
                  <a:pt x="479" y="728"/>
                </a:cubicBezTo>
                <a:cubicBezTo>
                  <a:pt x="479" y="736"/>
                  <a:pt x="479" y="736"/>
                  <a:pt x="479" y="736"/>
                </a:cubicBezTo>
                <a:cubicBezTo>
                  <a:pt x="479" y="736"/>
                  <a:pt x="479" y="736"/>
                  <a:pt x="479" y="744"/>
                </a:cubicBezTo>
                <a:cubicBezTo>
                  <a:pt x="479" y="752"/>
                  <a:pt x="479" y="752"/>
                  <a:pt x="479" y="752"/>
                </a:cubicBezTo>
                <a:cubicBezTo>
                  <a:pt x="479" y="752"/>
                  <a:pt x="479" y="752"/>
                  <a:pt x="479" y="767"/>
                </a:cubicBezTo>
                <a:cubicBezTo>
                  <a:pt x="479" y="767"/>
                  <a:pt x="479" y="767"/>
                  <a:pt x="479" y="767"/>
                </a:cubicBezTo>
                <a:cubicBezTo>
                  <a:pt x="479" y="767"/>
                  <a:pt x="479" y="767"/>
                  <a:pt x="479" y="767"/>
                </a:cubicBezTo>
                <a:cubicBezTo>
                  <a:pt x="479" y="767"/>
                  <a:pt x="479" y="767"/>
                  <a:pt x="479" y="783"/>
                </a:cubicBezTo>
                <a:cubicBezTo>
                  <a:pt x="479" y="783"/>
                  <a:pt x="479" y="783"/>
                  <a:pt x="479" y="791"/>
                </a:cubicBezTo>
                <a:cubicBezTo>
                  <a:pt x="479" y="791"/>
                  <a:pt x="479" y="791"/>
                  <a:pt x="479" y="799"/>
                </a:cubicBezTo>
                <a:cubicBezTo>
                  <a:pt x="479" y="799"/>
                  <a:pt x="479" y="799"/>
                  <a:pt x="479" y="799"/>
                </a:cubicBezTo>
                <a:cubicBezTo>
                  <a:pt x="479" y="799"/>
                  <a:pt x="479" y="799"/>
                  <a:pt x="479" y="814"/>
                </a:cubicBezTo>
                <a:cubicBezTo>
                  <a:pt x="479" y="814"/>
                  <a:pt x="479" y="814"/>
                  <a:pt x="479" y="814"/>
                </a:cubicBezTo>
                <a:cubicBezTo>
                  <a:pt x="479" y="814"/>
                  <a:pt x="479" y="822"/>
                  <a:pt x="479" y="822"/>
                </a:cubicBezTo>
                <a:cubicBezTo>
                  <a:pt x="479" y="814"/>
                  <a:pt x="479" y="838"/>
                  <a:pt x="479" y="830"/>
                </a:cubicBezTo>
                <a:cubicBezTo>
                  <a:pt x="479" y="854"/>
                  <a:pt x="479" y="861"/>
                  <a:pt x="479" y="885"/>
                </a:cubicBezTo>
                <a:cubicBezTo>
                  <a:pt x="479" y="893"/>
                  <a:pt x="479" y="893"/>
                  <a:pt x="479" y="893"/>
                </a:cubicBezTo>
                <a:cubicBezTo>
                  <a:pt x="479" y="901"/>
                  <a:pt x="479" y="893"/>
                  <a:pt x="487" y="893"/>
                </a:cubicBezTo>
                <a:cubicBezTo>
                  <a:pt x="487" y="885"/>
                  <a:pt x="487" y="877"/>
                  <a:pt x="479" y="861"/>
                </a:cubicBezTo>
                <a:cubicBezTo>
                  <a:pt x="479" y="861"/>
                  <a:pt x="479" y="854"/>
                  <a:pt x="479" y="854"/>
                </a:cubicBezTo>
                <a:cubicBezTo>
                  <a:pt x="479" y="854"/>
                  <a:pt x="479" y="854"/>
                  <a:pt x="487" y="861"/>
                </a:cubicBezTo>
                <a:cubicBezTo>
                  <a:pt x="487" y="861"/>
                  <a:pt x="487" y="861"/>
                  <a:pt x="487" y="861"/>
                </a:cubicBezTo>
                <a:cubicBezTo>
                  <a:pt x="487" y="869"/>
                  <a:pt x="487" y="877"/>
                  <a:pt x="487" y="877"/>
                </a:cubicBezTo>
                <a:cubicBezTo>
                  <a:pt x="487" y="885"/>
                  <a:pt x="487" y="885"/>
                  <a:pt x="487" y="885"/>
                </a:cubicBezTo>
                <a:cubicBezTo>
                  <a:pt x="487" y="885"/>
                  <a:pt x="487" y="885"/>
                  <a:pt x="487" y="885"/>
                </a:cubicBezTo>
                <a:cubicBezTo>
                  <a:pt x="487" y="893"/>
                  <a:pt x="487" y="893"/>
                  <a:pt x="487" y="893"/>
                </a:cubicBezTo>
                <a:cubicBezTo>
                  <a:pt x="487" y="893"/>
                  <a:pt x="487" y="901"/>
                  <a:pt x="487" y="908"/>
                </a:cubicBezTo>
                <a:cubicBezTo>
                  <a:pt x="487" y="901"/>
                  <a:pt x="487" y="901"/>
                  <a:pt x="487" y="901"/>
                </a:cubicBezTo>
                <a:cubicBezTo>
                  <a:pt x="487" y="908"/>
                  <a:pt x="487" y="908"/>
                  <a:pt x="487" y="916"/>
                </a:cubicBezTo>
                <a:cubicBezTo>
                  <a:pt x="487" y="916"/>
                  <a:pt x="487" y="916"/>
                  <a:pt x="479" y="916"/>
                </a:cubicBezTo>
                <a:cubicBezTo>
                  <a:pt x="479" y="908"/>
                  <a:pt x="479" y="908"/>
                  <a:pt x="479" y="901"/>
                </a:cubicBezTo>
                <a:cubicBezTo>
                  <a:pt x="479" y="901"/>
                  <a:pt x="479" y="901"/>
                  <a:pt x="479" y="885"/>
                </a:cubicBezTo>
                <a:cubicBezTo>
                  <a:pt x="479" y="901"/>
                  <a:pt x="479" y="908"/>
                  <a:pt x="479" y="932"/>
                </a:cubicBezTo>
                <a:cubicBezTo>
                  <a:pt x="479" y="932"/>
                  <a:pt x="479" y="932"/>
                  <a:pt x="479" y="932"/>
                </a:cubicBezTo>
                <a:cubicBezTo>
                  <a:pt x="479" y="940"/>
                  <a:pt x="472" y="901"/>
                  <a:pt x="472" y="932"/>
                </a:cubicBezTo>
                <a:cubicBezTo>
                  <a:pt x="472" y="940"/>
                  <a:pt x="472" y="940"/>
                  <a:pt x="472" y="947"/>
                </a:cubicBezTo>
                <a:cubicBezTo>
                  <a:pt x="472" y="955"/>
                  <a:pt x="472" y="963"/>
                  <a:pt x="464" y="963"/>
                </a:cubicBezTo>
                <a:cubicBezTo>
                  <a:pt x="464" y="971"/>
                  <a:pt x="464" y="979"/>
                  <a:pt x="464" y="987"/>
                </a:cubicBezTo>
                <a:cubicBezTo>
                  <a:pt x="464" y="1010"/>
                  <a:pt x="472" y="1034"/>
                  <a:pt x="464" y="1049"/>
                </a:cubicBezTo>
                <a:cubicBezTo>
                  <a:pt x="472" y="1073"/>
                  <a:pt x="472" y="1065"/>
                  <a:pt x="472" y="1073"/>
                </a:cubicBezTo>
                <a:cubicBezTo>
                  <a:pt x="472" y="1073"/>
                  <a:pt x="472" y="1081"/>
                  <a:pt x="472" y="1081"/>
                </a:cubicBezTo>
                <a:cubicBezTo>
                  <a:pt x="472" y="1088"/>
                  <a:pt x="472" y="1088"/>
                  <a:pt x="472" y="1096"/>
                </a:cubicBezTo>
                <a:cubicBezTo>
                  <a:pt x="472" y="1096"/>
                  <a:pt x="472" y="1096"/>
                  <a:pt x="472" y="1104"/>
                </a:cubicBezTo>
                <a:cubicBezTo>
                  <a:pt x="472" y="1104"/>
                  <a:pt x="472" y="1112"/>
                  <a:pt x="472" y="1112"/>
                </a:cubicBezTo>
                <a:cubicBezTo>
                  <a:pt x="472" y="1120"/>
                  <a:pt x="472" y="1120"/>
                  <a:pt x="472" y="1120"/>
                </a:cubicBezTo>
                <a:cubicBezTo>
                  <a:pt x="472" y="1120"/>
                  <a:pt x="472" y="1128"/>
                  <a:pt x="472" y="1128"/>
                </a:cubicBezTo>
                <a:cubicBezTo>
                  <a:pt x="472" y="1135"/>
                  <a:pt x="472" y="1143"/>
                  <a:pt x="472" y="1151"/>
                </a:cubicBezTo>
                <a:cubicBezTo>
                  <a:pt x="472" y="1151"/>
                  <a:pt x="472" y="1151"/>
                  <a:pt x="472" y="1151"/>
                </a:cubicBezTo>
                <a:cubicBezTo>
                  <a:pt x="472" y="1159"/>
                  <a:pt x="472" y="1159"/>
                  <a:pt x="472" y="1159"/>
                </a:cubicBezTo>
                <a:cubicBezTo>
                  <a:pt x="472" y="1167"/>
                  <a:pt x="472" y="1167"/>
                  <a:pt x="472" y="1167"/>
                </a:cubicBezTo>
                <a:cubicBezTo>
                  <a:pt x="472" y="1174"/>
                  <a:pt x="472" y="1174"/>
                  <a:pt x="472" y="1182"/>
                </a:cubicBezTo>
                <a:cubicBezTo>
                  <a:pt x="472" y="1190"/>
                  <a:pt x="472" y="1206"/>
                  <a:pt x="472" y="1206"/>
                </a:cubicBezTo>
                <a:cubicBezTo>
                  <a:pt x="472" y="1206"/>
                  <a:pt x="472" y="1206"/>
                  <a:pt x="472" y="1214"/>
                </a:cubicBezTo>
                <a:cubicBezTo>
                  <a:pt x="472" y="1214"/>
                  <a:pt x="472" y="1214"/>
                  <a:pt x="472" y="1214"/>
                </a:cubicBezTo>
                <a:cubicBezTo>
                  <a:pt x="472" y="1221"/>
                  <a:pt x="472" y="1245"/>
                  <a:pt x="472" y="1268"/>
                </a:cubicBezTo>
                <a:cubicBezTo>
                  <a:pt x="472" y="1268"/>
                  <a:pt x="472" y="1268"/>
                  <a:pt x="472" y="1276"/>
                </a:cubicBezTo>
                <a:cubicBezTo>
                  <a:pt x="472" y="1276"/>
                  <a:pt x="472" y="1284"/>
                  <a:pt x="472" y="1284"/>
                </a:cubicBezTo>
                <a:cubicBezTo>
                  <a:pt x="472" y="1284"/>
                  <a:pt x="472" y="1284"/>
                  <a:pt x="472" y="1292"/>
                </a:cubicBezTo>
                <a:cubicBezTo>
                  <a:pt x="472" y="1300"/>
                  <a:pt x="472" y="1300"/>
                  <a:pt x="472" y="1300"/>
                </a:cubicBezTo>
                <a:cubicBezTo>
                  <a:pt x="472" y="1300"/>
                  <a:pt x="472" y="1300"/>
                  <a:pt x="472" y="1300"/>
                </a:cubicBezTo>
                <a:cubicBezTo>
                  <a:pt x="472" y="1300"/>
                  <a:pt x="472" y="1300"/>
                  <a:pt x="472" y="1315"/>
                </a:cubicBezTo>
                <a:cubicBezTo>
                  <a:pt x="472" y="1300"/>
                  <a:pt x="472" y="1292"/>
                  <a:pt x="479" y="1300"/>
                </a:cubicBezTo>
                <a:cubicBezTo>
                  <a:pt x="479" y="1300"/>
                  <a:pt x="479" y="1300"/>
                  <a:pt x="479" y="1292"/>
                </a:cubicBezTo>
                <a:cubicBezTo>
                  <a:pt x="472" y="1292"/>
                  <a:pt x="472" y="1284"/>
                  <a:pt x="472" y="1276"/>
                </a:cubicBezTo>
                <a:cubicBezTo>
                  <a:pt x="479" y="1253"/>
                  <a:pt x="479" y="1276"/>
                  <a:pt x="479" y="1261"/>
                </a:cubicBezTo>
                <a:cubicBezTo>
                  <a:pt x="479" y="1253"/>
                  <a:pt x="479" y="1245"/>
                  <a:pt x="479" y="1245"/>
                </a:cubicBezTo>
                <a:cubicBezTo>
                  <a:pt x="479" y="1261"/>
                  <a:pt x="487" y="1276"/>
                  <a:pt x="487" y="1292"/>
                </a:cubicBezTo>
                <a:cubicBezTo>
                  <a:pt x="479" y="1292"/>
                  <a:pt x="479" y="1308"/>
                  <a:pt x="479" y="1331"/>
                </a:cubicBezTo>
                <a:cubicBezTo>
                  <a:pt x="479" y="1331"/>
                  <a:pt x="479" y="1323"/>
                  <a:pt x="479" y="1315"/>
                </a:cubicBezTo>
                <a:cubicBezTo>
                  <a:pt x="479" y="1362"/>
                  <a:pt x="479" y="1394"/>
                  <a:pt x="479" y="1417"/>
                </a:cubicBezTo>
                <a:cubicBezTo>
                  <a:pt x="479" y="1417"/>
                  <a:pt x="479" y="1417"/>
                  <a:pt x="479" y="1433"/>
                </a:cubicBezTo>
                <a:cubicBezTo>
                  <a:pt x="479" y="1433"/>
                  <a:pt x="479" y="1433"/>
                  <a:pt x="479" y="1441"/>
                </a:cubicBezTo>
                <a:cubicBezTo>
                  <a:pt x="479" y="1448"/>
                  <a:pt x="479" y="1448"/>
                  <a:pt x="479" y="1456"/>
                </a:cubicBezTo>
                <a:cubicBezTo>
                  <a:pt x="479" y="1456"/>
                  <a:pt x="479" y="1456"/>
                  <a:pt x="479" y="1464"/>
                </a:cubicBezTo>
                <a:cubicBezTo>
                  <a:pt x="479" y="1464"/>
                  <a:pt x="479" y="1464"/>
                  <a:pt x="472" y="1464"/>
                </a:cubicBezTo>
                <a:cubicBezTo>
                  <a:pt x="472" y="1464"/>
                  <a:pt x="472" y="1464"/>
                  <a:pt x="472" y="1472"/>
                </a:cubicBezTo>
                <a:cubicBezTo>
                  <a:pt x="472" y="1480"/>
                  <a:pt x="472" y="1480"/>
                  <a:pt x="472" y="1495"/>
                </a:cubicBezTo>
                <a:cubicBezTo>
                  <a:pt x="472" y="1511"/>
                  <a:pt x="472" y="1527"/>
                  <a:pt x="472" y="1527"/>
                </a:cubicBezTo>
                <a:cubicBezTo>
                  <a:pt x="472" y="1542"/>
                  <a:pt x="472" y="1558"/>
                  <a:pt x="472" y="1581"/>
                </a:cubicBezTo>
                <a:cubicBezTo>
                  <a:pt x="479" y="1558"/>
                  <a:pt x="479" y="1527"/>
                  <a:pt x="479" y="1495"/>
                </a:cubicBezTo>
                <a:cubicBezTo>
                  <a:pt x="479" y="1503"/>
                  <a:pt x="479" y="1495"/>
                  <a:pt x="479" y="1511"/>
                </a:cubicBezTo>
                <a:cubicBezTo>
                  <a:pt x="479" y="1511"/>
                  <a:pt x="479" y="1511"/>
                  <a:pt x="479" y="1519"/>
                </a:cubicBezTo>
                <a:cubicBezTo>
                  <a:pt x="479" y="1527"/>
                  <a:pt x="479" y="1527"/>
                  <a:pt x="479" y="1527"/>
                </a:cubicBezTo>
                <a:cubicBezTo>
                  <a:pt x="479" y="1534"/>
                  <a:pt x="479" y="1534"/>
                  <a:pt x="479" y="1534"/>
                </a:cubicBezTo>
                <a:cubicBezTo>
                  <a:pt x="479" y="1534"/>
                  <a:pt x="479" y="1534"/>
                  <a:pt x="479" y="1542"/>
                </a:cubicBezTo>
                <a:cubicBezTo>
                  <a:pt x="479" y="1542"/>
                  <a:pt x="479" y="1542"/>
                  <a:pt x="479" y="1542"/>
                </a:cubicBezTo>
                <a:cubicBezTo>
                  <a:pt x="479" y="1574"/>
                  <a:pt x="479" y="1581"/>
                  <a:pt x="479" y="1605"/>
                </a:cubicBezTo>
                <a:cubicBezTo>
                  <a:pt x="479" y="1621"/>
                  <a:pt x="472" y="1730"/>
                  <a:pt x="472" y="1785"/>
                </a:cubicBezTo>
                <a:cubicBezTo>
                  <a:pt x="472" y="1777"/>
                  <a:pt x="472" y="1769"/>
                  <a:pt x="479" y="1754"/>
                </a:cubicBezTo>
                <a:cubicBezTo>
                  <a:pt x="479" y="1754"/>
                  <a:pt x="479" y="1746"/>
                  <a:pt x="479" y="1746"/>
                </a:cubicBezTo>
                <a:cubicBezTo>
                  <a:pt x="479" y="1738"/>
                  <a:pt x="479" y="1738"/>
                  <a:pt x="479" y="1730"/>
                </a:cubicBezTo>
                <a:cubicBezTo>
                  <a:pt x="479" y="1699"/>
                  <a:pt x="479" y="1652"/>
                  <a:pt x="479" y="1644"/>
                </a:cubicBezTo>
                <a:cubicBezTo>
                  <a:pt x="479" y="1644"/>
                  <a:pt x="479" y="1636"/>
                  <a:pt x="479" y="1628"/>
                </a:cubicBezTo>
                <a:cubicBezTo>
                  <a:pt x="495" y="1566"/>
                  <a:pt x="487" y="1370"/>
                  <a:pt x="487" y="1315"/>
                </a:cubicBezTo>
                <a:cubicBezTo>
                  <a:pt x="487" y="1300"/>
                  <a:pt x="487" y="1308"/>
                  <a:pt x="487" y="1300"/>
                </a:cubicBezTo>
                <a:cubicBezTo>
                  <a:pt x="487" y="1292"/>
                  <a:pt x="487" y="1292"/>
                  <a:pt x="487" y="1292"/>
                </a:cubicBezTo>
                <a:cubicBezTo>
                  <a:pt x="487" y="1268"/>
                  <a:pt x="487" y="1253"/>
                  <a:pt x="487" y="1229"/>
                </a:cubicBezTo>
                <a:cubicBezTo>
                  <a:pt x="487" y="1229"/>
                  <a:pt x="487" y="1229"/>
                  <a:pt x="487" y="1221"/>
                </a:cubicBezTo>
                <a:cubicBezTo>
                  <a:pt x="487" y="1221"/>
                  <a:pt x="487" y="1214"/>
                  <a:pt x="487" y="1214"/>
                </a:cubicBezTo>
                <a:cubicBezTo>
                  <a:pt x="487" y="1214"/>
                  <a:pt x="487" y="1214"/>
                  <a:pt x="487" y="1214"/>
                </a:cubicBezTo>
                <a:cubicBezTo>
                  <a:pt x="487" y="1214"/>
                  <a:pt x="487" y="1214"/>
                  <a:pt x="487" y="1206"/>
                </a:cubicBezTo>
                <a:cubicBezTo>
                  <a:pt x="487" y="1206"/>
                  <a:pt x="487" y="1206"/>
                  <a:pt x="487" y="1198"/>
                </a:cubicBezTo>
                <a:cubicBezTo>
                  <a:pt x="487" y="1198"/>
                  <a:pt x="487" y="1198"/>
                  <a:pt x="487" y="1198"/>
                </a:cubicBezTo>
                <a:cubicBezTo>
                  <a:pt x="487" y="1198"/>
                  <a:pt x="487" y="1190"/>
                  <a:pt x="487" y="1190"/>
                </a:cubicBezTo>
                <a:cubicBezTo>
                  <a:pt x="487" y="1143"/>
                  <a:pt x="479" y="1065"/>
                  <a:pt x="479" y="1026"/>
                </a:cubicBezTo>
                <a:cubicBezTo>
                  <a:pt x="479" y="1026"/>
                  <a:pt x="479" y="1026"/>
                  <a:pt x="479" y="1026"/>
                </a:cubicBezTo>
                <a:cubicBezTo>
                  <a:pt x="479" y="1018"/>
                  <a:pt x="479" y="1018"/>
                  <a:pt x="479" y="1018"/>
                </a:cubicBezTo>
                <a:cubicBezTo>
                  <a:pt x="479" y="1018"/>
                  <a:pt x="479" y="1010"/>
                  <a:pt x="479" y="1010"/>
                </a:cubicBezTo>
                <a:cubicBezTo>
                  <a:pt x="479" y="1010"/>
                  <a:pt x="479" y="1010"/>
                  <a:pt x="479" y="1010"/>
                </a:cubicBezTo>
                <a:cubicBezTo>
                  <a:pt x="479" y="1002"/>
                  <a:pt x="479" y="994"/>
                  <a:pt x="479" y="994"/>
                </a:cubicBezTo>
                <a:cubicBezTo>
                  <a:pt x="479" y="971"/>
                  <a:pt x="479" y="947"/>
                  <a:pt x="479" y="932"/>
                </a:cubicBezTo>
                <a:cubicBezTo>
                  <a:pt x="487" y="932"/>
                  <a:pt x="487" y="932"/>
                  <a:pt x="487" y="924"/>
                </a:cubicBezTo>
                <a:cubicBezTo>
                  <a:pt x="487" y="924"/>
                  <a:pt x="487" y="924"/>
                  <a:pt x="487" y="916"/>
                </a:cubicBezTo>
                <a:cubicBezTo>
                  <a:pt x="487" y="916"/>
                  <a:pt x="487" y="916"/>
                  <a:pt x="487" y="916"/>
                </a:cubicBezTo>
                <a:cubicBezTo>
                  <a:pt x="487" y="924"/>
                  <a:pt x="487" y="924"/>
                  <a:pt x="487" y="924"/>
                </a:cubicBezTo>
                <a:cubicBezTo>
                  <a:pt x="487" y="924"/>
                  <a:pt x="487" y="924"/>
                  <a:pt x="487" y="924"/>
                </a:cubicBezTo>
                <a:cubicBezTo>
                  <a:pt x="495" y="971"/>
                  <a:pt x="495" y="971"/>
                  <a:pt x="495" y="971"/>
                </a:cubicBezTo>
                <a:cubicBezTo>
                  <a:pt x="495" y="987"/>
                  <a:pt x="495" y="1002"/>
                  <a:pt x="495" y="1010"/>
                </a:cubicBezTo>
                <a:cubicBezTo>
                  <a:pt x="487" y="1010"/>
                  <a:pt x="487" y="1010"/>
                  <a:pt x="487" y="1010"/>
                </a:cubicBezTo>
                <a:cubicBezTo>
                  <a:pt x="495" y="1026"/>
                  <a:pt x="495" y="1026"/>
                  <a:pt x="495" y="1026"/>
                </a:cubicBezTo>
                <a:cubicBezTo>
                  <a:pt x="495" y="1026"/>
                  <a:pt x="495" y="1026"/>
                  <a:pt x="495" y="1034"/>
                </a:cubicBezTo>
                <a:cubicBezTo>
                  <a:pt x="495" y="1034"/>
                  <a:pt x="495" y="1041"/>
                  <a:pt x="495" y="1041"/>
                </a:cubicBezTo>
                <a:cubicBezTo>
                  <a:pt x="495" y="1049"/>
                  <a:pt x="495" y="1049"/>
                  <a:pt x="495" y="1049"/>
                </a:cubicBezTo>
                <a:cubicBezTo>
                  <a:pt x="495" y="1057"/>
                  <a:pt x="495" y="1057"/>
                  <a:pt x="495" y="1065"/>
                </a:cubicBezTo>
                <a:cubicBezTo>
                  <a:pt x="495" y="1065"/>
                  <a:pt x="495" y="1065"/>
                  <a:pt x="495" y="1065"/>
                </a:cubicBezTo>
                <a:cubicBezTo>
                  <a:pt x="495" y="1057"/>
                  <a:pt x="495" y="1073"/>
                  <a:pt x="487" y="1073"/>
                </a:cubicBezTo>
                <a:cubicBezTo>
                  <a:pt x="487" y="1081"/>
                  <a:pt x="487" y="1088"/>
                  <a:pt x="487" y="1088"/>
                </a:cubicBezTo>
                <a:cubicBezTo>
                  <a:pt x="487" y="1088"/>
                  <a:pt x="487" y="1088"/>
                  <a:pt x="495" y="1096"/>
                </a:cubicBezTo>
                <a:cubicBezTo>
                  <a:pt x="495" y="1096"/>
                  <a:pt x="495" y="1096"/>
                  <a:pt x="487" y="1112"/>
                </a:cubicBezTo>
                <a:cubicBezTo>
                  <a:pt x="487" y="1128"/>
                  <a:pt x="487" y="1135"/>
                  <a:pt x="487" y="1151"/>
                </a:cubicBezTo>
                <a:cubicBezTo>
                  <a:pt x="487" y="1151"/>
                  <a:pt x="487" y="1151"/>
                  <a:pt x="487" y="1151"/>
                </a:cubicBezTo>
                <a:cubicBezTo>
                  <a:pt x="487" y="1159"/>
                  <a:pt x="487" y="1167"/>
                  <a:pt x="487" y="1167"/>
                </a:cubicBezTo>
                <a:cubicBezTo>
                  <a:pt x="487" y="1167"/>
                  <a:pt x="487" y="1167"/>
                  <a:pt x="495" y="1174"/>
                </a:cubicBezTo>
                <a:cubicBezTo>
                  <a:pt x="495" y="1174"/>
                  <a:pt x="495" y="1174"/>
                  <a:pt x="495" y="1182"/>
                </a:cubicBezTo>
                <a:cubicBezTo>
                  <a:pt x="487" y="1190"/>
                  <a:pt x="487" y="1190"/>
                  <a:pt x="487" y="1190"/>
                </a:cubicBezTo>
                <a:cubicBezTo>
                  <a:pt x="495" y="1190"/>
                  <a:pt x="495" y="1190"/>
                  <a:pt x="495" y="1190"/>
                </a:cubicBezTo>
                <a:cubicBezTo>
                  <a:pt x="495" y="1190"/>
                  <a:pt x="495" y="1190"/>
                  <a:pt x="495" y="1198"/>
                </a:cubicBezTo>
                <a:cubicBezTo>
                  <a:pt x="495" y="1198"/>
                  <a:pt x="495" y="1198"/>
                  <a:pt x="495" y="1198"/>
                </a:cubicBezTo>
                <a:cubicBezTo>
                  <a:pt x="495" y="1198"/>
                  <a:pt x="495" y="1198"/>
                  <a:pt x="487" y="1221"/>
                </a:cubicBezTo>
                <a:cubicBezTo>
                  <a:pt x="495" y="1229"/>
                  <a:pt x="495" y="1229"/>
                  <a:pt x="495" y="1229"/>
                </a:cubicBezTo>
                <a:cubicBezTo>
                  <a:pt x="495" y="1229"/>
                  <a:pt x="495" y="1229"/>
                  <a:pt x="495" y="1229"/>
                </a:cubicBezTo>
                <a:cubicBezTo>
                  <a:pt x="495" y="1237"/>
                  <a:pt x="495" y="1237"/>
                  <a:pt x="495" y="1237"/>
                </a:cubicBezTo>
                <a:cubicBezTo>
                  <a:pt x="487" y="1245"/>
                  <a:pt x="495" y="1245"/>
                  <a:pt x="495" y="1261"/>
                </a:cubicBezTo>
                <a:cubicBezTo>
                  <a:pt x="495" y="1261"/>
                  <a:pt x="495" y="1268"/>
                  <a:pt x="495" y="1268"/>
                </a:cubicBezTo>
                <a:cubicBezTo>
                  <a:pt x="495" y="1268"/>
                  <a:pt x="495" y="1276"/>
                  <a:pt x="495" y="1276"/>
                </a:cubicBezTo>
                <a:cubicBezTo>
                  <a:pt x="495" y="1284"/>
                  <a:pt x="495" y="1292"/>
                  <a:pt x="495" y="1300"/>
                </a:cubicBezTo>
                <a:cubicBezTo>
                  <a:pt x="495" y="1300"/>
                  <a:pt x="495" y="1308"/>
                  <a:pt x="495" y="1308"/>
                </a:cubicBezTo>
                <a:cubicBezTo>
                  <a:pt x="495" y="1315"/>
                  <a:pt x="495" y="1315"/>
                  <a:pt x="495" y="1315"/>
                </a:cubicBezTo>
                <a:cubicBezTo>
                  <a:pt x="495" y="1315"/>
                  <a:pt x="495" y="1315"/>
                  <a:pt x="495" y="1323"/>
                </a:cubicBezTo>
                <a:cubicBezTo>
                  <a:pt x="495" y="1331"/>
                  <a:pt x="495" y="1339"/>
                  <a:pt x="495" y="1347"/>
                </a:cubicBezTo>
                <a:cubicBezTo>
                  <a:pt x="487" y="1433"/>
                  <a:pt x="487" y="1534"/>
                  <a:pt x="487" y="1613"/>
                </a:cubicBezTo>
                <a:cubicBezTo>
                  <a:pt x="487" y="1613"/>
                  <a:pt x="487" y="1613"/>
                  <a:pt x="487" y="1613"/>
                </a:cubicBezTo>
                <a:cubicBezTo>
                  <a:pt x="487" y="1613"/>
                  <a:pt x="487" y="1613"/>
                  <a:pt x="487" y="1613"/>
                </a:cubicBezTo>
                <a:cubicBezTo>
                  <a:pt x="487" y="1613"/>
                  <a:pt x="487" y="1613"/>
                  <a:pt x="487" y="1613"/>
                </a:cubicBezTo>
                <a:cubicBezTo>
                  <a:pt x="487" y="1628"/>
                  <a:pt x="487" y="1644"/>
                  <a:pt x="487" y="1652"/>
                </a:cubicBezTo>
                <a:cubicBezTo>
                  <a:pt x="487" y="1652"/>
                  <a:pt x="487" y="1652"/>
                  <a:pt x="487" y="1660"/>
                </a:cubicBezTo>
                <a:cubicBezTo>
                  <a:pt x="479" y="1668"/>
                  <a:pt x="479" y="1668"/>
                  <a:pt x="487" y="1668"/>
                </a:cubicBezTo>
                <a:cubicBezTo>
                  <a:pt x="487" y="1668"/>
                  <a:pt x="487" y="1668"/>
                  <a:pt x="487" y="1683"/>
                </a:cubicBezTo>
                <a:cubicBezTo>
                  <a:pt x="487" y="1683"/>
                  <a:pt x="487" y="1683"/>
                  <a:pt x="479" y="1691"/>
                </a:cubicBezTo>
                <a:cubicBezTo>
                  <a:pt x="479" y="1691"/>
                  <a:pt x="479" y="1691"/>
                  <a:pt x="479" y="1675"/>
                </a:cubicBezTo>
                <a:cubicBezTo>
                  <a:pt x="479" y="1707"/>
                  <a:pt x="479" y="1777"/>
                  <a:pt x="479" y="1801"/>
                </a:cubicBezTo>
                <a:cubicBezTo>
                  <a:pt x="472" y="1808"/>
                  <a:pt x="472" y="1824"/>
                  <a:pt x="472" y="1832"/>
                </a:cubicBezTo>
                <a:cubicBezTo>
                  <a:pt x="472" y="1832"/>
                  <a:pt x="472" y="1832"/>
                  <a:pt x="472" y="1840"/>
                </a:cubicBezTo>
                <a:cubicBezTo>
                  <a:pt x="472" y="1840"/>
                  <a:pt x="472" y="1840"/>
                  <a:pt x="472" y="1840"/>
                </a:cubicBezTo>
                <a:cubicBezTo>
                  <a:pt x="472" y="1832"/>
                  <a:pt x="472" y="1824"/>
                  <a:pt x="479" y="1808"/>
                </a:cubicBezTo>
                <a:cubicBezTo>
                  <a:pt x="479" y="1816"/>
                  <a:pt x="479" y="1816"/>
                  <a:pt x="479" y="1824"/>
                </a:cubicBezTo>
                <a:cubicBezTo>
                  <a:pt x="479" y="1832"/>
                  <a:pt x="479" y="1824"/>
                  <a:pt x="479" y="1832"/>
                </a:cubicBezTo>
                <a:cubicBezTo>
                  <a:pt x="479" y="1832"/>
                  <a:pt x="479" y="1832"/>
                  <a:pt x="479" y="1840"/>
                </a:cubicBezTo>
                <a:cubicBezTo>
                  <a:pt x="479" y="1840"/>
                  <a:pt x="479" y="1848"/>
                  <a:pt x="479" y="1848"/>
                </a:cubicBezTo>
                <a:cubicBezTo>
                  <a:pt x="479" y="1871"/>
                  <a:pt x="479" y="1973"/>
                  <a:pt x="479" y="1973"/>
                </a:cubicBezTo>
                <a:cubicBezTo>
                  <a:pt x="479" y="1973"/>
                  <a:pt x="479" y="1981"/>
                  <a:pt x="479" y="1988"/>
                </a:cubicBezTo>
                <a:cubicBezTo>
                  <a:pt x="479" y="1988"/>
                  <a:pt x="479" y="1981"/>
                  <a:pt x="479" y="1981"/>
                </a:cubicBezTo>
                <a:cubicBezTo>
                  <a:pt x="479" y="1981"/>
                  <a:pt x="479" y="1981"/>
                  <a:pt x="479" y="1973"/>
                </a:cubicBezTo>
                <a:cubicBezTo>
                  <a:pt x="479" y="1965"/>
                  <a:pt x="472" y="1934"/>
                  <a:pt x="472" y="1910"/>
                </a:cubicBezTo>
                <a:cubicBezTo>
                  <a:pt x="472" y="1918"/>
                  <a:pt x="472" y="1926"/>
                  <a:pt x="472" y="1926"/>
                </a:cubicBezTo>
                <a:cubicBezTo>
                  <a:pt x="472" y="1926"/>
                  <a:pt x="472" y="1926"/>
                  <a:pt x="472" y="1934"/>
                </a:cubicBezTo>
                <a:cubicBezTo>
                  <a:pt x="472" y="1934"/>
                  <a:pt x="472" y="1934"/>
                  <a:pt x="472" y="1941"/>
                </a:cubicBezTo>
                <a:cubicBezTo>
                  <a:pt x="472" y="1949"/>
                  <a:pt x="472" y="1981"/>
                  <a:pt x="479" y="1996"/>
                </a:cubicBezTo>
                <a:cubicBezTo>
                  <a:pt x="479" y="2012"/>
                  <a:pt x="479" y="2012"/>
                  <a:pt x="479" y="2012"/>
                </a:cubicBezTo>
                <a:cubicBezTo>
                  <a:pt x="479" y="2028"/>
                  <a:pt x="479" y="2043"/>
                  <a:pt x="479" y="2059"/>
                </a:cubicBezTo>
                <a:cubicBezTo>
                  <a:pt x="479" y="2035"/>
                  <a:pt x="479" y="2012"/>
                  <a:pt x="479" y="1988"/>
                </a:cubicBezTo>
                <a:cubicBezTo>
                  <a:pt x="479" y="2012"/>
                  <a:pt x="479" y="2028"/>
                  <a:pt x="479" y="2059"/>
                </a:cubicBezTo>
                <a:cubicBezTo>
                  <a:pt x="479" y="2059"/>
                  <a:pt x="479" y="2059"/>
                  <a:pt x="487" y="2059"/>
                </a:cubicBezTo>
                <a:cubicBezTo>
                  <a:pt x="487" y="2059"/>
                  <a:pt x="487" y="2059"/>
                  <a:pt x="487" y="2059"/>
                </a:cubicBezTo>
                <a:cubicBezTo>
                  <a:pt x="487" y="2059"/>
                  <a:pt x="487" y="2059"/>
                  <a:pt x="487" y="2067"/>
                </a:cubicBezTo>
                <a:cubicBezTo>
                  <a:pt x="487" y="2067"/>
                  <a:pt x="487" y="2067"/>
                  <a:pt x="487" y="2075"/>
                </a:cubicBezTo>
                <a:cubicBezTo>
                  <a:pt x="487" y="2075"/>
                  <a:pt x="487" y="2075"/>
                  <a:pt x="487" y="2075"/>
                </a:cubicBezTo>
                <a:cubicBezTo>
                  <a:pt x="487" y="2082"/>
                  <a:pt x="487" y="2090"/>
                  <a:pt x="487" y="2098"/>
                </a:cubicBezTo>
                <a:cubicBezTo>
                  <a:pt x="495" y="2098"/>
                  <a:pt x="487" y="2098"/>
                  <a:pt x="495" y="2121"/>
                </a:cubicBezTo>
                <a:cubicBezTo>
                  <a:pt x="495" y="2121"/>
                  <a:pt x="495" y="2114"/>
                  <a:pt x="495" y="2106"/>
                </a:cubicBezTo>
                <a:cubicBezTo>
                  <a:pt x="495" y="2106"/>
                  <a:pt x="495" y="2106"/>
                  <a:pt x="495" y="2137"/>
                </a:cubicBezTo>
                <a:cubicBezTo>
                  <a:pt x="495" y="2137"/>
                  <a:pt x="495" y="2137"/>
                  <a:pt x="495" y="2129"/>
                </a:cubicBezTo>
                <a:cubicBezTo>
                  <a:pt x="495" y="2129"/>
                  <a:pt x="495" y="2129"/>
                  <a:pt x="503" y="2129"/>
                </a:cubicBezTo>
                <a:cubicBezTo>
                  <a:pt x="503" y="2129"/>
                  <a:pt x="503" y="2129"/>
                  <a:pt x="511" y="2145"/>
                </a:cubicBezTo>
                <a:cubicBezTo>
                  <a:pt x="511" y="2145"/>
                  <a:pt x="511" y="2153"/>
                  <a:pt x="511" y="2153"/>
                </a:cubicBezTo>
                <a:cubicBezTo>
                  <a:pt x="511" y="2153"/>
                  <a:pt x="511" y="2153"/>
                  <a:pt x="511" y="2145"/>
                </a:cubicBezTo>
                <a:cubicBezTo>
                  <a:pt x="511" y="2145"/>
                  <a:pt x="511" y="2137"/>
                  <a:pt x="511" y="2121"/>
                </a:cubicBezTo>
                <a:cubicBezTo>
                  <a:pt x="511" y="2121"/>
                  <a:pt x="511" y="2121"/>
                  <a:pt x="511" y="2121"/>
                </a:cubicBezTo>
                <a:cubicBezTo>
                  <a:pt x="511" y="2121"/>
                  <a:pt x="511" y="2121"/>
                  <a:pt x="511" y="2129"/>
                </a:cubicBezTo>
                <a:cubicBezTo>
                  <a:pt x="511" y="2121"/>
                  <a:pt x="511" y="2121"/>
                  <a:pt x="511" y="2114"/>
                </a:cubicBezTo>
                <a:cubicBezTo>
                  <a:pt x="511" y="2098"/>
                  <a:pt x="511" y="2098"/>
                  <a:pt x="511" y="2090"/>
                </a:cubicBezTo>
                <a:cubicBezTo>
                  <a:pt x="511" y="2098"/>
                  <a:pt x="511" y="2106"/>
                  <a:pt x="511" y="2106"/>
                </a:cubicBezTo>
                <a:cubicBezTo>
                  <a:pt x="503" y="2090"/>
                  <a:pt x="503" y="2106"/>
                  <a:pt x="495" y="2067"/>
                </a:cubicBezTo>
                <a:cubicBezTo>
                  <a:pt x="495" y="2067"/>
                  <a:pt x="495" y="2067"/>
                  <a:pt x="503" y="2067"/>
                </a:cubicBezTo>
                <a:cubicBezTo>
                  <a:pt x="503" y="2067"/>
                  <a:pt x="503" y="2067"/>
                  <a:pt x="495" y="2043"/>
                </a:cubicBezTo>
                <a:cubicBezTo>
                  <a:pt x="495" y="2043"/>
                  <a:pt x="495" y="2043"/>
                  <a:pt x="495" y="2035"/>
                </a:cubicBezTo>
                <a:cubicBezTo>
                  <a:pt x="495" y="2035"/>
                  <a:pt x="495" y="2035"/>
                  <a:pt x="495" y="2028"/>
                </a:cubicBezTo>
                <a:cubicBezTo>
                  <a:pt x="503" y="2028"/>
                  <a:pt x="503" y="2028"/>
                  <a:pt x="503" y="2028"/>
                </a:cubicBezTo>
                <a:cubicBezTo>
                  <a:pt x="503" y="2035"/>
                  <a:pt x="503" y="2043"/>
                  <a:pt x="503" y="2051"/>
                </a:cubicBezTo>
                <a:cubicBezTo>
                  <a:pt x="503" y="2043"/>
                  <a:pt x="503" y="2035"/>
                  <a:pt x="503" y="2028"/>
                </a:cubicBezTo>
                <a:cubicBezTo>
                  <a:pt x="503" y="2028"/>
                  <a:pt x="503" y="2028"/>
                  <a:pt x="503" y="2028"/>
                </a:cubicBezTo>
                <a:cubicBezTo>
                  <a:pt x="503" y="2028"/>
                  <a:pt x="503" y="2043"/>
                  <a:pt x="511" y="2059"/>
                </a:cubicBezTo>
                <a:cubicBezTo>
                  <a:pt x="503" y="2059"/>
                  <a:pt x="503" y="2059"/>
                  <a:pt x="503" y="2067"/>
                </a:cubicBezTo>
                <a:cubicBezTo>
                  <a:pt x="503" y="2075"/>
                  <a:pt x="503" y="2075"/>
                  <a:pt x="511" y="2090"/>
                </a:cubicBezTo>
                <a:cubicBezTo>
                  <a:pt x="511" y="2075"/>
                  <a:pt x="503" y="2067"/>
                  <a:pt x="511" y="2067"/>
                </a:cubicBezTo>
                <a:cubicBezTo>
                  <a:pt x="511" y="2067"/>
                  <a:pt x="511" y="2067"/>
                  <a:pt x="511" y="2075"/>
                </a:cubicBezTo>
                <a:cubicBezTo>
                  <a:pt x="511" y="2075"/>
                  <a:pt x="511" y="2067"/>
                  <a:pt x="511" y="2075"/>
                </a:cubicBezTo>
                <a:cubicBezTo>
                  <a:pt x="511" y="2067"/>
                  <a:pt x="511" y="2051"/>
                  <a:pt x="503" y="2035"/>
                </a:cubicBezTo>
                <a:cubicBezTo>
                  <a:pt x="511" y="2035"/>
                  <a:pt x="511" y="2035"/>
                  <a:pt x="511" y="2028"/>
                </a:cubicBezTo>
                <a:cubicBezTo>
                  <a:pt x="503" y="2020"/>
                  <a:pt x="503" y="2020"/>
                  <a:pt x="503" y="2020"/>
                </a:cubicBezTo>
                <a:cubicBezTo>
                  <a:pt x="503" y="2004"/>
                  <a:pt x="503" y="1988"/>
                  <a:pt x="503" y="1973"/>
                </a:cubicBezTo>
                <a:cubicBezTo>
                  <a:pt x="503" y="1973"/>
                  <a:pt x="503" y="1965"/>
                  <a:pt x="503" y="1965"/>
                </a:cubicBezTo>
                <a:cubicBezTo>
                  <a:pt x="503" y="1957"/>
                  <a:pt x="503" y="1957"/>
                  <a:pt x="503" y="1949"/>
                </a:cubicBezTo>
                <a:cubicBezTo>
                  <a:pt x="503" y="1949"/>
                  <a:pt x="503" y="1949"/>
                  <a:pt x="503" y="1941"/>
                </a:cubicBezTo>
                <a:cubicBezTo>
                  <a:pt x="503" y="1941"/>
                  <a:pt x="503" y="1941"/>
                  <a:pt x="503" y="1934"/>
                </a:cubicBezTo>
                <a:cubicBezTo>
                  <a:pt x="503" y="1934"/>
                  <a:pt x="503" y="1934"/>
                  <a:pt x="503" y="1926"/>
                </a:cubicBezTo>
                <a:cubicBezTo>
                  <a:pt x="503" y="1941"/>
                  <a:pt x="503" y="1934"/>
                  <a:pt x="503" y="1941"/>
                </a:cubicBezTo>
                <a:cubicBezTo>
                  <a:pt x="503" y="1941"/>
                  <a:pt x="503" y="1918"/>
                  <a:pt x="503" y="1895"/>
                </a:cubicBezTo>
                <a:cubicBezTo>
                  <a:pt x="503" y="1926"/>
                  <a:pt x="511" y="2035"/>
                  <a:pt x="511" y="2043"/>
                </a:cubicBezTo>
                <a:cubicBezTo>
                  <a:pt x="511" y="2043"/>
                  <a:pt x="511" y="2043"/>
                  <a:pt x="511" y="2043"/>
                </a:cubicBezTo>
                <a:cubicBezTo>
                  <a:pt x="511" y="2043"/>
                  <a:pt x="511" y="2043"/>
                  <a:pt x="511" y="2051"/>
                </a:cubicBezTo>
                <a:cubicBezTo>
                  <a:pt x="511" y="2059"/>
                  <a:pt x="511" y="2067"/>
                  <a:pt x="511" y="2075"/>
                </a:cubicBezTo>
                <a:cubicBezTo>
                  <a:pt x="519" y="2090"/>
                  <a:pt x="511" y="2082"/>
                  <a:pt x="519" y="2082"/>
                </a:cubicBezTo>
                <a:cubicBezTo>
                  <a:pt x="519" y="2090"/>
                  <a:pt x="519" y="2098"/>
                  <a:pt x="519" y="2106"/>
                </a:cubicBezTo>
                <a:cubicBezTo>
                  <a:pt x="519" y="2106"/>
                  <a:pt x="519" y="2106"/>
                  <a:pt x="519" y="2121"/>
                </a:cubicBezTo>
                <a:cubicBezTo>
                  <a:pt x="519" y="2121"/>
                  <a:pt x="519" y="2121"/>
                  <a:pt x="527" y="2129"/>
                </a:cubicBezTo>
                <a:cubicBezTo>
                  <a:pt x="527" y="2137"/>
                  <a:pt x="527" y="2129"/>
                  <a:pt x="527" y="2129"/>
                </a:cubicBezTo>
                <a:cubicBezTo>
                  <a:pt x="527" y="2121"/>
                  <a:pt x="527" y="2121"/>
                  <a:pt x="527" y="2121"/>
                </a:cubicBezTo>
                <a:cubicBezTo>
                  <a:pt x="527" y="2121"/>
                  <a:pt x="527" y="2121"/>
                  <a:pt x="527" y="2121"/>
                </a:cubicBezTo>
                <a:cubicBezTo>
                  <a:pt x="527" y="2121"/>
                  <a:pt x="527" y="2121"/>
                  <a:pt x="527" y="2114"/>
                </a:cubicBezTo>
                <a:cubicBezTo>
                  <a:pt x="527" y="2114"/>
                  <a:pt x="527" y="2114"/>
                  <a:pt x="519" y="2106"/>
                </a:cubicBezTo>
                <a:cubicBezTo>
                  <a:pt x="527" y="2106"/>
                  <a:pt x="527" y="2106"/>
                  <a:pt x="527" y="2106"/>
                </a:cubicBezTo>
                <a:cubicBezTo>
                  <a:pt x="527" y="2106"/>
                  <a:pt x="527" y="2106"/>
                  <a:pt x="527" y="2114"/>
                </a:cubicBezTo>
                <a:cubicBezTo>
                  <a:pt x="527" y="2114"/>
                  <a:pt x="527" y="2114"/>
                  <a:pt x="527" y="2114"/>
                </a:cubicBezTo>
                <a:cubicBezTo>
                  <a:pt x="527" y="2114"/>
                  <a:pt x="527" y="2114"/>
                  <a:pt x="527" y="2082"/>
                </a:cubicBezTo>
                <a:cubicBezTo>
                  <a:pt x="527" y="2082"/>
                  <a:pt x="527" y="2082"/>
                  <a:pt x="527" y="2082"/>
                </a:cubicBezTo>
                <a:cubicBezTo>
                  <a:pt x="527" y="2082"/>
                  <a:pt x="527" y="2082"/>
                  <a:pt x="527" y="2075"/>
                </a:cubicBezTo>
                <a:cubicBezTo>
                  <a:pt x="527" y="2075"/>
                  <a:pt x="527" y="2075"/>
                  <a:pt x="527" y="2075"/>
                </a:cubicBezTo>
                <a:cubicBezTo>
                  <a:pt x="527" y="2067"/>
                  <a:pt x="527" y="2067"/>
                  <a:pt x="527" y="2067"/>
                </a:cubicBezTo>
                <a:cubicBezTo>
                  <a:pt x="527" y="2051"/>
                  <a:pt x="527" y="2043"/>
                  <a:pt x="519" y="2043"/>
                </a:cubicBezTo>
                <a:cubicBezTo>
                  <a:pt x="519" y="2051"/>
                  <a:pt x="519" y="2059"/>
                  <a:pt x="519" y="2059"/>
                </a:cubicBezTo>
                <a:cubicBezTo>
                  <a:pt x="519" y="2059"/>
                  <a:pt x="519" y="2059"/>
                  <a:pt x="519" y="2059"/>
                </a:cubicBezTo>
                <a:cubicBezTo>
                  <a:pt x="519" y="2075"/>
                  <a:pt x="527" y="2082"/>
                  <a:pt x="527" y="2090"/>
                </a:cubicBezTo>
                <a:cubicBezTo>
                  <a:pt x="527" y="2090"/>
                  <a:pt x="527" y="2098"/>
                  <a:pt x="527" y="2098"/>
                </a:cubicBezTo>
                <a:cubicBezTo>
                  <a:pt x="519" y="2090"/>
                  <a:pt x="519" y="2090"/>
                  <a:pt x="519" y="2090"/>
                </a:cubicBezTo>
                <a:cubicBezTo>
                  <a:pt x="519" y="2082"/>
                  <a:pt x="519" y="2075"/>
                  <a:pt x="519" y="2059"/>
                </a:cubicBezTo>
                <a:cubicBezTo>
                  <a:pt x="519" y="2059"/>
                  <a:pt x="519" y="2059"/>
                  <a:pt x="519" y="2059"/>
                </a:cubicBezTo>
                <a:cubicBezTo>
                  <a:pt x="519" y="2059"/>
                  <a:pt x="519" y="2059"/>
                  <a:pt x="519" y="2051"/>
                </a:cubicBezTo>
                <a:cubicBezTo>
                  <a:pt x="519" y="2051"/>
                  <a:pt x="519" y="2051"/>
                  <a:pt x="519" y="2043"/>
                </a:cubicBezTo>
                <a:cubicBezTo>
                  <a:pt x="519" y="2043"/>
                  <a:pt x="519" y="2043"/>
                  <a:pt x="519" y="2043"/>
                </a:cubicBezTo>
                <a:cubicBezTo>
                  <a:pt x="519" y="2043"/>
                  <a:pt x="519" y="2043"/>
                  <a:pt x="519" y="2043"/>
                </a:cubicBezTo>
                <a:cubicBezTo>
                  <a:pt x="519" y="2043"/>
                  <a:pt x="519" y="2043"/>
                  <a:pt x="519" y="2043"/>
                </a:cubicBezTo>
                <a:cubicBezTo>
                  <a:pt x="519" y="2035"/>
                  <a:pt x="519" y="2028"/>
                  <a:pt x="519" y="2028"/>
                </a:cubicBezTo>
                <a:cubicBezTo>
                  <a:pt x="519" y="2028"/>
                  <a:pt x="519" y="2020"/>
                  <a:pt x="519" y="2020"/>
                </a:cubicBezTo>
                <a:cubicBezTo>
                  <a:pt x="527" y="2028"/>
                  <a:pt x="527" y="2028"/>
                  <a:pt x="527" y="2028"/>
                </a:cubicBezTo>
                <a:cubicBezTo>
                  <a:pt x="527" y="2028"/>
                  <a:pt x="527" y="2020"/>
                  <a:pt x="527" y="2020"/>
                </a:cubicBezTo>
                <a:cubicBezTo>
                  <a:pt x="519" y="2012"/>
                  <a:pt x="527" y="2012"/>
                  <a:pt x="519" y="2012"/>
                </a:cubicBezTo>
                <a:cubicBezTo>
                  <a:pt x="519" y="2012"/>
                  <a:pt x="519" y="2012"/>
                  <a:pt x="527" y="2012"/>
                </a:cubicBezTo>
                <a:cubicBezTo>
                  <a:pt x="527" y="2012"/>
                  <a:pt x="527" y="2012"/>
                  <a:pt x="527" y="2012"/>
                </a:cubicBezTo>
                <a:cubicBezTo>
                  <a:pt x="527" y="2012"/>
                  <a:pt x="527" y="1996"/>
                  <a:pt x="519" y="1988"/>
                </a:cubicBezTo>
                <a:cubicBezTo>
                  <a:pt x="519" y="1981"/>
                  <a:pt x="519" y="1981"/>
                  <a:pt x="519" y="1981"/>
                </a:cubicBezTo>
                <a:cubicBezTo>
                  <a:pt x="519" y="1965"/>
                  <a:pt x="511" y="1957"/>
                  <a:pt x="511" y="1949"/>
                </a:cubicBezTo>
                <a:cubicBezTo>
                  <a:pt x="519" y="1957"/>
                  <a:pt x="519" y="1949"/>
                  <a:pt x="519" y="1965"/>
                </a:cubicBezTo>
                <a:cubicBezTo>
                  <a:pt x="519" y="1957"/>
                  <a:pt x="519" y="1949"/>
                  <a:pt x="519" y="1934"/>
                </a:cubicBezTo>
                <a:cubicBezTo>
                  <a:pt x="519" y="1934"/>
                  <a:pt x="519" y="1965"/>
                  <a:pt x="527" y="1981"/>
                </a:cubicBezTo>
                <a:cubicBezTo>
                  <a:pt x="527" y="1973"/>
                  <a:pt x="527" y="1973"/>
                  <a:pt x="527" y="1957"/>
                </a:cubicBezTo>
                <a:cubicBezTo>
                  <a:pt x="527" y="1957"/>
                  <a:pt x="527" y="1957"/>
                  <a:pt x="527" y="1957"/>
                </a:cubicBezTo>
                <a:cubicBezTo>
                  <a:pt x="527" y="1973"/>
                  <a:pt x="527" y="1996"/>
                  <a:pt x="527" y="2012"/>
                </a:cubicBezTo>
                <a:cubicBezTo>
                  <a:pt x="527" y="2012"/>
                  <a:pt x="527" y="2020"/>
                  <a:pt x="527" y="2020"/>
                </a:cubicBezTo>
                <a:cubicBezTo>
                  <a:pt x="527" y="2020"/>
                  <a:pt x="527" y="2028"/>
                  <a:pt x="527" y="2028"/>
                </a:cubicBezTo>
                <a:cubicBezTo>
                  <a:pt x="534" y="2059"/>
                  <a:pt x="534" y="2051"/>
                  <a:pt x="542" y="2090"/>
                </a:cubicBezTo>
                <a:cubicBezTo>
                  <a:pt x="542" y="2090"/>
                  <a:pt x="542" y="2090"/>
                  <a:pt x="542" y="2090"/>
                </a:cubicBezTo>
                <a:cubicBezTo>
                  <a:pt x="542" y="2090"/>
                  <a:pt x="542" y="2059"/>
                  <a:pt x="542" y="2043"/>
                </a:cubicBezTo>
                <a:cubicBezTo>
                  <a:pt x="542" y="2043"/>
                  <a:pt x="542" y="2043"/>
                  <a:pt x="534" y="2035"/>
                </a:cubicBezTo>
                <a:cubicBezTo>
                  <a:pt x="534" y="2028"/>
                  <a:pt x="534" y="2012"/>
                  <a:pt x="534" y="2012"/>
                </a:cubicBezTo>
                <a:cubicBezTo>
                  <a:pt x="534" y="2012"/>
                  <a:pt x="534" y="2020"/>
                  <a:pt x="534" y="2020"/>
                </a:cubicBezTo>
                <a:cubicBezTo>
                  <a:pt x="534" y="2020"/>
                  <a:pt x="534" y="2020"/>
                  <a:pt x="534" y="2028"/>
                </a:cubicBezTo>
                <a:cubicBezTo>
                  <a:pt x="534" y="2012"/>
                  <a:pt x="534" y="1996"/>
                  <a:pt x="534" y="1973"/>
                </a:cubicBezTo>
                <a:cubicBezTo>
                  <a:pt x="534" y="1973"/>
                  <a:pt x="534" y="1973"/>
                  <a:pt x="534" y="1973"/>
                </a:cubicBezTo>
                <a:cubicBezTo>
                  <a:pt x="534" y="1973"/>
                  <a:pt x="534" y="1973"/>
                  <a:pt x="534" y="1973"/>
                </a:cubicBezTo>
                <a:cubicBezTo>
                  <a:pt x="527" y="1926"/>
                  <a:pt x="527" y="1871"/>
                  <a:pt x="534" y="1824"/>
                </a:cubicBezTo>
                <a:cubicBezTo>
                  <a:pt x="534" y="1824"/>
                  <a:pt x="534" y="1824"/>
                  <a:pt x="534" y="1824"/>
                </a:cubicBezTo>
                <a:cubicBezTo>
                  <a:pt x="534" y="1824"/>
                  <a:pt x="534" y="1824"/>
                  <a:pt x="534" y="1824"/>
                </a:cubicBezTo>
                <a:cubicBezTo>
                  <a:pt x="534" y="1801"/>
                  <a:pt x="534" y="1777"/>
                  <a:pt x="534" y="1761"/>
                </a:cubicBezTo>
                <a:cubicBezTo>
                  <a:pt x="534" y="1769"/>
                  <a:pt x="534" y="1769"/>
                  <a:pt x="534" y="1777"/>
                </a:cubicBezTo>
                <a:cubicBezTo>
                  <a:pt x="534" y="1777"/>
                  <a:pt x="534" y="1785"/>
                  <a:pt x="534" y="1785"/>
                </a:cubicBezTo>
                <a:cubicBezTo>
                  <a:pt x="534" y="1793"/>
                  <a:pt x="534" y="1801"/>
                  <a:pt x="534" y="1808"/>
                </a:cubicBezTo>
                <a:cubicBezTo>
                  <a:pt x="534" y="1777"/>
                  <a:pt x="534" y="1738"/>
                  <a:pt x="534" y="1722"/>
                </a:cubicBezTo>
                <a:cubicBezTo>
                  <a:pt x="534" y="1722"/>
                  <a:pt x="534" y="1722"/>
                  <a:pt x="542" y="1722"/>
                </a:cubicBezTo>
                <a:cubicBezTo>
                  <a:pt x="542" y="1730"/>
                  <a:pt x="542" y="1746"/>
                  <a:pt x="542" y="1746"/>
                </a:cubicBezTo>
                <a:cubicBezTo>
                  <a:pt x="534" y="1761"/>
                  <a:pt x="534" y="1793"/>
                  <a:pt x="534" y="1824"/>
                </a:cubicBezTo>
                <a:cubicBezTo>
                  <a:pt x="534" y="1824"/>
                  <a:pt x="534" y="1832"/>
                  <a:pt x="534" y="1832"/>
                </a:cubicBezTo>
                <a:cubicBezTo>
                  <a:pt x="534" y="1824"/>
                  <a:pt x="534" y="1824"/>
                  <a:pt x="534" y="1824"/>
                </a:cubicBezTo>
                <a:cubicBezTo>
                  <a:pt x="534" y="1832"/>
                  <a:pt x="534" y="1832"/>
                  <a:pt x="534" y="1840"/>
                </a:cubicBezTo>
                <a:cubicBezTo>
                  <a:pt x="534" y="1840"/>
                  <a:pt x="534" y="1848"/>
                  <a:pt x="534" y="1855"/>
                </a:cubicBezTo>
                <a:cubicBezTo>
                  <a:pt x="534" y="1855"/>
                  <a:pt x="534" y="1855"/>
                  <a:pt x="534" y="1855"/>
                </a:cubicBezTo>
                <a:cubicBezTo>
                  <a:pt x="534" y="1855"/>
                  <a:pt x="534" y="1855"/>
                  <a:pt x="534" y="1855"/>
                </a:cubicBezTo>
                <a:cubicBezTo>
                  <a:pt x="534" y="1855"/>
                  <a:pt x="534" y="1863"/>
                  <a:pt x="534" y="1871"/>
                </a:cubicBezTo>
                <a:cubicBezTo>
                  <a:pt x="534" y="1871"/>
                  <a:pt x="534" y="1871"/>
                  <a:pt x="534" y="1871"/>
                </a:cubicBezTo>
                <a:cubicBezTo>
                  <a:pt x="534" y="1871"/>
                  <a:pt x="534" y="1871"/>
                  <a:pt x="534" y="1871"/>
                </a:cubicBezTo>
                <a:cubicBezTo>
                  <a:pt x="534" y="1879"/>
                  <a:pt x="534" y="1887"/>
                  <a:pt x="534" y="1895"/>
                </a:cubicBezTo>
                <a:cubicBezTo>
                  <a:pt x="534" y="1895"/>
                  <a:pt x="534" y="1895"/>
                  <a:pt x="534" y="1895"/>
                </a:cubicBezTo>
                <a:cubicBezTo>
                  <a:pt x="534" y="1895"/>
                  <a:pt x="534" y="1895"/>
                  <a:pt x="534" y="1902"/>
                </a:cubicBezTo>
                <a:cubicBezTo>
                  <a:pt x="534" y="1902"/>
                  <a:pt x="534" y="1902"/>
                  <a:pt x="534" y="1902"/>
                </a:cubicBezTo>
                <a:cubicBezTo>
                  <a:pt x="534" y="1910"/>
                  <a:pt x="534" y="1910"/>
                  <a:pt x="534" y="1910"/>
                </a:cubicBezTo>
                <a:cubicBezTo>
                  <a:pt x="534" y="1910"/>
                  <a:pt x="534" y="1910"/>
                  <a:pt x="534" y="1910"/>
                </a:cubicBezTo>
                <a:cubicBezTo>
                  <a:pt x="534" y="1934"/>
                  <a:pt x="534" y="1934"/>
                  <a:pt x="534" y="1941"/>
                </a:cubicBezTo>
                <a:cubicBezTo>
                  <a:pt x="534" y="1941"/>
                  <a:pt x="534" y="1941"/>
                  <a:pt x="534" y="1941"/>
                </a:cubicBezTo>
                <a:cubicBezTo>
                  <a:pt x="534" y="1949"/>
                  <a:pt x="534" y="1949"/>
                  <a:pt x="534" y="1957"/>
                </a:cubicBezTo>
                <a:cubicBezTo>
                  <a:pt x="534" y="1973"/>
                  <a:pt x="534" y="1996"/>
                  <a:pt x="542" y="2012"/>
                </a:cubicBezTo>
                <a:cubicBezTo>
                  <a:pt x="542" y="2035"/>
                  <a:pt x="542" y="2028"/>
                  <a:pt x="542" y="2043"/>
                </a:cubicBezTo>
                <a:cubicBezTo>
                  <a:pt x="542" y="2043"/>
                  <a:pt x="542" y="2043"/>
                  <a:pt x="542" y="2043"/>
                </a:cubicBezTo>
                <a:cubicBezTo>
                  <a:pt x="542" y="2035"/>
                  <a:pt x="542" y="2035"/>
                  <a:pt x="542" y="2028"/>
                </a:cubicBezTo>
                <a:cubicBezTo>
                  <a:pt x="550" y="2043"/>
                  <a:pt x="550" y="2059"/>
                  <a:pt x="550" y="2082"/>
                </a:cubicBezTo>
                <a:cubicBezTo>
                  <a:pt x="550" y="2059"/>
                  <a:pt x="550" y="2035"/>
                  <a:pt x="550" y="2020"/>
                </a:cubicBezTo>
                <a:cubicBezTo>
                  <a:pt x="550" y="2020"/>
                  <a:pt x="550" y="2020"/>
                  <a:pt x="550" y="2020"/>
                </a:cubicBezTo>
                <a:cubicBezTo>
                  <a:pt x="550" y="2028"/>
                  <a:pt x="550" y="2035"/>
                  <a:pt x="550" y="2051"/>
                </a:cubicBezTo>
                <a:cubicBezTo>
                  <a:pt x="550" y="2043"/>
                  <a:pt x="550" y="2051"/>
                  <a:pt x="550" y="2043"/>
                </a:cubicBezTo>
                <a:cubicBezTo>
                  <a:pt x="550" y="2035"/>
                  <a:pt x="550" y="2035"/>
                  <a:pt x="550" y="2035"/>
                </a:cubicBezTo>
                <a:cubicBezTo>
                  <a:pt x="550" y="2028"/>
                  <a:pt x="550" y="2028"/>
                  <a:pt x="550" y="2020"/>
                </a:cubicBezTo>
                <a:cubicBezTo>
                  <a:pt x="550" y="2028"/>
                  <a:pt x="550" y="2028"/>
                  <a:pt x="550" y="2028"/>
                </a:cubicBezTo>
                <a:cubicBezTo>
                  <a:pt x="550" y="2020"/>
                  <a:pt x="550" y="2020"/>
                  <a:pt x="550" y="2020"/>
                </a:cubicBezTo>
                <a:cubicBezTo>
                  <a:pt x="550" y="2004"/>
                  <a:pt x="550" y="2004"/>
                  <a:pt x="550" y="2004"/>
                </a:cubicBezTo>
                <a:cubicBezTo>
                  <a:pt x="550" y="1996"/>
                  <a:pt x="542" y="1957"/>
                  <a:pt x="542" y="1941"/>
                </a:cubicBezTo>
                <a:cubicBezTo>
                  <a:pt x="542" y="1926"/>
                  <a:pt x="542" y="1910"/>
                  <a:pt x="542" y="1926"/>
                </a:cubicBezTo>
                <a:cubicBezTo>
                  <a:pt x="542" y="1926"/>
                  <a:pt x="542" y="1926"/>
                  <a:pt x="542" y="1910"/>
                </a:cubicBezTo>
                <a:cubicBezTo>
                  <a:pt x="550" y="1902"/>
                  <a:pt x="550" y="1895"/>
                  <a:pt x="550" y="1895"/>
                </a:cubicBezTo>
                <a:cubicBezTo>
                  <a:pt x="550" y="1895"/>
                  <a:pt x="550" y="1895"/>
                  <a:pt x="550" y="1895"/>
                </a:cubicBezTo>
                <a:cubicBezTo>
                  <a:pt x="550" y="1902"/>
                  <a:pt x="550" y="1910"/>
                  <a:pt x="550" y="1918"/>
                </a:cubicBezTo>
                <a:cubicBezTo>
                  <a:pt x="550" y="1887"/>
                  <a:pt x="550" y="1871"/>
                  <a:pt x="550" y="1863"/>
                </a:cubicBezTo>
                <a:cubicBezTo>
                  <a:pt x="550" y="1855"/>
                  <a:pt x="550" y="1855"/>
                  <a:pt x="550" y="1855"/>
                </a:cubicBezTo>
                <a:cubicBezTo>
                  <a:pt x="550" y="1855"/>
                  <a:pt x="550" y="1855"/>
                  <a:pt x="550" y="1855"/>
                </a:cubicBezTo>
                <a:cubicBezTo>
                  <a:pt x="550" y="1855"/>
                  <a:pt x="550" y="1855"/>
                  <a:pt x="550" y="1855"/>
                </a:cubicBezTo>
                <a:cubicBezTo>
                  <a:pt x="550" y="1855"/>
                  <a:pt x="550" y="1855"/>
                  <a:pt x="550" y="1840"/>
                </a:cubicBezTo>
                <a:cubicBezTo>
                  <a:pt x="550" y="1840"/>
                  <a:pt x="550" y="1840"/>
                  <a:pt x="550" y="1824"/>
                </a:cubicBezTo>
                <a:cubicBezTo>
                  <a:pt x="550" y="1824"/>
                  <a:pt x="550" y="1824"/>
                  <a:pt x="550" y="1824"/>
                </a:cubicBezTo>
                <a:cubicBezTo>
                  <a:pt x="550" y="1824"/>
                  <a:pt x="550" y="1824"/>
                  <a:pt x="558" y="1808"/>
                </a:cubicBezTo>
                <a:cubicBezTo>
                  <a:pt x="558" y="1801"/>
                  <a:pt x="558" y="1793"/>
                  <a:pt x="558" y="1793"/>
                </a:cubicBezTo>
                <a:cubicBezTo>
                  <a:pt x="558" y="1793"/>
                  <a:pt x="558" y="1793"/>
                  <a:pt x="558" y="1793"/>
                </a:cubicBezTo>
                <a:cubicBezTo>
                  <a:pt x="558" y="1793"/>
                  <a:pt x="558" y="1793"/>
                  <a:pt x="558" y="1785"/>
                </a:cubicBezTo>
                <a:cubicBezTo>
                  <a:pt x="558" y="1777"/>
                  <a:pt x="558" y="1785"/>
                  <a:pt x="558" y="1777"/>
                </a:cubicBezTo>
                <a:cubicBezTo>
                  <a:pt x="558" y="1746"/>
                  <a:pt x="566" y="1683"/>
                  <a:pt x="558" y="1683"/>
                </a:cubicBezTo>
                <a:cubicBezTo>
                  <a:pt x="558" y="1683"/>
                  <a:pt x="558" y="1683"/>
                  <a:pt x="558" y="1668"/>
                </a:cubicBezTo>
                <a:cubicBezTo>
                  <a:pt x="558" y="1668"/>
                  <a:pt x="558" y="1668"/>
                  <a:pt x="558" y="1660"/>
                </a:cubicBezTo>
                <a:cubicBezTo>
                  <a:pt x="558" y="1660"/>
                  <a:pt x="558" y="1660"/>
                  <a:pt x="558" y="1660"/>
                </a:cubicBezTo>
                <a:cubicBezTo>
                  <a:pt x="558" y="1660"/>
                  <a:pt x="558" y="1660"/>
                  <a:pt x="558" y="1660"/>
                </a:cubicBezTo>
                <a:cubicBezTo>
                  <a:pt x="558" y="1660"/>
                  <a:pt x="558" y="1652"/>
                  <a:pt x="558" y="1652"/>
                </a:cubicBezTo>
                <a:cubicBezTo>
                  <a:pt x="558" y="1652"/>
                  <a:pt x="558" y="1652"/>
                  <a:pt x="558" y="1644"/>
                </a:cubicBezTo>
                <a:cubicBezTo>
                  <a:pt x="558" y="1636"/>
                  <a:pt x="558" y="1636"/>
                  <a:pt x="558" y="1636"/>
                </a:cubicBezTo>
                <a:cubicBezTo>
                  <a:pt x="566" y="1636"/>
                  <a:pt x="566" y="1636"/>
                  <a:pt x="566" y="1644"/>
                </a:cubicBezTo>
                <a:cubicBezTo>
                  <a:pt x="566" y="1644"/>
                  <a:pt x="566" y="1644"/>
                  <a:pt x="566" y="1644"/>
                </a:cubicBezTo>
                <a:cubicBezTo>
                  <a:pt x="566" y="1636"/>
                  <a:pt x="566" y="1636"/>
                  <a:pt x="566" y="1636"/>
                </a:cubicBezTo>
                <a:cubicBezTo>
                  <a:pt x="566" y="1636"/>
                  <a:pt x="566" y="1628"/>
                  <a:pt x="566" y="1628"/>
                </a:cubicBezTo>
                <a:cubicBezTo>
                  <a:pt x="566" y="1628"/>
                  <a:pt x="566" y="1628"/>
                  <a:pt x="566" y="1628"/>
                </a:cubicBezTo>
                <a:cubicBezTo>
                  <a:pt x="566" y="1613"/>
                  <a:pt x="566" y="1628"/>
                  <a:pt x="566" y="1613"/>
                </a:cubicBezTo>
                <a:cubicBezTo>
                  <a:pt x="566" y="1613"/>
                  <a:pt x="566" y="1613"/>
                  <a:pt x="566" y="1613"/>
                </a:cubicBezTo>
                <a:cubicBezTo>
                  <a:pt x="566" y="1613"/>
                  <a:pt x="566" y="1613"/>
                  <a:pt x="566" y="1605"/>
                </a:cubicBezTo>
                <a:cubicBezTo>
                  <a:pt x="566" y="1605"/>
                  <a:pt x="566" y="1605"/>
                  <a:pt x="566" y="1605"/>
                </a:cubicBezTo>
                <a:cubicBezTo>
                  <a:pt x="566" y="1605"/>
                  <a:pt x="566" y="1605"/>
                  <a:pt x="566" y="1597"/>
                </a:cubicBezTo>
                <a:cubicBezTo>
                  <a:pt x="566" y="1589"/>
                  <a:pt x="566" y="1597"/>
                  <a:pt x="566" y="1597"/>
                </a:cubicBezTo>
                <a:cubicBezTo>
                  <a:pt x="566" y="1597"/>
                  <a:pt x="566" y="1597"/>
                  <a:pt x="566" y="1581"/>
                </a:cubicBezTo>
                <a:cubicBezTo>
                  <a:pt x="566" y="1542"/>
                  <a:pt x="574" y="1464"/>
                  <a:pt x="574" y="1409"/>
                </a:cubicBezTo>
                <a:cubicBezTo>
                  <a:pt x="574" y="1409"/>
                  <a:pt x="574" y="1409"/>
                  <a:pt x="574" y="1409"/>
                </a:cubicBezTo>
                <a:cubicBezTo>
                  <a:pt x="582" y="1409"/>
                  <a:pt x="582" y="1409"/>
                  <a:pt x="582" y="1425"/>
                </a:cubicBezTo>
                <a:cubicBezTo>
                  <a:pt x="582" y="1425"/>
                  <a:pt x="582" y="1425"/>
                  <a:pt x="582" y="1409"/>
                </a:cubicBezTo>
                <a:cubicBezTo>
                  <a:pt x="582" y="1409"/>
                  <a:pt x="582" y="1409"/>
                  <a:pt x="582" y="1394"/>
                </a:cubicBezTo>
                <a:cubicBezTo>
                  <a:pt x="582" y="1394"/>
                  <a:pt x="582" y="1394"/>
                  <a:pt x="574" y="1394"/>
                </a:cubicBezTo>
                <a:cubicBezTo>
                  <a:pt x="574" y="1386"/>
                  <a:pt x="574" y="1378"/>
                  <a:pt x="574" y="1362"/>
                </a:cubicBezTo>
                <a:cubicBezTo>
                  <a:pt x="574" y="1261"/>
                  <a:pt x="574" y="1143"/>
                  <a:pt x="566" y="1065"/>
                </a:cubicBezTo>
                <a:cubicBezTo>
                  <a:pt x="566" y="1065"/>
                  <a:pt x="566" y="1065"/>
                  <a:pt x="566" y="1049"/>
                </a:cubicBezTo>
                <a:cubicBezTo>
                  <a:pt x="566" y="1041"/>
                  <a:pt x="566" y="1034"/>
                  <a:pt x="566" y="1026"/>
                </a:cubicBezTo>
                <a:cubicBezTo>
                  <a:pt x="566" y="1026"/>
                  <a:pt x="566" y="1026"/>
                  <a:pt x="566" y="1026"/>
                </a:cubicBezTo>
                <a:cubicBezTo>
                  <a:pt x="566" y="1026"/>
                  <a:pt x="566" y="1026"/>
                  <a:pt x="566" y="1026"/>
                </a:cubicBezTo>
                <a:cubicBezTo>
                  <a:pt x="566" y="1010"/>
                  <a:pt x="566" y="994"/>
                  <a:pt x="566" y="979"/>
                </a:cubicBezTo>
                <a:cubicBezTo>
                  <a:pt x="566" y="979"/>
                  <a:pt x="566" y="979"/>
                  <a:pt x="566" y="979"/>
                </a:cubicBezTo>
                <a:cubicBezTo>
                  <a:pt x="566" y="979"/>
                  <a:pt x="566" y="979"/>
                  <a:pt x="566" y="979"/>
                </a:cubicBezTo>
                <a:cubicBezTo>
                  <a:pt x="566" y="963"/>
                  <a:pt x="566" y="971"/>
                  <a:pt x="566" y="955"/>
                </a:cubicBezTo>
                <a:cubicBezTo>
                  <a:pt x="566" y="963"/>
                  <a:pt x="566" y="955"/>
                  <a:pt x="566" y="971"/>
                </a:cubicBezTo>
                <a:cubicBezTo>
                  <a:pt x="558" y="971"/>
                  <a:pt x="558" y="940"/>
                  <a:pt x="558" y="916"/>
                </a:cubicBezTo>
                <a:cubicBezTo>
                  <a:pt x="558" y="916"/>
                  <a:pt x="558" y="908"/>
                  <a:pt x="566" y="924"/>
                </a:cubicBezTo>
                <a:cubicBezTo>
                  <a:pt x="566" y="924"/>
                  <a:pt x="566" y="924"/>
                  <a:pt x="566" y="916"/>
                </a:cubicBezTo>
                <a:cubicBezTo>
                  <a:pt x="566" y="916"/>
                  <a:pt x="566" y="916"/>
                  <a:pt x="558" y="877"/>
                </a:cubicBezTo>
                <a:cubicBezTo>
                  <a:pt x="558" y="877"/>
                  <a:pt x="558" y="869"/>
                  <a:pt x="558" y="869"/>
                </a:cubicBezTo>
                <a:cubicBezTo>
                  <a:pt x="558" y="869"/>
                  <a:pt x="558" y="861"/>
                  <a:pt x="558" y="861"/>
                </a:cubicBezTo>
                <a:cubicBezTo>
                  <a:pt x="566" y="861"/>
                  <a:pt x="566" y="861"/>
                  <a:pt x="566" y="861"/>
                </a:cubicBezTo>
                <a:cubicBezTo>
                  <a:pt x="566" y="861"/>
                  <a:pt x="566" y="861"/>
                  <a:pt x="566" y="861"/>
                </a:cubicBezTo>
                <a:cubicBezTo>
                  <a:pt x="558" y="854"/>
                  <a:pt x="558" y="854"/>
                  <a:pt x="558" y="854"/>
                </a:cubicBezTo>
                <a:cubicBezTo>
                  <a:pt x="558" y="854"/>
                  <a:pt x="558" y="854"/>
                  <a:pt x="558" y="861"/>
                </a:cubicBezTo>
                <a:cubicBezTo>
                  <a:pt x="550" y="846"/>
                  <a:pt x="558" y="846"/>
                  <a:pt x="550" y="846"/>
                </a:cubicBezTo>
                <a:cubicBezTo>
                  <a:pt x="550" y="846"/>
                  <a:pt x="550" y="846"/>
                  <a:pt x="550" y="830"/>
                </a:cubicBezTo>
                <a:cubicBezTo>
                  <a:pt x="558" y="830"/>
                  <a:pt x="558" y="830"/>
                  <a:pt x="558" y="830"/>
                </a:cubicBezTo>
                <a:cubicBezTo>
                  <a:pt x="550" y="814"/>
                  <a:pt x="550" y="814"/>
                  <a:pt x="550" y="814"/>
                </a:cubicBezTo>
                <a:cubicBezTo>
                  <a:pt x="558" y="807"/>
                  <a:pt x="558" y="807"/>
                  <a:pt x="558" y="807"/>
                </a:cubicBezTo>
                <a:cubicBezTo>
                  <a:pt x="550" y="799"/>
                  <a:pt x="550" y="799"/>
                  <a:pt x="550" y="799"/>
                </a:cubicBezTo>
                <a:cubicBezTo>
                  <a:pt x="550" y="799"/>
                  <a:pt x="550" y="799"/>
                  <a:pt x="550" y="799"/>
                </a:cubicBezTo>
                <a:cubicBezTo>
                  <a:pt x="550" y="791"/>
                  <a:pt x="550" y="791"/>
                  <a:pt x="550" y="783"/>
                </a:cubicBezTo>
                <a:cubicBezTo>
                  <a:pt x="550" y="783"/>
                  <a:pt x="550" y="775"/>
                  <a:pt x="550" y="775"/>
                </a:cubicBezTo>
                <a:cubicBezTo>
                  <a:pt x="550" y="767"/>
                  <a:pt x="550" y="752"/>
                  <a:pt x="550" y="736"/>
                </a:cubicBezTo>
                <a:cubicBezTo>
                  <a:pt x="550" y="736"/>
                  <a:pt x="550" y="721"/>
                  <a:pt x="550" y="721"/>
                </a:cubicBezTo>
                <a:cubicBezTo>
                  <a:pt x="550" y="713"/>
                  <a:pt x="550" y="721"/>
                  <a:pt x="550" y="713"/>
                </a:cubicBezTo>
                <a:cubicBezTo>
                  <a:pt x="550" y="713"/>
                  <a:pt x="550" y="713"/>
                  <a:pt x="550" y="728"/>
                </a:cubicBezTo>
                <a:cubicBezTo>
                  <a:pt x="550" y="721"/>
                  <a:pt x="550" y="697"/>
                  <a:pt x="542" y="697"/>
                </a:cubicBezTo>
                <a:cubicBezTo>
                  <a:pt x="542" y="697"/>
                  <a:pt x="542" y="697"/>
                  <a:pt x="542" y="689"/>
                </a:cubicBezTo>
                <a:cubicBezTo>
                  <a:pt x="542" y="689"/>
                  <a:pt x="542" y="689"/>
                  <a:pt x="542" y="689"/>
                </a:cubicBezTo>
                <a:cubicBezTo>
                  <a:pt x="542" y="681"/>
                  <a:pt x="542" y="681"/>
                  <a:pt x="550" y="689"/>
                </a:cubicBezTo>
                <a:cubicBezTo>
                  <a:pt x="542" y="681"/>
                  <a:pt x="542" y="666"/>
                  <a:pt x="542" y="658"/>
                </a:cubicBezTo>
                <a:cubicBezTo>
                  <a:pt x="542" y="658"/>
                  <a:pt x="542" y="658"/>
                  <a:pt x="550" y="666"/>
                </a:cubicBezTo>
                <a:cubicBezTo>
                  <a:pt x="550" y="666"/>
                  <a:pt x="550" y="666"/>
                  <a:pt x="542" y="619"/>
                </a:cubicBezTo>
                <a:cubicBezTo>
                  <a:pt x="542" y="619"/>
                  <a:pt x="542" y="627"/>
                  <a:pt x="542" y="627"/>
                </a:cubicBezTo>
                <a:cubicBezTo>
                  <a:pt x="542" y="634"/>
                  <a:pt x="542" y="634"/>
                  <a:pt x="542" y="642"/>
                </a:cubicBezTo>
                <a:cubicBezTo>
                  <a:pt x="542" y="642"/>
                  <a:pt x="542" y="642"/>
                  <a:pt x="542" y="650"/>
                </a:cubicBezTo>
                <a:cubicBezTo>
                  <a:pt x="542" y="642"/>
                  <a:pt x="542" y="619"/>
                  <a:pt x="542" y="611"/>
                </a:cubicBezTo>
                <a:cubicBezTo>
                  <a:pt x="542" y="611"/>
                  <a:pt x="542" y="619"/>
                  <a:pt x="542" y="611"/>
                </a:cubicBezTo>
                <a:cubicBezTo>
                  <a:pt x="542" y="603"/>
                  <a:pt x="542" y="587"/>
                  <a:pt x="542" y="572"/>
                </a:cubicBezTo>
                <a:cubicBezTo>
                  <a:pt x="542" y="572"/>
                  <a:pt x="542" y="572"/>
                  <a:pt x="542" y="580"/>
                </a:cubicBezTo>
                <a:cubicBezTo>
                  <a:pt x="542" y="580"/>
                  <a:pt x="542" y="580"/>
                  <a:pt x="542" y="580"/>
                </a:cubicBezTo>
                <a:cubicBezTo>
                  <a:pt x="542" y="580"/>
                  <a:pt x="542" y="580"/>
                  <a:pt x="534" y="580"/>
                </a:cubicBezTo>
                <a:cubicBezTo>
                  <a:pt x="534" y="580"/>
                  <a:pt x="534" y="580"/>
                  <a:pt x="534" y="564"/>
                </a:cubicBezTo>
                <a:cubicBezTo>
                  <a:pt x="534" y="564"/>
                  <a:pt x="534" y="564"/>
                  <a:pt x="534" y="564"/>
                </a:cubicBezTo>
                <a:cubicBezTo>
                  <a:pt x="534" y="556"/>
                  <a:pt x="534" y="556"/>
                  <a:pt x="534" y="548"/>
                </a:cubicBezTo>
                <a:cubicBezTo>
                  <a:pt x="534" y="548"/>
                  <a:pt x="534" y="548"/>
                  <a:pt x="534" y="548"/>
                </a:cubicBezTo>
                <a:cubicBezTo>
                  <a:pt x="534" y="548"/>
                  <a:pt x="534" y="548"/>
                  <a:pt x="534" y="548"/>
                </a:cubicBezTo>
                <a:cubicBezTo>
                  <a:pt x="534" y="541"/>
                  <a:pt x="534" y="541"/>
                  <a:pt x="534" y="541"/>
                </a:cubicBezTo>
                <a:cubicBezTo>
                  <a:pt x="534" y="541"/>
                  <a:pt x="534" y="541"/>
                  <a:pt x="534" y="541"/>
                </a:cubicBezTo>
                <a:cubicBezTo>
                  <a:pt x="534" y="525"/>
                  <a:pt x="527" y="517"/>
                  <a:pt x="527" y="509"/>
                </a:cubicBezTo>
                <a:cubicBezTo>
                  <a:pt x="527" y="509"/>
                  <a:pt x="527" y="509"/>
                  <a:pt x="527" y="486"/>
                </a:cubicBezTo>
                <a:cubicBezTo>
                  <a:pt x="527" y="478"/>
                  <a:pt x="527" y="478"/>
                  <a:pt x="527" y="478"/>
                </a:cubicBezTo>
                <a:cubicBezTo>
                  <a:pt x="527" y="478"/>
                  <a:pt x="527" y="478"/>
                  <a:pt x="527" y="470"/>
                </a:cubicBezTo>
                <a:cubicBezTo>
                  <a:pt x="519" y="454"/>
                  <a:pt x="527" y="470"/>
                  <a:pt x="519" y="462"/>
                </a:cubicBezTo>
                <a:cubicBezTo>
                  <a:pt x="519" y="462"/>
                  <a:pt x="519" y="462"/>
                  <a:pt x="519" y="454"/>
                </a:cubicBezTo>
                <a:cubicBezTo>
                  <a:pt x="519" y="454"/>
                  <a:pt x="519" y="454"/>
                  <a:pt x="519" y="447"/>
                </a:cubicBezTo>
                <a:cubicBezTo>
                  <a:pt x="519" y="447"/>
                  <a:pt x="519" y="447"/>
                  <a:pt x="519" y="447"/>
                </a:cubicBezTo>
                <a:cubicBezTo>
                  <a:pt x="511" y="439"/>
                  <a:pt x="519" y="447"/>
                  <a:pt x="511" y="431"/>
                </a:cubicBezTo>
                <a:cubicBezTo>
                  <a:pt x="511" y="423"/>
                  <a:pt x="511" y="423"/>
                  <a:pt x="511" y="423"/>
                </a:cubicBezTo>
                <a:cubicBezTo>
                  <a:pt x="511" y="423"/>
                  <a:pt x="511" y="423"/>
                  <a:pt x="511" y="423"/>
                </a:cubicBezTo>
                <a:cubicBezTo>
                  <a:pt x="511" y="423"/>
                  <a:pt x="511" y="423"/>
                  <a:pt x="511" y="423"/>
                </a:cubicBezTo>
                <a:cubicBezTo>
                  <a:pt x="511" y="423"/>
                  <a:pt x="511" y="423"/>
                  <a:pt x="511" y="423"/>
                </a:cubicBezTo>
                <a:cubicBezTo>
                  <a:pt x="511" y="431"/>
                  <a:pt x="511" y="439"/>
                  <a:pt x="511" y="431"/>
                </a:cubicBezTo>
                <a:cubicBezTo>
                  <a:pt x="511" y="439"/>
                  <a:pt x="511" y="439"/>
                  <a:pt x="511" y="439"/>
                </a:cubicBezTo>
                <a:cubicBezTo>
                  <a:pt x="511" y="439"/>
                  <a:pt x="511" y="439"/>
                  <a:pt x="511" y="423"/>
                </a:cubicBezTo>
                <a:cubicBezTo>
                  <a:pt x="511" y="423"/>
                  <a:pt x="511" y="423"/>
                  <a:pt x="511" y="423"/>
                </a:cubicBezTo>
                <a:cubicBezTo>
                  <a:pt x="511" y="423"/>
                  <a:pt x="511" y="415"/>
                  <a:pt x="511" y="415"/>
                </a:cubicBezTo>
                <a:cubicBezTo>
                  <a:pt x="511" y="415"/>
                  <a:pt x="511" y="415"/>
                  <a:pt x="511" y="415"/>
                </a:cubicBezTo>
                <a:cubicBezTo>
                  <a:pt x="511" y="400"/>
                  <a:pt x="511" y="384"/>
                  <a:pt x="511" y="384"/>
                </a:cubicBezTo>
                <a:cubicBezTo>
                  <a:pt x="511" y="368"/>
                  <a:pt x="511" y="376"/>
                  <a:pt x="511" y="368"/>
                </a:cubicBezTo>
                <a:cubicBezTo>
                  <a:pt x="511" y="368"/>
                  <a:pt x="511" y="368"/>
                  <a:pt x="511" y="368"/>
                </a:cubicBezTo>
                <a:cubicBezTo>
                  <a:pt x="511" y="368"/>
                  <a:pt x="511" y="368"/>
                  <a:pt x="511" y="353"/>
                </a:cubicBezTo>
                <a:cubicBezTo>
                  <a:pt x="503" y="337"/>
                  <a:pt x="495" y="314"/>
                  <a:pt x="495" y="306"/>
                </a:cubicBezTo>
                <a:cubicBezTo>
                  <a:pt x="495" y="298"/>
                  <a:pt x="495" y="298"/>
                  <a:pt x="495" y="298"/>
                </a:cubicBezTo>
                <a:cubicBezTo>
                  <a:pt x="495" y="274"/>
                  <a:pt x="495" y="282"/>
                  <a:pt x="495" y="282"/>
                </a:cubicBezTo>
                <a:cubicBezTo>
                  <a:pt x="487" y="259"/>
                  <a:pt x="495" y="274"/>
                  <a:pt x="487" y="259"/>
                </a:cubicBezTo>
                <a:cubicBezTo>
                  <a:pt x="487" y="259"/>
                  <a:pt x="487" y="259"/>
                  <a:pt x="487" y="243"/>
                </a:cubicBezTo>
                <a:cubicBezTo>
                  <a:pt x="487" y="227"/>
                  <a:pt x="479" y="220"/>
                  <a:pt x="479" y="220"/>
                </a:cubicBezTo>
                <a:cubicBezTo>
                  <a:pt x="479" y="212"/>
                  <a:pt x="479" y="212"/>
                  <a:pt x="479" y="204"/>
                </a:cubicBezTo>
                <a:cubicBezTo>
                  <a:pt x="479" y="196"/>
                  <a:pt x="479" y="204"/>
                  <a:pt x="472" y="188"/>
                </a:cubicBezTo>
                <a:cubicBezTo>
                  <a:pt x="472" y="188"/>
                  <a:pt x="472" y="188"/>
                  <a:pt x="472" y="188"/>
                </a:cubicBezTo>
                <a:cubicBezTo>
                  <a:pt x="472" y="196"/>
                  <a:pt x="479" y="196"/>
                  <a:pt x="479" y="204"/>
                </a:cubicBezTo>
                <a:cubicBezTo>
                  <a:pt x="479" y="204"/>
                  <a:pt x="472" y="196"/>
                  <a:pt x="472" y="188"/>
                </a:cubicBezTo>
                <a:cubicBezTo>
                  <a:pt x="472" y="188"/>
                  <a:pt x="472" y="188"/>
                  <a:pt x="472" y="188"/>
                </a:cubicBezTo>
                <a:cubicBezTo>
                  <a:pt x="472" y="204"/>
                  <a:pt x="472" y="204"/>
                  <a:pt x="472" y="204"/>
                </a:cubicBezTo>
                <a:cubicBezTo>
                  <a:pt x="472" y="204"/>
                  <a:pt x="472" y="196"/>
                  <a:pt x="472" y="196"/>
                </a:cubicBezTo>
                <a:cubicBezTo>
                  <a:pt x="472" y="204"/>
                  <a:pt x="479" y="204"/>
                  <a:pt x="479" y="204"/>
                </a:cubicBezTo>
                <a:cubicBezTo>
                  <a:pt x="479" y="204"/>
                  <a:pt x="479" y="204"/>
                  <a:pt x="479" y="204"/>
                </a:cubicBezTo>
                <a:cubicBezTo>
                  <a:pt x="479" y="204"/>
                  <a:pt x="479" y="204"/>
                  <a:pt x="472" y="204"/>
                </a:cubicBezTo>
                <a:cubicBezTo>
                  <a:pt x="479" y="212"/>
                  <a:pt x="479" y="212"/>
                  <a:pt x="479" y="212"/>
                </a:cubicBezTo>
                <a:cubicBezTo>
                  <a:pt x="479" y="212"/>
                  <a:pt x="479" y="212"/>
                  <a:pt x="479" y="212"/>
                </a:cubicBezTo>
                <a:cubicBezTo>
                  <a:pt x="479" y="212"/>
                  <a:pt x="479" y="212"/>
                  <a:pt x="479" y="227"/>
                </a:cubicBezTo>
                <a:cubicBezTo>
                  <a:pt x="479" y="220"/>
                  <a:pt x="479" y="220"/>
                  <a:pt x="479" y="220"/>
                </a:cubicBezTo>
                <a:cubicBezTo>
                  <a:pt x="479" y="251"/>
                  <a:pt x="487" y="274"/>
                  <a:pt x="487" y="282"/>
                </a:cubicBezTo>
                <a:cubicBezTo>
                  <a:pt x="487" y="282"/>
                  <a:pt x="479" y="267"/>
                  <a:pt x="479" y="251"/>
                </a:cubicBezTo>
                <a:cubicBezTo>
                  <a:pt x="479" y="235"/>
                  <a:pt x="472" y="235"/>
                  <a:pt x="472" y="251"/>
                </a:cubicBezTo>
                <a:cubicBezTo>
                  <a:pt x="472" y="251"/>
                  <a:pt x="472" y="251"/>
                  <a:pt x="472" y="251"/>
                </a:cubicBezTo>
                <a:cubicBezTo>
                  <a:pt x="464" y="212"/>
                  <a:pt x="456" y="165"/>
                  <a:pt x="440" y="110"/>
                </a:cubicBezTo>
                <a:cubicBezTo>
                  <a:pt x="440" y="110"/>
                  <a:pt x="440" y="110"/>
                  <a:pt x="440" y="102"/>
                </a:cubicBezTo>
                <a:cubicBezTo>
                  <a:pt x="448" y="110"/>
                  <a:pt x="448" y="110"/>
                  <a:pt x="448" y="126"/>
                </a:cubicBezTo>
                <a:cubicBezTo>
                  <a:pt x="448" y="118"/>
                  <a:pt x="448" y="118"/>
                  <a:pt x="448" y="110"/>
                </a:cubicBezTo>
                <a:cubicBezTo>
                  <a:pt x="440" y="94"/>
                  <a:pt x="440" y="87"/>
                  <a:pt x="440" y="79"/>
                </a:cubicBezTo>
                <a:cubicBezTo>
                  <a:pt x="440" y="94"/>
                  <a:pt x="440" y="87"/>
                  <a:pt x="432" y="87"/>
                </a:cubicBezTo>
                <a:cubicBezTo>
                  <a:pt x="424" y="55"/>
                  <a:pt x="424" y="47"/>
                  <a:pt x="424" y="32"/>
                </a:cubicBezTo>
                <a:cubicBezTo>
                  <a:pt x="424" y="32"/>
                  <a:pt x="424" y="32"/>
                  <a:pt x="417" y="32"/>
                </a:cubicBezTo>
                <a:cubicBezTo>
                  <a:pt x="417" y="32"/>
                  <a:pt x="417" y="32"/>
                  <a:pt x="417" y="32"/>
                </a:cubicBezTo>
                <a:cubicBezTo>
                  <a:pt x="424" y="55"/>
                  <a:pt x="424" y="47"/>
                  <a:pt x="424" y="63"/>
                </a:cubicBezTo>
                <a:cubicBezTo>
                  <a:pt x="424" y="63"/>
                  <a:pt x="424" y="63"/>
                  <a:pt x="424" y="71"/>
                </a:cubicBezTo>
                <a:cubicBezTo>
                  <a:pt x="424" y="71"/>
                  <a:pt x="424" y="71"/>
                  <a:pt x="424" y="71"/>
                </a:cubicBezTo>
                <a:cubicBezTo>
                  <a:pt x="424" y="71"/>
                  <a:pt x="424" y="71"/>
                  <a:pt x="424" y="87"/>
                </a:cubicBezTo>
                <a:cubicBezTo>
                  <a:pt x="424" y="79"/>
                  <a:pt x="424" y="71"/>
                  <a:pt x="424" y="63"/>
                </a:cubicBezTo>
                <a:cubicBezTo>
                  <a:pt x="424" y="63"/>
                  <a:pt x="424" y="71"/>
                  <a:pt x="424" y="71"/>
                </a:cubicBezTo>
                <a:cubicBezTo>
                  <a:pt x="424" y="63"/>
                  <a:pt x="417" y="55"/>
                  <a:pt x="409" y="32"/>
                </a:cubicBezTo>
                <a:cubicBezTo>
                  <a:pt x="409" y="32"/>
                  <a:pt x="409" y="32"/>
                  <a:pt x="409" y="32"/>
                </a:cubicBezTo>
                <a:cubicBezTo>
                  <a:pt x="409" y="32"/>
                  <a:pt x="409" y="40"/>
                  <a:pt x="409" y="16"/>
                </a:cubicBezTo>
                <a:cubicBezTo>
                  <a:pt x="409" y="47"/>
                  <a:pt x="432" y="118"/>
                  <a:pt x="440" y="149"/>
                </a:cubicBezTo>
                <a:cubicBezTo>
                  <a:pt x="432" y="126"/>
                  <a:pt x="424" y="94"/>
                  <a:pt x="409" y="40"/>
                </a:cubicBezTo>
                <a:cubicBezTo>
                  <a:pt x="409" y="47"/>
                  <a:pt x="409" y="47"/>
                  <a:pt x="409" y="47"/>
                </a:cubicBezTo>
                <a:cubicBezTo>
                  <a:pt x="409" y="40"/>
                  <a:pt x="409" y="24"/>
                  <a:pt x="401" y="0"/>
                </a:cubicBezTo>
                <a:cubicBezTo>
                  <a:pt x="401" y="0"/>
                  <a:pt x="401" y="0"/>
                  <a:pt x="409" y="24"/>
                </a:cubicBezTo>
                <a:cubicBezTo>
                  <a:pt x="409" y="32"/>
                  <a:pt x="409" y="24"/>
                  <a:pt x="409" y="32"/>
                </a:cubicBezTo>
                <a:cubicBezTo>
                  <a:pt x="401" y="16"/>
                  <a:pt x="401" y="32"/>
                  <a:pt x="401" y="32"/>
                </a:cubicBezTo>
                <a:cubicBezTo>
                  <a:pt x="409" y="40"/>
                  <a:pt x="409" y="40"/>
                  <a:pt x="409" y="47"/>
                </a:cubicBezTo>
                <a:cubicBezTo>
                  <a:pt x="409" y="47"/>
                  <a:pt x="409" y="47"/>
                  <a:pt x="409" y="47"/>
                </a:cubicBezTo>
                <a:cubicBezTo>
                  <a:pt x="409" y="63"/>
                  <a:pt x="409" y="63"/>
                  <a:pt x="417" y="87"/>
                </a:cubicBezTo>
                <a:cubicBezTo>
                  <a:pt x="417" y="87"/>
                  <a:pt x="417" y="87"/>
                  <a:pt x="417" y="79"/>
                </a:cubicBezTo>
                <a:cubicBezTo>
                  <a:pt x="417" y="79"/>
                  <a:pt x="417" y="79"/>
                  <a:pt x="417" y="71"/>
                </a:cubicBezTo>
                <a:cubicBezTo>
                  <a:pt x="424" y="87"/>
                  <a:pt x="424" y="87"/>
                  <a:pt x="424" y="102"/>
                </a:cubicBezTo>
                <a:cubicBezTo>
                  <a:pt x="424" y="102"/>
                  <a:pt x="424" y="102"/>
                  <a:pt x="424" y="102"/>
                </a:cubicBezTo>
                <a:cubicBezTo>
                  <a:pt x="424" y="118"/>
                  <a:pt x="424" y="126"/>
                  <a:pt x="432" y="134"/>
                </a:cubicBezTo>
                <a:cubicBezTo>
                  <a:pt x="432" y="134"/>
                  <a:pt x="432" y="134"/>
                  <a:pt x="432" y="141"/>
                </a:cubicBezTo>
                <a:cubicBezTo>
                  <a:pt x="432" y="141"/>
                  <a:pt x="432" y="141"/>
                  <a:pt x="432" y="149"/>
                </a:cubicBezTo>
                <a:cubicBezTo>
                  <a:pt x="432" y="141"/>
                  <a:pt x="432" y="149"/>
                  <a:pt x="440" y="165"/>
                </a:cubicBezTo>
                <a:cubicBezTo>
                  <a:pt x="432" y="165"/>
                  <a:pt x="432" y="165"/>
                  <a:pt x="432" y="165"/>
                </a:cubicBezTo>
                <a:cubicBezTo>
                  <a:pt x="432" y="149"/>
                  <a:pt x="424" y="141"/>
                  <a:pt x="424" y="134"/>
                </a:cubicBezTo>
                <a:cubicBezTo>
                  <a:pt x="424" y="134"/>
                  <a:pt x="424" y="134"/>
                  <a:pt x="424" y="126"/>
                </a:cubicBezTo>
                <a:cubicBezTo>
                  <a:pt x="424" y="118"/>
                  <a:pt x="417" y="94"/>
                  <a:pt x="409" y="79"/>
                </a:cubicBezTo>
                <a:cubicBezTo>
                  <a:pt x="409" y="79"/>
                  <a:pt x="409" y="79"/>
                  <a:pt x="424" y="149"/>
                </a:cubicBezTo>
                <a:cubicBezTo>
                  <a:pt x="432" y="165"/>
                  <a:pt x="424" y="157"/>
                  <a:pt x="424" y="165"/>
                </a:cubicBezTo>
                <a:cubicBezTo>
                  <a:pt x="424" y="165"/>
                  <a:pt x="424" y="165"/>
                  <a:pt x="432" y="165"/>
                </a:cubicBezTo>
                <a:cubicBezTo>
                  <a:pt x="440" y="180"/>
                  <a:pt x="440" y="180"/>
                  <a:pt x="440" y="196"/>
                </a:cubicBezTo>
                <a:cubicBezTo>
                  <a:pt x="440" y="196"/>
                  <a:pt x="440" y="196"/>
                  <a:pt x="440" y="196"/>
                </a:cubicBezTo>
                <a:cubicBezTo>
                  <a:pt x="440" y="196"/>
                  <a:pt x="440" y="196"/>
                  <a:pt x="440" y="173"/>
                </a:cubicBezTo>
                <a:cubicBezTo>
                  <a:pt x="440" y="188"/>
                  <a:pt x="440" y="196"/>
                  <a:pt x="440" y="196"/>
                </a:cubicBezTo>
                <a:cubicBezTo>
                  <a:pt x="448" y="204"/>
                  <a:pt x="456" y="227"/>
                  <a:pt x="456" y="251"/>
                </a:cubicBezTo>
                <a:cubicBezTo>
                  <a:pt x="448" y="235"/>
                  <a:pt x="448" y="243"/>
                  <a:pt x="440" y="235"/>
                </a:cubicBezTo>
                <a:cubicBezTo>
                  <a:pt x="440" y="251"/>
                  <a:pt x="448" y="251"/>
                  <a:pt x="448" y="259"/>
                </a:cubicBezTo>
                <a:cubicBezTo>
                  <a:pt x="448" y="259"/>
                  <a:pt x="440" y="259"/>
                  <a:pt x="440" y="259"/>
                </a:cubicBezTo>
                <a:cubicBezTo>
                  <a:pt x="440" y="243"/>
                  <a:pt x="440" y="243"/>
                  <a:pt x="440" y="243"/>
                </a:cubicBezTo>
                <a:cubicBezTo>
                  <a:pt x="440" y="227"/>
                  <a:pt x="440" y="220"/>
                  <a:pt x="432" y="204"/>
                </a:cubicBezTo>
                <a:cubicBezTo>
                  <a:pt x="432" y="204"/>
                  <a:pt x="432" y="204"/>
                  <a:pt x="432" y="188"/>
                </a:cubicBezTo>
                <a:cubicBezTo>
                  <a:pt x="424" y="180"/>
                  <a:pt x="424" y="165"/>
                  <a:pt x="424" y="165"/>
                </a:cubicBezTo>
                <a:cubicBezTo>
                  <a:pt x="417" y="149"/>
                  <a:pt x="424" y="157"/>
                  <a:pt x="417" y="149"/>
                </a:cubicBezTo>
                <a:cubicBezTo>
                  <a:pt x="409" y="149"/>
                  <a:pt x="417" y="165"/>
                  <a:pt x="409" y="165"/>
                </a:cubicBezTo>
                <a:cubicBezTo>
                  <a:pt x="409" y="165"/>
                  <a:pt x="409" y="165"/>
                  <a:pt x="409" y="157"/>
                </a:cubicBezTo>
                <a:cubicBezTo>
                  <a:pt x="409" y="157"/>
                  <a:pt x="409" y="157"/>
                  <a:pt x="409" y="149"/>
                </a:cubicBezTo>
                <a:close/>
                <a:moveTo>
                  <a:pt x="456" y="501"/>
                </a:moveTo>
                <a:cubicBezTo>
                  <a:pt x="456" y="501"/>
                  <a:pt x="456" y="501"/>
                  <a:pt x="456" y="501"/>
                </a:cubicBezTo>
                <a:cubicBezTo>
                  <a:pt x="456" y="501"/>
                  <a:pt x="456" y="501"/>
                  <a:pt x="456" y="501"/>
                </a:cubicBezTo>
                <a:cubicBezTo>
                  <a:pt x="456" y="501"/>
                  <a:pt x="456" y="501"/>
                  <a:pt x="456" y="501"/>
                </a:cubicBezTo>
                <a:close/>
                <a:moveTo>
                  <a:pt x="550" y="1652"/>
                </a:moveTo>
                <a:cubicBezTo>
                  <a:pt x="550" y="1652"/>
                  <a:pt x="550" y="1652"/>
                  <a:pt x="550" y="1644"/>
                </a:cubicBezTo>
                <a:cubicBezTo>
                  <a:pt x="550" y="1636"/>
                  <a:pt x="550" y="1636"/>
                  <a:pt x="550" y="1636"/>
                </a:cubicBezTo>
                <a:cubicBezTo>
                  <a:pt x="550" y="1652"/>
                  <a:pt x="558" y="1660"/>
                  <a:pt x="558" y="1668"/>
                </a:cubicBezTo>
                <a:cubicBezTo>
                  <a:pt x="558" y="1675"/>
                  <a:pt x="558" y="1683"/>
                  <a:pt x="550" y="1714"/>
                </a:cubicBezTo>
                <a:cubicBezTo>
                  <a:pt x="550" y="1683"/>
                  <a:pt x="550" y="1675"/>
                  <a:pt x="550" y="1652"/>
                </a:cubicBezTo>
                <a:close/>
                <a:moveTo>
                  <a:pt x="558" y="1761"/>
                </a:moveTo>
                <a:cubicBezTo>
                  <a:pt x="558" y="1769"/>
                  <a:pt x="558" y="1769"/>
                  <a:pt x="558" y="1769"/>
                </a:cubicBezTo>
                <a:cubicBezTo>
                  <a:pt x="558" y="1769"/>
                  <a:pt x="558" y="1769"/>
                  <a:pt x="558" y="1769"/>
                </a:cubicBezTo>
                <a:cubicBezTo>
                  <a:pt x="558" y="1769"/>
                  <a:pt x="558" y="1777"/>
                  <a:pt x="558" y="1777"/>
                </a:cubicBezTo>
                <a:cubicBezTo>
                  <a:pt x="558" y="1777"/>
                  <a:pt x="558" y="1777"/>
                  <a:pt x="558" y="1785"/>
                </a:cubicBezTo>
                <a:cubicBezTo>
                  <a:pt x="550" y="1785"/>
                  <a:pt x="550" y="1777"/>
                  <a:pt x="550" y="1777"/>
                </a:cubicBezTo>
                <a:cubicBezTo>
                  <a:pt x="550" y="1777"/>
                  <a:pt x="550" y="1777"/>
                  <a:pt x="558" y="1761"/>
                </a:cubicBezTo>
                <a:close/>
                <a:moveTo>
                  <a:pt x="550" y="1824"/>
                </a:moveTo>
                <a:cubicBezTo>
                  <a:pt x="550" y="1824"/>
                  <a:pt x="550" y="1824"/>
                  <a:pt x="550" y="1832"/>
                </a:cubicBezTo>
                <a:cubicBezTo>
                  <a:pt x="550" y="1848"/>
                  <a:pt x="550" y="1863"/>
                  <a:pt x="550" y="1879"/>
                </a:cubicBezTo>
                <a:cubicBezTo>
                  <a:pt x="550" y="1887"/>
                  <a:pt x="550" y="1887"/>
                  <a:pt x="550" y="1887"/>
                </a:cubicBezTo>
                <a:cubicBezTo>
                  <a:pt x="550" y="1871"/>
                  <a:pt x="550" y="1855"/>
                  <a:pt x="550" y="1824"/>
                </a:cubicBezTo>
                <a:close/>
                <a:moveTo>
                  <a:pt x="542" y="1229"/>
                </a:moveTo>
                <a:cubicBezTo>
                  <a:pt x="550" y="1308"/>
                  <a:pt x="550" y="1558"/>
                  <a:pt x="542" y="1660"/>
                </a:cubicBezTo>
                <a:cubicBezTo>
                  <a:pt x="542" y="1519"/>
                  <a:pt x="542" y="1253"/>
                  <a:pt x="542" y="1229"/>
                </a:cubicBezTo>
                <a:close/>
                <a:moveTo>
                  <a:pt x="542" y="611"/>
                </a:moveTo>
                <a:cubicBezTo>
                  <a:pt x="542" y="611"/>
                  <a:pt x="542" y="611"/>
                  <a:pt x="542" y="611"/>
                </a:cubicBezTo>
                <a:cubicBezTo>
                  <a:pt x="542" y="611"/>
                  <a:pt x="542" y="619"/>
                  <a:pt x="542" y="619"/>
                </a:cubicBezTo>
                <a:cubicBezTo>
                  <a:pt x="542" y="619"/>
                  <a:pt x="542" y="619"/>
                  <a:pt x="542" y="611"/>
                </a:cubicBezTo>
                <a:close/>
                <a:moveTo>
                  <a:pt x="542" y="611"/>
                </a:moveTo>
                <a:cubicBezTo>
                  <a:pt x="542" y="611"/>
                  <a:pt x="542" y="611"/>
                  <a:pt x="542" y="611"/>
                </a:cubicBezTo>
                <a:cubicBezTo>
                  <a:pt x="542" y="611"/>
                  <a:pt x="542" y="603"/>
                  <a:pt x="534" y="603"/>
                </a:cubicBezTo>
                <a:cubicBezTo>
                  <a:pt x="542" y="603"/>
                  <a:pt x="542" y="603"/>
                  <a:pt x="542" y="611"/>
                </a:cubicBezTo>
                <a:close/>
                <a:moveTo>
                  <a:pt x="479" y="243"/>
                </a:moveTo>
                <a:cubicBezTo>
                  <a:pt x="479" y="235"/>
                  <a:pt x="479" y="235"/>
                  <a:pt x="479" y="235"/>
                </a:cubicBezTo>
                <a:cubicBezTo>
                  <a:pt x="479" y="235"/>
                  <a:pt x="479" y="235"/>
                  <a:pt x="479" y="235"/>
                </a:cubicBezTo>
                <a:cubicBezTo>
                  <a:pt x="479" y="235"/>
                  <a:pt x="479" y="235"/>
                  <a:pt x="479" y="243"/>
                </a:cubicBezTo>
                <a:close/>
                <a:moveTo>
                  <a:pt x="495" y="2004"/>
                </a:moveTo>
                <a:cubicBezTo>
                  <a:pt x="495" y="2012"/>
                  <a:pt x="495" y="2012"/>
                  <a:pt x="495" y="2020"/>
                </a:cubicBezTo>
                <a:cubicBezTo>
                  <a:pt x="495" y="2020"/>
                  <a:pt x="495" y="2020"/>
                  <a:pt x="495" y="1988"/>
                </a:cubicBezTo>
                <a:cubicBezTo>
                  <a:pt x="495" y="2004"/>
                  <a:pt x="495" y="2012"/>
                  <a:pt x="495" y="2020"/>
                </a:cubicBezTo>
                <a:cubicBezTo>
                  <a:pt x="495" y="2020"/>
                  <a:pt x="495" y="2020"/>
                  <a:pt x="495" y="2020"/>
                </a:cubicBezTo>
                <a:cubicBezTo>
                  <a:pt x="495" y="2020"/>
                  <a:pt x="495" y="2020"/>
                  <a:pt x="495" y="2012"/>
                </a:cubicBezTo>
                <a:cubicBezTo>
                  <a:pt x="495" y="2012"/>
                  <a:pt x="495" y="2012"/>
                  <a:pt x="495" y="2012"/>
                </a:cubicBezTo>
                <a:cubicBezTo>
                  <a:pt x="495" y="1996"/>
                  <a:pt x="495" y="1996"/>
                  <a:pt x="495" y="1996"/>
                </a:cubicBezTo>
                <a:cubicBezTo>
                  <a:pt x="495" y="1996"/>
                  <a:pt x="495" y="1996"/>
                  <a:pt x="495" y="1996"/>
                </a:cubicBezTo>
                <a:cubicBezTo>
                  <a:pt x="495" y="1988"/>
                  <a:pt x="487" y="1973"/>
                  <a:pt x="487" y="1973"/>
                </a:cubicBezTo>
                <a:cubicBezTo>
                  <a:pt x="487" y="1957"/>
                  <a:pt x="487" y="1957"/>
                  <a:pt x="495" y="1957"/>
                </a:cubicBezTo>
                <a:cubicBezTo>
                  <a:pt x="495" y="1957"/>
                  <a:pt x="495" y="1957"/>
                  <a:pt x="487" y="1934"/>
                </a:cubicBezTo>
                <a:cubicBezTo>
                  <a:pt x="487" y="1934"/>
                  <a:pt x="487" y="1934"/>
                  <a:pt x="487" y="1934"/>
                </a:cubicBezTo>
                <a:cubicBezTo>
                  <a:pt x="487" y="1949"/>
                  <a:pt x="487" y="1957"/>
                  <a:pt x="487" y="1957"/>
                </a:cubicBezTo>
                <a:cubicBezTo>
                  <a:pt x="487" y="1965"/>
                  <a:pt x="487" y="1949"/>
                  <a:pt x="479" y="1941"/>
                </a:cubicBezTo>
                <a:cubicBezTo>
                  <a:pt x="479" y="1918"/>
                  <a:pt x="495" y="1879"/>
                  <a:pt x="495" y="1879"/>
                </a:cubicBezTo>
                <a:cubicBezTo>
                  <a:pt x="495" y="1895"/>
                  <a:pt x="495" y="1910"/>
                  <a:pt x="495" y="1918"/>
                </a:cubicBezTo>
                <a:cubicBezTo>
                  <a:pt x="495" y="1918"/>
                  <a:pt x="495" y="1918"/>
                  <a:pt x="495" y="1926"/>
                </a:cubicBezTo>
                <a:cubicBezTo>
                  <a:pt x="495" y="1926"/>
                  <a:pt x="495" y="1934"/>
                  <a:pt x="495" y="1934"/>
                </a:cubicBezTo>
                <a:cubicBezTo>
                  <a:pt x="495" y="1934"/>
                  <a:pt x="495" y="1934"/>
                  <a:pt x="495" y="1941"/>
                </a:cubicBezTo>
                <a:cubicBezTo>
                  <a:pt x="495" y="1941"/>
                  <a:pt x="495" y="1941"/>
                  <a:pt x="495" y="1941"/>
                </a:cubicBezTo>
                <a:cubicBezTo>
                  <a:pt x="495" y="1941"/>
                  <a:pt x="495" y="1941"/>
                  <a:pt x="495" y="1941"/>
                </a:cubicBezTo>
                <a:cubicBezTo>
                  <a:pt x="495" y="1941"/>
                  <a:pt x="495" y="1941"/>
                  <a:pt x="495" y="1941"/>
                </a:cubicBezTo>
                <a:cubicBezTo>
                  <a:pt x="495" y="1949"/>
                  <a:pt x="495" y="1949"/>
                  <a:pt x="495" y="1949"/>
                </a:cubicBezTo>
                <a:cubicBezTo>
                  <a:pt x="495" y="1949"/>
                  <a:pt x="495" y="1957"/>
                  <a:pt x="495" y="1957"/>
                </a:cubicBezTo>
                <a:cubicBezTo>
                  <a:pt x="495" y="1965"/>
                  <a:pt x="495" y="1965"/>
                  <a:pt x="495" y="1973"/>
                </a:cubicBezTo>
                <a:cubicBezTo>
                  <a:pt x="495" y="1973"/>
                  <a:pt x="495" y="1973"/>
                  <a:pt x="495" y="1988"/>
                </a:cubicBezTo>
                <a:cubicBezTo>
                  <a:pt x="495" y="1988"/>
                  <a:pt x="495" y="1988"/>
                  <a:pt x="495" y="1988"/>
                </a:cubicBezTo>
                <a:cubicBezTo>
                  <a:pt x="495" y="1996"/>
                  <a:pt x="495" y="2004"/>
                  <a:pt x="495" y="2004"/>
                </a:cubicBezTo>
                <a:cubicBezTo>
                  <a:pt x="495" y="2004"/>
                  <a:pt x="495" y="2004"/>
                  <a:pt x="495" y="2004"/>
                </a:cubicBezTo>
                <a:close/>
                <a:moveTo>
                  <a:pt x="527" y="1957"/>
                </a:moveTo>
                <a:cubicBezTo>
                  <a:pt x="527" y="1957"/>
                  <a:pt x="527" y="1957"/>
                  <a:pt x="527" y="1957"/>
                </a:cubicBezTo>
                <a:cubicBezTo>
                  <a:pt x="527" y="1949"/>
                  <a:pt x="527" y="1949"/>
                  <a:pt x="527" y="1949"/>
                </a:cubicBezTo>
                <a:cubicBezTo>
                  <a:pt x="527" y="1949"/>
                  <a:pt x="527" y="1949"/>
                  <a:pt x="527" y="1957"/>
                </a:cubicBezTo>
                <a:close/>
                <a:moveTo>
                  <a:pt x="527" y="1871"/>
                </a:moveTo>
                <a:cubicBezTo>
                  <a:pt x="527" y="1895"/>
                  <a:pt x="527" y="1902"/>
                  <a:pt x="527" y="1926"/>
                </a:cubicBezTo>
                <a:cubicBezTo>
                  <a:pt x="527" y="1926"/>
                  <a:pt x="527" y="1926"/>
                  <a:pt x="527" y="1934"/>
                </a:cubicBezTo>
                <a:cubicBezTo>
                  <a:pt x="527" y="1918"/>
                  <a:pt x="519" y="1926"/>
                  <a:pt x="519" y="1910"/>
                </a:cubicBezTo>
                <a:cubicBezTo>
                  <a:pt x="519" y="1910"/>
                  <a:pt x="519" y="1910"/>
                  <a:pt x="519" y="1926"/>
                </a:cubicBezTo>
                <a:cubicBezTo>
                  <a:pt x="519" y="1926"/>
                  <a:pt x="519" y="1926"/>
                  <a:pt x="511" y="1949"/>
                </a:cubicBezTo>
                <a:cubicBezTo>
                  <a:pt x="511" y="1949"/>
                  <a:pt x="511" y="1941"/>
                  <a:pt x="511" y="1941"/>
                </a:cubicBezTo>
                <a:cubicBezTo>
                  <a:pt x="511" y="1941"/>
                  <a:pt x="511" y="1941"/>
                  <a:pt x="511" y="1926"/>
                </a:cubicBezTo>
                <a:cubicBezTo>
                  <a:pt x="511" y="1926"/>
                  <a:pt x="519" y="1895"/>
                  <a:pt x="527" y="1871"/>
                </a:cubicBezTo>
                <a:close/>
                <a:moveTo>
                  <a:pt x="503" y="744"/>
                </a:moveTo>
                <a:cubicBezTo>
                  <a:pt x="503" y="752"/>
                  <a:pt x="503" y="744"/>
                  <a:pt x="503" y="752"/>
                </a:cubicBezTo>
                <a:cubicBezTo>
                  <a:pt x="511" y="814"/>
                  <a:pt x="519" y="1034"/>
                  <a:pt x="511" y="1081"/>
                </a:cubicBezTo>
                <a:cubicBezTo>
                  <a:pt x="511" y="1081"/>
                  <a:pt x="511" y="1081"/>
                  <a:pt x="519" y="1096"/>
                </a:cubicBezTo>
                <a:cubicBezTo>
                  <a:pt x="519" y="1214"/>
                  <a:pt x="519" y="1214"/>
                  <a:pt x="519" y="1214"/>
                </a:cubicBezTo>
                <a:cubicBezTo>
                  <a:pt x="519" y="1221"/>
                  <a:pt x="519" y="1221"/>
                  <a:pt x="519" y="1229"/>
                </a:cubicBezTo>
                <a:cubicBezTo>
                  <a:pt x="519" y="1253"/>
                  <a:pt x="519" y="1276"/>
                  <a:pt x="519" y="1292"/>
                </a:cubicBezTo>
                <a:cubicBezTo>
                  <a:pt x="519" y="1331"/>
                  <a:pt x="519" y="1425"/>
                  <a:pt x="519" y="1480"/>
                </a:cubicBezTo>
                <a:cubicBezTo>
                  <a:pt x="519" y="1480"/>
                  <a:pt x="519" y="1480"/>
                  <a:pt x="519" y="1519"/>
                </a:cubicBezTo>
                <a:cubicBezTo>
                  <a:pt x="519" y="1589"/>
                  <a:pt x="511" y="1707"/>
                  <a:pt x="511" y="1769"/>
                </a:cubicBezTo>
                <a:cubicBezTo>
                  <a:pt x="511" y="1801"/>
                  <a:pt x="503" y="1840"/>
                  <a:pt x="503" y="1879"/>
                </a:cubicBezTo>
                <a:cubicBezTo>
                  <a:pt x="503" y="1824"/>
                  <a:pt x="503" y="1746"/>
                  <a:pt x="511" y="1722"/>
                </a:cubicBezTo>
                <a:cubicBezTo>
                  <a:pt x="511" y="1660"/>
                  <a:pt x="519" y="1315"/>
                  <a:pt x="519" y="1229"/>
                </a:cubicBezTo>
                <a:cubicBezTo>
                  <a:pt x="519" y="1229"/>
                  <a:pt x="519" y="1229"/>
                  <a:pt x="511" y="1182"/>
                </a:cubicBezTo>
                <a:cubicBezTo>
                  <a:pt x="511" y="1159"/>
                  <a:pt x="511" y="1112"/>
                  <a:pt x="511" y="1081"/>
                </a:cubicBezTo>
                <a:cubicBezTo>
                  <a:pt x="511" y="1065"/>
                  <a:pt x="511" y="1057"/>
                  <a:pt x="511" y="1049"/>
                </a:cubicBezTo>
                <a:cubicBezTo>
                  <a:pt x="511" y="979"/>
                  <a:pt x="503" y="822"/>
                  <a:pt x="503" y="799"/>
                </a:cubicBezTo>
                <a:cubicBezTo>
                  <a:pt x="503" y="775"/>
                  <a:pt x="495" y="728"/>
                  <a:pt x="495" y="697"/>
                </a:cubicBezTo>
                <a:cubicBezTo>
                  <a:pt x="495" y="697"/>
                  <a:pt x="495" y="697"/>
                  <a:pt x="495" y="713"/>
                </a:cubicBezTo>
                <a:cubicBezTo>
                  <a:pt x="495" y="681"/>
                  <a:pt x="487" y="603"/>
                  <a:pt x="487" y="595"/>
                </a:cubicBezTo>
                <a:cubicBezTo>
                  <a:pt x="487" y="580"/>
                  <a:pt x="487" y="572"/>
                  <a:pt x="487" y="564"/>
                </a:cubicBezTo>
                <a:cubicBezTo>
                  <a:pt x="487" y="564"/>
                  <a:pt x="487" y="564"/>
                  <a:pt x="495" y="681"/>
                </a:cubicBezTo>
                <a:cubicBezTo>
                  <a:pt x="495" y="697"/>
                  <a:pt x="503" y="721"/>
                  <a:pt x="503" y="744"/>
                </a:cubicBezTo>
                <a:close/>
                <a:moveTo>
                  <a:pt x="495" y="282"/>
                </a:moveTo>
                <a:cubicBezTo>
                  <a:pt x="495" y="282"/>
                  <a:pt x="495" y="282"/>
                  <a:pt x="495" y="298"/>
                </a:cubicBezTo>
                <a:cubicBezTo>
                  <a:pt x="495" y="298"/>
                  <a:pt x="495" y="298"/>
                  <a:pt x="495" y="314"/>
                </a:cubicBezTo>
                <a:cubicBezTo>
                  <a:pt x="495" y="314"/>
                  <a:pt x="495" y="314"/>
                  <a:pt x="495" y="314"/>
                </a:cubicBezTo>
                <a:cubicBezTo>
                  <a:pt x="495" y="306"/>
                  <a:pt x="495" y="298"/>
                  <a:pt x="487" y="282"/>
                </a:cubicBezTo>
                <a:cubicBezTo>
                  <a:pt x="487" y="290"/>
                  <a:pt x="495" y="290"/>
                  <a:pt x="495" y="282"/>
                </a:cubicBezTo>
                <a:close/>
                <a:moveTo>
                  <a:pt x="495" y="337"/>
                </a:moveTo>
                <a:cubicBezTo>
                  <a:pt x="495" y="337"/>
                  <a:pt x="495" y="329"/>
                  <a:pt x="495" y="314"/>
                </a:cubicBezTo>
                <a:cubicBezTo>
                  <a:pt x="495" y="321"/>
                  <a:pt x="495" y="329"/>
                  <a:pt x="495" y="337"/>
                </a:cubicBezTo>
                <a:close/>
                <a:moveTo>
                  <a:pt x="479" y="274"/>
                </a:moveTo>
                <a:cubicBezTo>
                  <a:pt x="479" y="282"/>
                  <a:pt x="479" y="282"/>
                  <a:pt x="479" y="298"/>
                </a:cubicBezTo>
                <a:cubicBezTo>
                  <a:pt x="479" y="306"/>
                  <a:pt x="479" y="298"/>
                  <a:pt x="479" y="282"/>
                </a:cubicBezTo>
                <a:cubicBezTo>
                  <a:pt x="479" y="282"/>
                  <a:pt x="479" y="282"/>
                  <a:pt x="472" y="274"/>
                </a:cubicBezTo>
                <a:cubicBezTo>
                  <a:pt x="472" y="274"/>
                  <a:pt x="472" y="274"/>
                  <a:pt x="479" y="274"/>
                </a:cubicBezTo>
                <a:close/>
                <a:moveTo>
                  <a:pt x="440" y="118"/>
                </a:moveTo>
                <a:cubicBezTo>
                  <a:pt x="440" y="118"/>
                  <a:pt x="440" y="118"/>
                  <a:pt x="440" y="118"/>
                </a:cubicBezTo>
                <a:cubicBezTo>
                  <a:pt x="440" y="134"/>
                  <a:pt x="440" y="118"/>
                  <a:pt x="440" y="110"/>
                </a:cubicBezTo>
                <a:cubicBezTo>
                  <a:pt x="440" y="110"/>
                  <a:pt x="440" y="110"/>
                  <a:pt x="440" y="118"/>
                </a:cubicBezTo>
                <a:close/>
                <a:moveTo>
                  <a:pt x="440" y="165"/>
                </a:moveTo>
                <a:cubicBezTo>
                  <a:pt x="440" y="173"/>
                  <a:pt x="440" y="188"/>
                  <a:pt x="440" y="188"/>
                </a:cubicBezTo>
                <a:cubicBezTo>
                  <a:pt x="440" y="188"/>
                  <a:pt x="440" y="188"/>
                  <a:pt x="440" y="165"/>
                </a:cubicBezTo>
                <a:close/>
                <a:moveTo>
                  <a:pt x="424" y="87"/>
                </a:moveTo>
                <a:cubicBezTo>
                  <a:pt x="424" y="79"/>
                  <a:pt x="424" y="79"/>
                  <a:pt x="424" y="79"/>
                </a:cubicBezTo>
                <a:cubicBezTo>
                  <a:pt x="432" y="79"/>
                  <a:pt x="432" y="87"/>
                  <a:pt x="432" y="94"/>
                </a:cubicBezTo>
                <a:cubicBezTo>
                  <a:pt x="432" y="102"/>
                  <a:pt x="432" y="102"/>
                  <a:pt x="440" y="110"/>
                </a:cubicBezTo>
                <a:cubicBezTo>
                  <a:pt x="440" y="134"/>
                  <a:pt x="440" y="149"/>
                  <a:pt x="456" y="180"/>
                </a:cubicBezTo>
                <a:cubicBezTo>
                  <a:pt x="456" y="188"/>
                  <a:pt x="456" y="188"/>
                  <a:pt x="456" y="188"/>
                </a:cubicBezTo>
                <a:cubicBezTo>
                  <a:pt x="464" y="235"/>
                  <a:pt x="464" y="274"/>
                  <a:pt x="479" y="321"/>
                </a:cubicBezTo>
                <a:cubicBezTo>
                  <a:pt x="479" y="329"/>
                  <a:pt x="495" y="415"/>
                  <a:pt x="495" y="447"/>
                </a:cubicBezTo>
                <a:cubicBezTo>
                  <a:pt x="495" y="447"/>
                  <a:pt x="495" y="447"/>
                  <a:pt x="495" y="447"/>
                </a:cubicBezTo>
                <a:cubicBezTo>
                  <a:pt x="479" y="337"/>
                  <a:pt x="456" y="212"/>
                  <a:pt x="424" y="87"/>
                </a:cubicBezTo>
                <a:close/>
                <a:moveTo>
                  <a:pt x="448" y="267"/>
                </a:moveTo>
                <a:cubicBezTo>
                  <a:pt x="448" y="267"/>
                  <a:pt x="448" y="274"/>
                  <a:pt x="456" y="282"/>
                </a:cubicBezTo>
                <a:cubicBezTo>
                  <a:pt x="456" y="298"/>
                  <a:pt x="456" y="298"/>
                  <a:pt x="456" y="298"/>
                </a:cubicBezTo>
                <a:cubicBezTo>
                  <a:pt x="456" y="306"/>
                  <a:pt x="456" y="306"/>
                  <a:pt x="456" y="306"/>
                </a:cubicBezTo>
                <a:cubicBezTo>
                  <a:pt x="456" y="306"/>
                  <a:pt x="456" y="306"/>
                  <a:pt x="456" y="321"/>
                </a:cubicBezTo>
                <a:cubicBezTo>
                  <a:pt x="456" y="314"/>
                  <a:pt x="456" y="306"/>
                  <a:pt x="448" y="290"/>
                </a:cubicBezTo>
                <a:cubicBezTo>
                  <a:pt x="448" y="282"/>
                  <a:pt x="448" y="274"/>
                  <a:pt x="448" y="267"/>
                </a:cubicBezTo>
                <a:close/>
                <a:moveTo>
                  <a:pt x="456" y="321"/>
                </a:moveTo>
                <a:cubicBezTo>
                  <a:pt x="456" y="329"/>
                  <a:pt x="456" y="329"/>
                  <a:pt x="456" y="329"/>
                </a:cubicBezTo>
                <a:cubicBezTo>
                  <a:pt x="464" y="384"/>
                  <a:pt x="456" y="384"/>
                  <a:pt x="464" y="431"/>
                </a:cubicBezTo>
                <a:cubicBezTo>
                  <a:pt x="464" y="447"/>
                  <a:pt x="464" y="431"/>
                  <a:pt x="464" y="447"/>
                </a:cubicBezTo>
                <a:cubicBezTo>
                  <a:pt x="472" y="454"/>
                  <a:pt x="464" y="462"/>
                  <a:pt x="472" y="486"/>
                </a:cubicBezTo>
                <a:cubicBezTo>
                  <a:pt x="472" y="486"/>
                  <a:pt x="472" y="486"/>
                  <a:pt x="472" y="494"/>
                </a:cubicBezTo>
                <a:cubicBezTo>
                  <a:pt x="464" y="470"/>
                  <a:pt x="464" y="470"/>
                  <a:pt x="464" y="454"/>
                </a:cubicBezTo>
                <a:cubicBezTo>
                  <a:pt x="464" y="447"/>
                  <a:pt x="464" y="454"/>
                  <a:pt x="464" y="447"/>
                </a:cubicBezTo>
                <a:cubicBezTo>
                  <a:pt x="464" y="447"/>
                  <a:pt x="464" y="447"/>
                  <a:pt x="464" y="431"/>
                </a:cubicBezTo>
                <a:cubicBezTo>
                  <a:pt x="464" y="423"/>
                  <a:pt x="456" y="345"/>
                  <a:pt x="456" y="337"/>
                </a:cubicBezTo>
                <a:cubicBezTo>
                  <a:pt x="456" y="337"/>
                  <a:pt x="456" y="337"/>
                  <a:pt x="448" y="306"/>
                </a:cubicBezTo>
                <a:cubicBezTo>
                  <a:pt x="448" y="306"/>
                  <a:pt x="448" y="306"/>
                  <a:pt x="448" y="321"/>
                </a:cubicBezTo>
                <a:cubicBezTo>
                  <a:pt x="440" y="298"/>
                  <a:pt x="440" y="282"/>
                  <a:pt x="440" y="259"/>
                </a:cubicBezTo>
                <a:cubicBezTo>
                  <a:pt x="440" y="282"/>
                  <a:pt x="448" y="314"/>
                  <a:pt x="456" y="321"/>
                </a:cubicBezTo>
                <a:close/>
                <a:moveTo>
                  <a:pt x="440" y="407"/>
                </a:moveTo>
                <a:cubicBezTo>
                  <a:pt x="448" y="407"/>
                  <a:pt x="448" y="407"/>
                  <a:pt x="448" y="407"/>
                </a:cubicBezTo>
                <a:cubicBezTo>
                  <a:pt x="440" y="400"/>
                  <a:pt x="440" y="400"/>
                  <a:pt x="440" y="400"/>
                </a:cubicBezTo>
                <a:cubicBezTo>
                  <a:pt x="440" y="400"/>
                  <a:pt x="440" y="400"/>
                  <a:pt x="440" y="400"/>
                </a:cubicBezTo>
                <a:cubicBezTo>
                  <a:pt x="440" y="400"/>
                  <a:pt x="440" y="407"/>
                  <a:pt x="440" y="407"/>
                </a:cubicBezTo>
                <a:close/>
                <a:moveTo>
                  <a:pt x="487" y="1026"/>
                </a:moveTo>
                <a:cubicBezTo>
                  <a:pt x="487" y="1026"/>
                  <a:pt x="487" y="1026"/>
                  <a:pt x="487" y="1034"/>
                </a:cubicBezTo>
                <a:cubicBezTo>
                  <a:pt x="495" y="1034"/>
                  <a:pt x="495" y="1034"/>
                  <a:pt x="495" y="1026"/>
                </a:cubicBezTo>
                <a:cubicBezTo>
                  <a:pt x="495" y="1026"/>
                  <a:pt x="495" y="1026"/>
                  <a:pt x="487" y="1018"/>
                </a:cubicBezTo>
                <a:cubicBezTo>
                  <a:pt x="487" y="1018"/>
                  <a:pt x="487" y="1018"/>
                  <a:pt x="487" y="1026"/>
                </a:cubicBezTo>
                <a:close/>
                <a:moveTo>
                  <a:pt x="440" y="204"/>
                </a:moveTo>
                <a:cubicBezTo>
                  <a:pt x="432" y="188"/>
                  <a:pt x="432" y="188"/>
                  <a:pt x="432" y="188"/>
                </a:cubicBezTo>
                <a:cubicBezTo>
                  <a:pt x="432" y="196"/>
                  <a:pt x="432" y="204"/>
                  <a:pt x="432" y="204"/>
                </a:cubicBezTo>
                <a:cubicBezTo>
                  <a:pt x="432" y="204"/>
                  <a:pt x="432" y="204"/>
                  <a:pt x="440" y="204"/>
                </a:cubicBezTo>
                <a:close/>
                <a:moveTo>
                  <a:pt x="456" y="517"/>
                </a:moveTo>
                <a:cubicBezTo>
                  <a:pt x="448" y="517"/>
                  <a:pt x="448" y="517"/>
                  <a:pt x="456" y="525"/>
                </a:cubicBezTo>
                <a:cubicBezTo>
                  <a:pt x="456" y="525"/>
                  <a:pt x="456" y="525"/>
                  <a:pt x="456" y="517"/>
                </a:cubicBezTo>
                <a:close/>
                <a:moveTo>
                  <a:pt x="479" y="814"/>
                </a:moveTo>
                <a:cubicBezTo>
                  <a:pt x="479" y="799"/>
                  <a:pt x="479" y="791"/>
                  <a:pt x="479" y="783"/>
                </a:cubicBezTo>
                <a:cubicBezTo>
                  <a:pt x="479" y="783"/>
                  <a:pt x="479" y="783"/>
                  <a:pt x="479" y="775"/>
                </a:cubicBezTo>
                <a:cubicBezTo>
                  <a:pt x="479" y="775"/>
                  <a:pt x="479" y="783"/>
                  <a:pt x="479" y="783"/>
                </a:cubicBezTo>
                <a:cubicBezTo>
                  <a:pt x="479" y="783"/>
                  <a:pt x="479" y="783"/>
                  <a:pt x="479" y="783"/>
                </a:cubicBezTo>
                <a:cubicBezTo>
                  <a:pt x="479" y="791"/>
                  <a:pt x="479" y="799"/>
                  <a:pt x="479" y="814"/>
                </a:cubicBezTo>
                <a:cubicBezTo>
                  <a:pt x="479" y="814"/>
                  <a:pt x="479" y="814"/>
                  <a:pt x="472" y="799"/>
                </a:cubicBezTo>
                <a:cubicBezTo>
                  <a:pt x="472" y="799"/>
                  <a:pt x="472" y="807"/>
                  <a:pt x="472" y="807"/>
                </a:cubicBezTo>
                <a:cubicBezTo>
                  <a:pt x="472" y="807"/>
                  <a:pt x="472" y="814"/>
                  <a:pt x="472" y="814"/>
                </a:cubicBezTo>
                <a:cubicBezTo>
                  <a:pt x="472" y="814"/>
                  <a:pt x="472" y="814"/>
                  <a:pt x="472" y="822"/>
                </a:cubicBezTo>
                <a:cubicBezTo>
                  <a:pt x="472" y="822"/>
                  <a:pt x="472" y="830"/>
                  <a:pt x="472" y="838"/>
                </a:cubicBezTo>
                <a:cubicBezTo>
                  <a:pt x="472" y="838"/>
                  <a:pt x="472" y="838"/>
                  <a:pt x="472" y="846"/>
                </a:cubicBezTo>
                <a:cubicBezTo>
                  <a:pt x="472" y="846"/>
                  <a:pt x="472" y="846"/>
                  <a:pt x="472" y="854"/>
                </a:cubicBezTo>
                <a:cubicBezTo>
                  <a:pt x="472" y="854"/>
                  <a:pt x="472" y="854"/>
                  <a:pt x="472" y="861"/>
                </a:cubicBezTo>
                <a:cubicBezTo>
                  <a:pt x="464" y="846"/>
                  <a:pt x="464" y="846"/>
                  <a:pt x="464" y="830"/>
                </a:cubicBezTo>
                <a:cubicBezTo>
                  <a:pt x="464" y="830"/>
                  <a:pt x="464" y="830"/>
                  <a:pt x="464" y="830"/>
                </a:cubicBezTo>
                <a:cubicBezTo>
                  <a:pt x="464" y="838"/>
                  <a:pt x="464" y="846"/>
                  <a:pt x="464" y="854"/>
                </a:cubicBezTo>
                <a:cubicBezTo>
                  <a:pt x="464" y="854"/>
                  <a:pt x="464" y="854"/>
                  <a:pt x="464" y="854"/>
                </a:cubicBezTo>
                <a:cubicBezTo>
                  <a:pt x="464" y="877"/>
                  <a:pt x="472" y="861"/>
                  <a:pt x="472" y="877"/>
                </a:cubicBezTo>
                <a:cubicBezTo>
                  <a:pt x="472" y="877"/>
                  <a:pt x="472" y="877"/>
                  <a:pt x="472" y="877"/>
                </a:cubicBezTo>
                <a:cubicBezTo>
                  <a:pt x="472" y="869"/>
                  <a:pt x="472" y="869"/>
                  <a:pt x="479" y="877"/>
                </a:cubicBezTo>
                <a:cubicBezTo>
                  <a:pt x="479" y="869"/>
                  <a:pt x="479" y="869"/>
                  <a:pt x="479" y="861"/>
                </a:cubicBezTo>
                <a:cubicBezTo>
                  <a:pt x="479" y="861"/>
                  <a:pt x="479" y="861"/>
                  <a:pt x="479" y="861"/>
                </a:cubicBezTo>
                <a:cubicBezTo>
                  <a:pt x="479" y="854"/>
                  <a:pt x="479" y="854"/>
                  <a:pt x="479" y="854"/>
                </a:cubicBezTo>
                <a:cubicBezTo>
                  <a:pt x="479" y="854"/>
                  <a:pt x="479" y="854"/>
                  <a:pt x="479" y="854"/>
                </a:cubicBezTo>
                <a:cubicBezTo>
                  <a:pt x="479" y="854"/>
                  <a:pt x="479" y="854"/>
                  <a:pt x="479" y="846"/>
                </a:cubicBezTo>
                <a:cubicBezTo>
                  <a:pt x="472" y="830"/>
                  <a:pt x="479" y="838"/>
                  <a:pt x="479" y="830"/>
                </a:cubicBezTo>
                <a:cubicBezTo>
                  <a:pt x="479" y="830"/>
                  <a:pt x="479" y="822"/>
                  <a:pt x="479" y="814"/>
                </a:cubicBezTo>
                <a:cubicBezTo>
                  <a:pt x="479" y="822"/>
                  <a:pt x="479" y="814"/>
                  <a:pt x="479" y="814"/>
                </a:cubicBezTo>
                <a:close/>
                <a:moveTo>
                  <a:pt x="511" y="2145"/>
                </a:moveTo>
                <a:cubicBezTo>
                  <a:pt x="511" y="2145"/>
                  <a:pt x="511" y="2145"/>
                  <a:pt x="519" y="2153"/>
                </a:cubicBezTo>
                <a:cubicBezTo>
                  <a:pt x="519" y="2153"/>
                  <a:pt x="519" y="2153"/>
                  <a:pt x="511" y="2137"/>
                </a:cubicBezTo>
                <a:cubicBezTo>
                  <a:pt x="511" y="2137"/>
                  <a:pt x="511" y="2145"/>
                  <a:pt x="511" y="2145"/>
                </a:cubicBezTo>
                <a:close/>
                <a:moveTo>
                  <a:pt x="519" y="2129"/>
                </a:moveTo>
                <a:cubicBezTo>
                  <a:pt x="519" y="2137"/>
                  <a:pt x="519" y="2145"/>
                  <a:pt x="527" y="2153"/>
                </a:cubicBezTo>
                <a:cubicBezTo>
                  <a:pt x="527" y="2145"/>
                  <a:pt x="519" y="2137"/>
                  <a:pt x="519" y="2129"/>
                </a:cubicBezTo>
                <a:close/>
                <a:moveTo>
                  <a:pt x="534" y="2192"/>
                </a:moveTo>
                <a:cubicBezTo>
                  <a:pt x="534" y="2176"/>
                  <a:pt x="527" y="2168"/>
                  <a:pt x="527" y="2161"/>
                </a:cubicBezTo>
                <a:lnTo>
                  <a:pt x="534" y="2192"/>
                </a:lnTo>
                <a:close/>
                <a:moveTo>
                  <a:pt x="527" y="2153"/>
                </a:moveTo>
                <a:cubicBezTo>
                  <a:pt x="527" y="2153"/>
                  <a:pt x="527" y="2153"/>
                  <a:pt x="527" y="2153"/>
                </a:cubicBezTo>
                <a:cubicBezTo>
                  <a:pt x="527" y="2153"/>
                  <a:pt x="527" y="2153"/>
                  <a:pt x="527" y="2153"/>
                </a:cubicBezTo>
                <a:cubicBezTo>
                  <a:pt x="527" y="2153"/>
                  <a:pt x="527" y="2161"/>
                  <a:pt x="527" y="2161"/>
                </a:cubicBezTo>
                <a:cubicBezTo>
                  <a:pt x="527" y="2161"/>
                  <a:pt x="527" y="2153"/>
                  <a:pt x="527" y="2153"/>
                </a:cubicBezTo>
                <a:close/>
                <a:moveTo>
                  <a:pt x="511" y="2082"/>
                </a:moveTo>
                <a:cubicBezTo>
                  <a:pt x="511" y="2082"/>
                  <a:pt x="511" y="2082"/>
                  <a:pt x="511" y="2090"/>
                </a:cubicBezTo>
                <a:cubicBezTo>
                  <a:pt x="511" y="2090"/>
                  <a:pt x="511" y="2090"/>
                  <a:pt x="511" y="2098"/>
                </a:cubicBezTo>
                <a:cubicBezTo>
                  <a:pt x="511" y="2098"/>
                  <a:pt x="511" y="2106"/>
                  <a:pt x="511" y="2106"/>
                </a:cubicBezTo>
                <a:cubicBezTo>
                  <a:pt x="511" y="2106"/>
                  <a:pt x="511" y="2114"/>
                  <a:pt x="511" y="2114"/>
                </a:cubicBezTo>
                <a:cubicBezTo>
                  <a:pt x="519" y="2114"/>
                  <a:pt x="519" y="2114"/>
                  <a:pt x="519" y="2114"/>
                </a:cubicBezTo>
                <a:cubicBezTo>
                  <a:pt x="511" y="2106"/>
                  <a:pt x="511" y="2098"/>
                  <a:pt x="511" y="2082"/>
                </a:cubicBezTo>
                <a:close/>
                <a:moveTo>
                  <a:pt x="511" y="2114"/>
                </a:moveTo>
                <a:cubicBezTo>
                  <a:pt x="511" y="2114"/>
                  <a:pt x="511" y="2114"/>
                  <a:pt x="511" y="2114"/>
                </a:cubicBezTo>
                <a:cubicBezTo>
                  <a:pt x="511" y="2114"/>
                  <a:pt x="511" y="2114"/>
                  <a:pt x="511" y="2114"/>
                </a:cubicBezTo>
                <a:cubicBezTo>
                  <a:pt x="511" y="2114"/>
                  <a:pt x="511" y="2114"/>
                  <a:pt x="511" y="2114"/>
                </a:cubicBezTo>
                <a:close/>
                <a:moveTo>
                  <a:pt x="511" y="2114"/>
                </a:moveTo>
                <a:cubicBezTo>
                  <a:pt x="511" y="2121"/>
                  <a:pt x="519" y="2121"/>
                  <a:pt x="519" y="2129"/>
                </a:cubicBezTo>
                <a:cubicBezTo>
                  <a:pt x="519" y="2121"/>
                  <a:pt x="519" y="2121"/>
                  <a:pt x="519" y="2121"/>
                </a:cubicBezTo>
                <a:cubicBezTo>
                  <a:pt x="519" y="2121"/>
                  <a:pt x="519" y="2121"/>
                  <a:pt x="519" y="2121"/>
                </a:cubicBezTo>
                <a:cubicBezTo>
                  <a:pt x="519" y="2121"/>
                  <a:pt x="519" y="2121"/>
                  <a:pt x="519" y="2114"/>
                </a:cubicBezTo>
                <a:cubicBezTo>
                  <a:pt x="519" y="2121"/>
                  <a:pt x="519" y="2121"/>
                  <a:pt x="519" y="2121"/>
                </a:cubicBezTo>
                <a:cubicBezTo>
                  <a:pt x="519" y="2121"/>
                  <a:pt x="519" y="2121"/>
                  <a:pt x="511" y="2114"/>
                </a:cubicBezTo>
                <a:close/>
                <a:moveTo>
                  <a:pt x="542" y="2192"/>
                </a:moveTo>
                <a:cubicBezTo>
                  <a:pt x="542" y="2176"/>
                  <a:pt x="542" y="2176"/>
                  <a:pt x="542" y="2168"/>
                </a:cubicBezTo>
                <a:cubicBezTo>
                  <a:pt x="542" y="2168"/>
                  <a:pt x="542" y="2168"/>
                  <a:pt x="534" y="2161"/>
                </a:cubicBezTo>
                <a:cubicBezTo>
                  <a:pt x="534" y="2161"/>
                  <a:pt x="534" y="2161"/>
                  <a:pt x="534" y="2168"/>
                </a:cubicBezTo>
                <a:cubicBezTo>
                  <a:pt x="534" y="2168"/>
                  <a:pt x="534" y="2168"/>
                  <a:pt x="534" y="2176"/>
                </a:cubicBezTo>
                <a:cubicBezTo>
                  <a:pt x="534" y="2161"/>
                  <a:pt x="534" y="2161"/>
                  <a:pt x="527" y="2161"/>
                </a:cubicBezTo>
                <a:cubicBezTo>
                  <a:pt x="527" y="2161"/>
                  <a:pt x="527" y="2161"/>
                  <a:pt x="534" y="2176"/>
                </a:cubicBezTo>
                <a:cubicBezTo>
                  <a:pt x="534" y="2184"/>
                  <a:pt x="534" y="2184"/>
                  <a:pt x="534" y="2184"/>
                </a:cubicBezTo>
                <a:cubicBezTo>
                  <a:pt x="542" y="2192"/>
                  <a:pt x="542" y="2192"/>
                  <a:pt x="542" y="2192"/>
                </a:cubicBezTo>
                <a:close/>
                <a:moveTo>
                  <a:pt x="527" y="2067"/>
                </a:moveTo>
                <a:cubicBezTo>
                  <a:pt x="527" y="2067"/>
                  <a:pt x="527" y="2075"/>
                  <a:pt x="527" y="2075"/>
                </a:cubicBezTo>
                <a:cubicBezTo>
                  <a:pt x="527" y="2067"/>
                  <a:pt x="527" y="2067"/>
                  <a:pt x="527" y="2067"/>
                </a:cubicBezTo>
                <a:cubicBezTo>
                  <a:pt x="527" y="2067"/>
                  <a:pt x="527" y="2067"/>
                  <a:pt x="527" y="2067"/>
                </a:cubicBezTo>
                <a:cubicBezTo>
                  <a:pt x="527" y="2067"/>
                  <a:pt x="527" y="2067"/>
                  <a:pt x="527" y="2075"/>
                </a:cubicBezTo>
                <a:cubicBezTo>
                  <a:pt x="527" y="2067"/>
                  <a:pt x="527" y="2067"/>
                  <a:pt x="534" y="2075"/>
                </a:cubicBezTo>
                <a:cubicBezTo>
                  <a:pt x="534" y="2075"/>
                  <a:pt x="534" y="2075"/>
                  <a:pt x="527" y="2059"/>
                </a:cubicBezTo>
                <a:cubicBezTo>
                  <a:pt x="527" y="2067"/>
                  <a:pt x="527" y="2067"/>
                  <a:pt x="527" y="2067"/>
                </a:cubicBezTo>
                <a:cubicBezTo>
                  <a:pt x="527" y="2067"/>
                  <a:pt x="527" y="2059"/>
                  <a:pt x="527" y="2059"/>
                </a:cubicBezTo>
                <a:cubicBezTo>
                  <a:pt x="527" y="2059"/>
                  <a:pt x="527" y="2059"/>
                  <a:pt x="527" y="2059"/>
                </a:cubicBezTo>
                <a:cubicBezTo>
                  <a:pt x="527" y="2059"/>
                  <a:pt x="527" y="2059"/>
                  <a:pt x="527" y="2059"/>
                </a:cubicBezTo>
                <a:cubicBezTo>
                  <a:pt x="527" y="2059"/>
                  <a:pt x="527" y="2059"/>
                  <a:pt x="527" y="2059"/>
                </a:cubicBezTo>
                <a:cubicBezTo>
                  <a:pt x="527" y="2051"/>
                  <a:pt x="527" y="2051"/>
                  <a:pt x="527" y="2051"/>
                </a:cubicBezTo>
                <a:cubicBezTo>
                  <a:pt x="527" y="2051"/>
                  <a:pt x="527" y="2051"/>
                  <a:pt x="527" y="2059"/>
                </a:cubicBezTo>
                <a:cubicBezTo>
                  <a:pt x="527" y="2051"/>
                  <a:pt x="527" y="2051"/>
                  <a:pt x="527" y="2051"/>
                </a:cubicBezTo>
                <a:cubicBezTo>
                  <a:pt x="527" y="2059"/>
                  <a:pt x="527" y="2059"/>
                  <a:pt x="527" y="2067"/>
                </a:cubicBezTo>
                <a:cubicBezTo>
                  <a:pt x="527" y="2059"/>
                  <a:pt x="527" y="2067"/>
                  <a:pt x="527" y="2075"/>
                </a:cubicBezTo>
                <a:cubicBezTo>
                  <a:pt x="527" y="2075"/>
                  <a:pt x="527" y="2075"/>
                  <a:pt x="527" y="2067"/>
                </a:cubicBezTo>
                <a:close/>
                <a:moveTo>
                  <a:pt x="527" y="2098"/>
                </a:moveTo>
                <a:cubicBezTo>
                  <a:pt x="534" y="2106"/>
                  <a:pt x="534" y="2114"/>
                  <a:pt x="534" y="2121"/>
                </a:cubicBezTo>
                <a:cubicBezTo>
                  <a:pt x="527" y="2121"/>
                  <a:pt x="527" y="2121"/>
                  <a:pt x="527" y="2121"/>
                </a:cubicBezTo>
                <a:cubicBezTo>
                  <a:pt x="534" y="2129"/>
                  <a:pt x="534" y="2129"/>
                  <a:pt x="534" y="2129"/>
                </a:cubicBezTo>
                <a:cubicBezTo>
                  <a:pt x="534" y="2121"/>
                  <a:pt x="534" y="2121"/>
                  <a:pt x="534" y="2121"/>
                </a:cubicBezTo>
                <a:cubicBezTo>
                  <a:pt x="534" y="2129"/>
                  <a:pt x="534" y="2129"/>
                  <a:pt x="534" y="2137"/>
                </a:cubicBezTo>
                <a:cubicBezTo>
                  <a:pt x="534" y="2129"/>
                  <a:pt x="534" y="2129"/>
                  <a:pt x="534" y="2106"/>
                </a:cubicBezTo>
                <a:cubicBezTo>
                  <a:pt x="534" y="2098"/>
                  <a:pt x="534" y="2098"/>
                  <a:pt x="527" y="2098"/>
                </a:cubicBezTo>
                <a:close/>
                <a:moveTo>
                  <a:pt x="534" y="2137"/>
                </a:moveTo>
                <a:cubicBezTo>
                  <a:pt x="534" y="2137"/>
                  <a:pt x="534" y="2137"/>
                  <a:pt x="534" y="2145"/>
                </a:cubicBezTo>
                <a:cubicBezTo>
                  <a:pt x="534" y="2145"/>
                  <a:pt x="534" y="2145"/>
                  <a:pt x="542" y="2145"/>
                </a:cubicBezTo>
                <a:cubicBezTo>
                  <a:pt x="534" y="2145"/>
                  <a:pt x="534" y="2145"/>
                  <a:pt x="534" y="2145"/>
                </a:cubicBezTo>
                <a:cubicBezTo>
                  <a:pt x="534" y="2145"/>
                  <a:pt x="534" y="2145"/>
                  <a:pt x="542" y="2145"/>
                </a:cubicBezTo>
                <a:cubicBezTo>
                  <a:pt x="542" y="2145"/>
                  <a:pt x="542" y="2145"/>
                  <a:pt x="534" y="2145"/>
                </a:cubicBezTo>
                <a:cubicBezTo>
                  <a:pt x="534" y="2137"/>
                  <a:pt x="534" y="2137"/>
                  <a:pt x="534" y="2137"/>
                </a:cubicBezTo>
                <a:cubicBezTo>
                  <a:pt x="534" y="2137"/>
                  <a:pt x="534" y="2137"/>
                  <a:pt x="534" y="2145"/>
                </a:cubicBezTo>
                <a:cubicBezTo>
                  <a:pt x="534" y="2137"/>
                  <a:pt x="534" y="2137"/>
                  <a:pt x="534" y="2137"/>
                </a:cubicBezTo>
                <a:close/>
                <a:moveTo>
                  <a:pt x="527" y="2043"/>
                </a:moveTo>
                <a:cubicBezTo>
                  <a:pt x="527" y="2043"/>
                  <a:pt x="527" y="2043"/>
                  <a:pt x="527" y="2028"/>
                </a:cubicBezTo>
                <a:cubicBezTo>
                  <a:pt x="527" y="2035"/>
                  <a:pt x="527" y="2035"/>
                  <a:pt x="527" y="2043"/>
                </a:cubicBezTo>
                <a:cubicBezTo>
                  <a:pt x="527" y="2043"/>
                  <a:pt x="527" y="2043"/>
                  <a:pt x="527" y="2043"/>
                </a:cubicBezTo>
                <a:cubicBezTo>
                  <a:pt x="527" y="2051"/>
                  <a:pt x="527" y="2051"/>
                  <a:pt x="527" y="2051"/>
                </a:cubicBezTo>
                <a:cubicBezTo>
                  <a:pt x="527" y="2051"/>
                  <a:pt x="527" y="2051"/>
                  <a:pt x="527" y="2043"/>
                </a:cubicBezTo>
                <a:close/>
                <a:moveTo>
                  <a:pt x="527" y="2051"/>
                </a:moveTo>
                <a:cubicBezTo>
                  <a:pt x="527" y="2051"/>
                  <a:pt x="527" y="2051"/>
                  <a:pt x="527" y="2051"/>
                </a:cubicBezTo>
                <a:cubicBezTo>
                  <a:pt x="527" y="2051"/>
                  <a:pt x="527" y="2051"/>
                  <a:pt x="527" y="2043"/>
                </a:cubicBezTo>
                <a:cubicBezTo>
                  <a:pt x="527" y="2051"/>
                  <a:pt x="527" y="2051"/>
                  <a:pt x="527" y="2051"/>
                </a:cubicBezTo>
                <a:close/>
                <a:moveTo>
                  <a:pt x="527" y="2043"/>
                </a:moveTo>
                <a:cubicBezTo>
                  <a:pt x="527" y="2028"/>
                  <a:pt x="527" y="2028"/>
                  <a:pt x="527" y="2028"/>
                </a:cubicBezTo>
                <a:cubicBezTo>
                  <a:pt x="527" y="2035"/>
                  <a:pt x="527" y="2043"/>
                  <a:pt x="527" y="2043"/>
                </a:cubicBezTo>
                <a:cubicBezTo>
                  <a:pt x="527" y="2043"/>
                  <a:pt x="527" y="2043"/>
                  <a:pt x="527" y="2043"/>
                </a:cubicBezTo>
                <a:close/>
                <a:moveTo>
                  <a:pt x="534" y="2082"/>
                </a:moveTo>
                <a:cubicBezTo>
                  <a:pt x="534" y="2082"/>
                  <a:pt x="534" y="2082"/>
                  <a:pt x="534" y="2090"/>
                </a:cubicBezTo>
                <a:cubicBezTo>
                  <a:pt x="534" y="2090"/>
                  <a:pt x="534" y="2090"/>
                  <a:pt x="534" y="2106"/>
                </a:cubicBezTo>
                <a:cubicBezTo>
                  <a:pt x="542" y="2121"/>
                  <a:pt x="542" y="2121"/>
                  <a:pt x="542" y="2121"/>
                </a:cubicBezTo>
                <a:cubicBezTo>
                  <a:pt x="534" y="2106"/>
                  <a:pt x="534" y="2098"/>
                  <a:pt x="534" y="2082"/>
                </a:cubicBezTo>
                <a:close/>
                <a:moveTo>
                  <a:pt x="527" y="2051"/>
                </a:moveTo>
                <a:cubicBezTo>
                  <a:pt x="527" y="2051"/>
                  <a:pt x="527" y="2051"/>
                  <a:pt x="527" y="2059"/>
                </a:cubicBezTo>
                <a:cubicBezTo>
                  <a:pt x="534" y="2059"/>
                  <a:pt x="534" y="2059"/>
                  <a:pt x="534" y="2059"/>
                </a:cubicBezTo>
                <a:cubicBezTo>
                  <a:pt x="527" y="2051"/>
                  <a:pt x="534" y="2059"/>
                  <a:pt x="527" y="2051"/>
                </a:cubicBezTo>
                <a:close/>
                <a:moveTo>
                  <a:pt x="550" y="2168"/>
                </a:moveTo>
                <a:cubicBezTo>
                  <a:pt x="550" y="2168"/>
                  <a:pt x="550" y="2168"/>
                  <a:pt x="550" y="2168"/>
                </a:cubicBezTo>
                <a:cubicBezTo>
                  <a:pt x="550" y="2168"/>
                  <a:pt x="550" y="2168"/>
                  <a:pt x="550" y="2168"/>
                </a:cubicBezTo>
                <a:cubicBezTo>
                  <a:pt x="550" y="2168"/>
                  <a:pt x="550" y="2168"/>
                  <a:pt x="550" y="2168"/>
                </a:cubicBezTo>
                <a:close/>
                <a:moveTo>
                  <a:pt x="550" y="2161"/>
                </a:moveTo>
                <a:cubicBezTo>
                  <a:pt x="550" y="2168"/>
                  <a:pt x="550" y="2168"/>
                  <a:pt x="550" y="2168"/>
                </a:cubicBezTo>
                <a:cubicBezTo>
                  <a:pt x="550" y="2161"/>
                  <a:pt x="550" y="2161"/>
                  <a:pt x="550" y="2161"/>
                </a:cubicBezTo>
                <a:cubicBezTo>
                  <a:pt x="550" y="2161"/>
                  <a:pt x="550" y="2161"/>
                  <a:pt x="550" y="2161"/>
                </a:cubicBezTo>
                <a:close/>
                <a:moveTo>
                  <a:pt x="550" y="2176"/>
                </a:moveTo>
                <a:cubicBezTo>
                  <a:pt x="550" y="2168"/>
                  <a:pt x="550" y="2168"/>
                  <a:pt x="550" y="2168"/>
                </a:cubicBezTo>
                <a:cubicBezTo>
                  <a:pt x="550" y="2168"/>
                  <a:pt x="550" y="2168"/>
                  <a:pt x="550" y="2176"/>
                </a:cubicBezTo>
                <a:close/>
                <a:moveTo>
                  <a:pt x="550" y="2137"/>
                </a:moveTo>
                <a:cubicBezTo>
                  <a:pt x="550" y="2145"/>
                  <a:pt x="550" y="2137"/>
                  <a:pt x="550" y="2145"/>
                </a:cubicBezTo>
                <a:cubicBezTo>
                  <a:pt x="550" y="2161"/>
                  <a:pt x="550" y="2161"/>
                  <a:pt x="550" y="2161"/>
                </a:cubicBezTo>
                <a:cubicBezTo>
                  <a:pt x="550" y="2161"/>
                  <a:pt x="550" y="2161"/>
                  <a:pt x="550" y="2137"/>
                </a:cubicBezTo>
                <a:close/>
                <a:moveTo>
                  <a:pt x="542" y="1957"/>
                </a:moveTo>
                <a:cubicBezTo>
                  <a:pt x="550" y="1957"/>
                  <a:pt x="550" y="1957"/>
                  <a:pt x="550" y="1957"/>
                </a:cubicBezTo>
                <a:cubicBezTo>
                  <a:pt x="542" y="1934"/>
                  <a:pt x="542" y="1934"/>
                  <a:pt x="542" y="1934"/>
                </a:cubicBezTo>
                <a:lnTo>
                  <a:pt x="542" y="1957"/>
                </a:lnTo>
                <a:close/>
                <a:moveTo>
                  <a:pt x="566" y="1652"/>
                </a:moveTo>
                <a:cubicBezTo>
                  <a:pt x="566" y="1652"/>
                  <a:pt x="566" y="1652"/>
                  <a:pt x="566" y="1644"/>
                </a:cubicBezTo>
                <a:cubicBezTo>
                  <a:pt x="566" y="1644"/>
                  <a:pt x="566" y="1644"/>
                  <a:pt x="566" y="1636"/>
                </a:cubicBezTo>
                <a:cubicBezTo>
                  <a:pt x="566" y="1636"/>
                  <a:pt x="566" y="1636"/>
                  <a:pt x="566" y="1628"/>
                </a:cubicBezTo>
                <a:cubicBezTo>
                  <a:pt x="566" y="1628"/>
                  <a:pt x="566" y="1628"/>
                  <a:pt x="566" y="1636"/>
                </a:cubicBezTo>
                <a:cubicBezTo>
                  <a:pt x="566" y="1644"/>
                  <a:pt x="566" y="1644"/>
                  <a:pt x="566" y="1652"/>
                </a:cubicBezTo>
                <a:close/>
                <a:moveTo>
                  <a:pt x="527" y="462"/>
                </a:moveTo>
                <a:cubicBezTo>
                  <a:pt x="527" y="462"/>
                  <a:pt x="527" y="462"/>
                  <a:pt x="527" y="454"/>
                </a:cubicBezTo>
                <a:cubicBezTo>
                  <a:pt x="527" y="454"/>
                  <a:pt x="527" y="454"/>
                  <a:pt x="527" y="447"/>
                </a:cubicBezTo>
                <a:cubicBezTo>
                  <a:pt x="527" y="447"/>
                  <a:pt x="527" y="447"/>
                  <a:pt x="527" y="462"/>
                </a:cubicBezTo>
                <a:cubicBezTo>
                  <a:pt x="527" y="470"/>
                  <a:pt x="527" y="454"/>
                  <a:pt x="527" y="462"/>
                </a:cubicBezTo>
                <a:close/>
                <a:moveTo>
                  <a:pt x="566" y="1660"/>
                </a:moveTo>
                <a:cubicBezTo>
                  <a:pt x="566" y="1652"/>
                  <a:pt x="566" y="1652"/>
                  <a:pt x="566" y="1652"/>
                </a:cubicBezTo>
                <a:cubicBezTo>
                  <a:pt x="566" y="1660"/>
                  <a:pt x="566" y="1660"/>
                  <a:pt x="566" y="1660"/>
                </a:cubicBezTo>
                <a:cubicBezTo>
                  <a:pt x="566" y="1660"/>
                  <a:pt x="566" y="1660"/>
                  <a:pt x="566" y="1660"/>
                </a:cubicBezTo>
                <a:close/>
                <a:moveTo>
                  <a:pt x="550" y="775"/>
                </a:moveTo>
                <a:cubicBezTo>
                  <a:pt x="558" y="783"/>
                  <a:pt x="558" y="783"/>
                  <a:pt x="558" y="783"/>
                </a:cubicBezTo>
                <a:cubicBezTo>
                  <a:pt x="550" y="767"/>
                  <a:pt x="550" y="775"/>
                  <a:pt x="550" y="775"/>
                </a:cubicBezTo>
                <a:close/>
                <a:moveTo>
                  <a:pt x="527" y="486"/>
                </a:moveTo>
                <a:cubicBezTo>
                  <a:pt x="527" y="486"/>
                  <a:pt x="527" y="486"/>
                  <a:pt x="527" y="486"/>
                </a:cubicBezTo>
                <a:cubicBezTo>
                  <a:pt x="527" y="494"/>
                  <a:pt x="527" y="494"/>
                  <a:pt x="527" y="494"/>
                </a:cubicBezTo>
                <a:cubicBezTo>
                  <a:pt x="527" y="494"/>
                  <a:pt x="527" y="501"/>
                  <a:pt x="527" y="501"/>
                </a:cubicBezTo>
                <a:cubicBezTo>
                  <a:pt x="534" y="501"/>
                  <a:pt x="534" y="501"/>
                  <a:pt x="534" y="501"/>
                </a:cubicBezTo>
                <a:cubicBezTo>
                  <a:pt x="534" y="494"/>
                  <a:pt x="534" y="494"/>
                  <a:pt x="534" y="494"/>
                </a:cubicBezTo>
                <a:cubicBezTo>
                  <a:pt x="534" y="494"/>
                  <a:pt x="534" y="494"/>
                  <a:pt x="534" y="494"/>
                </a:cubicBezTo>
                <a:lnTo>
                  <a:pt x="527" y="486"/>
                </a:lnTo>
                <a:close/>
                <a:moveTo>
                  <a:pt x="542" y="548"/>
                </a:moveTo>
                <a:cubicBezTo>
                  <a:pt x="542" y="541"/>
                  <a:pt x="542" y="541"/>
                  <a:pt x="542" y="541"/>
                </a:cubicBezTo>
                <a:cubicBezTo>
                  <a:pt x="534" y="533"/>
                  <a:pt x="534" y="533"/>
                  <a:pt x="534" y="533"/>
                </a:cubicBezTo>
                <a:lnTo>
                  <a:pt x="542" y="548"/>
                </a:lnTo>
                <a:close/>
                <a:moveTo>
                  <a:pt x="582" y="1448"/>
                </a:moveTo>
                <a:cubicBezTo>
                  <a:pt x="582" y="1448"/>
                  <a:pt x="582" y="1448"/>
                  <a:pt x="582" y="1441"/>
                </a:cubicBezTo>
                <a:cubicBezTo>
                  <a:pt x="582" y="1441"/>
                  <a:pt x="582" y="1441"/>
                  <a:pt x="582" y="1441"/>
                </a:cubicBezTo>
                <a:cubicBezTo>
                  <a:pt x="574" y="1425"/>
                  <a:pt x="574" y="1409"/>
                  <a:pt x="574" y="1417"/>
                </a:cubicBezTo>
                <a:cubicBezTo>
                  <a:pt x="574" y="1425"/>
                  <a:pt x="574" y="1425"/>
                  <a:pt x="574" y="1425"/>
                </a:cubicBezTo>
                <a:cubicBezTo>
                  <a:pt x="574" y="1425"/>
                  <a:pt x="574" y="1425"/>
                  <a:pt x="574" y="1425"/>
                </a:cubicBezTo>
                <a:cubicBezTo>
                  <a:pt x="574" y="1433"/>
                  <a:pt x="574" y="1433"/>
                  <a:pt x="574" y="1441"/>
                </a:cubicBezTo>
                <a:cubicBezTo>
                  <a:pt x="574" y="1441"/>
                  <a:pt x="574" y="1441"/>
                  <a:pt x="574" y="1448"/>
                </a:cubicBezTo>
                <a:cubicBezTo>
                  <a:pt x="574" y="1448"/>
                  <a:pt x="574" y="1456"/>
                  <a:pt x="574" y="1456"/>
                </a:cubicBezTo>
                <a:cubicBezTo>
                  <a:pt x="574" y="1464"/>
                  <a:pt x="574" y="1472"/>
                  <a:pt x="574" y="1480"/>
                </a:cubicBezTo>
                <a:cubicBezTo>
                  <a:pt x="574" y="1480"/>
                  <a:pt x="582" y="1456"/>
                  <a:pt x="582" y="1456"/>
                </a:cubicBezTo>
                <a:cubicBezTo>
                  <a:pt x="582" y="1448"/>
                  <a:pt x="582" y="1456"/>
                  <a:pt x="582" y="1448"/>
                </a:cubicBezTo>
                <a:close/>
                <a:moveTo>
                  <a:pt x="574" y="1519"/>
                </a:moveTo>
                <a:cubicBezTo>
                  <a:pt x="574" y="1519"/>
                  <a:pt x="574" y="1519"/>
                  <a:pt x="574" y="1519"/>
                </a:cubicBezTo>
                <a:cubicBezTo>
                  <a:pt x="574" y="1527"/>
                  <a:pt x="574" y="1527"/>
                  <a:pt x="574" y="1542"/>
                </a:cubicBezTo>
                <a:cubicBezTo>
                  <a:pt x="574" y="1542"/>
                  <a:pt x="574" y="1550"/>
                  <a:pt x="574" y="1558"/>
                </a:cubicBezTo>
                <a:cubicBezTo>
                  <a:pt x="574" y="1558"/>
                  <a:pt x="574" y="1558"/>
                  <a:pt x="574" y="1558"/>
                </a:cubicBezTo>
                <a:cubicBezTo>
                  <a:pt x="574" y="1558"/>
                  <a:pt x="574" y="1558"/>
                  <a:pt x="574" y="1566"/>
                </a:cubicBezTo>
                <a:cubicBezTo>
                  <a:pt x="574" y="1542"/>
                  <a:pt x="582" y="1527"/>
                  <a:pt x="582" y="1495"/>
                </a:cubicBezTo>
                <a:cubicBezTo>
                  <a:pt x="574" y="1495"/>
                  <a:pt x="574" y="1503"/>
                  <a:pt x="574" y="1511"/>
                </a:cubicBezTo>
                <a:cubicBezTo>
                  <a:pt x="574" y="1511"/>
                  <a:pt x="574" y="1511"/>
                  <a:pt x="574" y="1519"/>
                </a:cubicBezTo>
                <a:close/>
                <a:moveTo>
                  <a:pt x="566" y="1660"/>
                </a:moveTo>
                <a:cubicBezTo>
                  <a:pt x="566" y="1660"/>
                  <a:pt x="566" y="1668"/>
                  <a:pt x="566" y="1668"/>
                </a:cubicBezTo>
                <a:cubicBezTo>
                  <a:pt x="574" y="1660"/>
                  <a:pt x="566" y="1668"/>
                  <a:pt x="574" y="1652"/>
                </a:cubicBezTo>
                <a:cubicBezTo>
                  <a:pt x="574" y="1652"/>
                  <a:pt x="574" y="1652"/>
                  <a:pt x="566" y="1652"/>
                </a:cubicBezTo>
                <a:cubicBezTo>
                  <a:pt x="566" y="1652"/>
                  <a:pt x="566" y="1652"/>
                  <a:pt x="566" y="1660"/>
                </a:cubicBezTo>
                <a:cubicBezTo>
                  <a:pt x="566" y="1660"/>
                  <a:pt x="566" y="1660"/>
                  <a:pt x="566" y="1660"/>
                </a:cubicBezTo>
                <a:close/>
                <a:moveTo>
                  <a:pt x="582" y="1315"/>
                </a:moveTo>
                <a:cubicBezTo>
                  <a:pt x="582" y="1315"/>
                  <a:pt x="582" y="1315"/>
                  <a:pt x="582" y="1315"/>
                </a:cubicBezTo>
                <a:cubicBezTo>
                  <a:pt x="582" y="1308"/>
                  <a:pt x="582" y="1308"/>
                  <a:pt x="582" y="1308"/>
                </a:cubicBezTo>
                <a:cubicBezTo>
                  <a:pt x="582" y="1308"/>
                  <a:pt x="582" y="1308"/>
                  <a:pt x="582" y="1300"/>
                </a:cubicBezTo>
                <a:cubicBezTo>
                  <a:pt x="582" y="1300"/>
                  <a:pt x="582" y="1300"/>
                  <a:pt x="582" y="1300"/>
                </a:cubicBezTo>
                <a:cubicBezTo>
                  <a:pt x="582" y="1300"/>
                  <a:pt x="582" y="1292"/>
                  <a:pt x="582" y="1292"/>
                </a:cubicBezTo>
                <a:cubicBezTo>
                  <a:pt x="574" y="1292"/>
                  <a:pt x="574" y="1300"/>
                  <a:pt x="574" y="1292"/>
                </a:cubicBezTo>
                <a:cubicBezTo>
                  <a:pt x="574" y="1292"/>
                  <a:pt x="574" y="1292"/>
                  <a:pt x="574" y="1292"/>
                </a:cubicBezTo>
                <a:cubicBezTo>
                  <a:pt x="574" y="1292"/>
                  <a:pt x="574" y="1300"/>
                  <a:pt x="574" y="1300"/>
                </a:cubicBezTo>
                <a:cubicBezTo>
                  <a:pt x="574" y="1300"/>
                  <a:pt x="574" y="1300"/>
                  <a:pt x="574" y="1300"/>
                </a:cubicBezTo>
                <a:cubicBezTo>
                  <a:pt x="574" y="1331"/>
                  <a:pt x="574" y="1331"/>
                  <a:pt x="574" y="1331"/>
                </a:cubicBezTo>
                <a:cubicBezTo>
                  <a:pt x="574" y="1347"/>
                  <a:pt x="574" y="1347"/>
                  <a:pt x="574" y="1347"/>
                </a:cubicBezTo>
                <a:cubicBezTo>
                  <a:pt x="574" y="1339"/>
                  <a:pt x="582" y="1323"/>
                  <a:pt x="582" y="1315"/>
                </a:cubicBezTo>
                <a:cubicBezTo>
                  <a:pt x="582" y="1315"/>
                  <a:pt x="582" y="1315"/>
                  <a:pt x="582" y="1315"/>
                </a:cubicBezTo>
                <a:close/>
                <a:moveTo>
                  <a:pt x="574" y="1276"/>
                </a:moveTo>
                <a:cubicBezTo>
                  <a:pt x="582" y="1268"/>
                  <a:pt x="582" y="1268"/>
                  <a:pt x="582" y="1268"/>
                </a:cubicBezTo>
                <a:cubicBezTo>
                  <a:pt x="582" y="1268"/>
                  <a:pt x="582" y="1268"/>
                  <a:pt x="574" y="1229"/>
                </a:cubicBezTo>
                <a:cubicBezTo>
                  <a:pt x="574" y="1261"/>
                  <a:pt x="574" y="1261"/>
                  <a:pt x="574" y="1276"/>
                </a:cubicBezTo>
                <a:close/>
                <a:moveTo>
                  <a:pt x="582" y="1284"/>
                </a:moveTo>
                <a:cubicBezTo>
                  <a:pt x="582" y="1284"/>
                  <a:pt x="582" y="1284"/>
                  <a:pt x="582" y="1268"/>
                </a:cubicBezTo>
                <a:cubicBezTo>
                  <a:pt x="574" y="1276"/>
                  <a:pt x="574" y="1276"/>
                  <a:pt x="574" y="1276"/>
                </a:cubicBezTo>
                <a:lnTo>
                  <a:pt x="582" y="1284"/>
                </a:lnTo>
                <a:close/>
                <a:moveTo>
                  <a:pt x="558" y="752"/>
                </a:moveTo>
                <a:cubicBezTo>
                  <a:pt x="558" y="760"/>
                  <a:pt x="558" y="760"/>
                  <a:pt x="558" y="760"/>
                </a:cubicBezTo>
                <a:cubicBezTo>
                  <a:pt x="566" y="767"/>
                  <a:pt x="566" y="767"/>
                  <a:pt x="566" y="767"/>
                </a:cubicBezTo>
                <a:lnTo>
                  <a:pt x="558" y="752"/>
                </a:lnTo>
                <a:close/>
                <a:moveTo>
                  <a:pt x="574" y="1120"/>
                </a:moveTo>
                <a:cubicBezTo>
                  <a:pt x="574" y="1135"/>
                  <a:pt x="574" y="1135"/>
                  <a:pt x="574" y="1135"/>
                </a:cubicBezTo>
                <a:cubicBezTo>
                  <a:pt x="582" y="1128"/>
                  <a:pt x="582" y="1128"/>
                  <a:pt x="582" y="1128"/>
                </a:cubicBezTo>
                <a:lnTo>
                  <a:pt x="574" y="112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0279" tIns="55140" rIns="110279" bIns="55140" numCol="1" anchor="t" anchorCtr="0" compatLnSpc="1">
            <a:prstTxWarp prst="textNoShape">
              <a:avLst/>
            </a:prstTxWarp>
          </a:bodyPr>
          <a:lstStyle/>
          <a:p>
            <a:pPr defTabSz="895743"/>
            <a:endParaRPr lang="en-US" sz="1568" dirty="0">
              <a:solidFill>
                <a:prstClr val="black"/>
              </a:solidFill>
            </a:endParaRPr>
          </a:p>
        </p:txBody>
      </p:sp>
      <p:sp>
        <p:nvSpPr>
          <p:cNvPr id="217" name="TextBox 220"/>
          <p:cNvSpPr txBox="1"/>
          <p:nvPr/>
        </p:nvSpPr>
        <p:spPr>
          <a:xfrm>
            <a:off x="5125843" y="1231840"/>
            <a:ext cx="211516" cy="339435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sz="180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1º</a:t>
            </a:r>
            <a:endParaRPr lang="en-US" sz="18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532" name="Retângulo 531"/>
          <p:cNvSpPr/>
          <p:nvPr/>
        </p:nvSpPr>
        <p:spPr>
          <a:xfrm>
            <a:off x="4981680" y="5453666"/>
            <a:ext cx="1214383" cy="6632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2"/>
                </a:solidFill>
              </a:rPr>
              <a:t>17% integrais</a:t>
            </a:r>
          </a:p>
          <a:p>
            <a:pPr algn="ctr"/>
            <a:r>
              <a:rPr lang="pt-BR" sz="1400" dirty="0">
                <a:solidFill>
                  <a:schemeClr val="tx2"/>
                </a:solidFill>
              </a:rPr>
              <a:t>22% semi</a:t>
            </a:r>
          </a:p>
          <a:p>
            <a:pPr algn="ctr"/>
            <a:r>
              <a:rPr lang="pt-BR" sz="1400" dirty="0">
                <a:solidFill>
                  <a:schemeClr val="tx2"/>
                </a:solidFill>
              </a:rPr>
              <a:t>61% parciais</a:t>
            </a:r>
          </a:p>
        </p:txBody>
      </p:sp>
      <p:sp>
        <p:nvSpPr>
          <p:cNvPr id="533" name="TextBox 202"/>
          <p:cNvSpPr txBox="1"/>
          <p:nvPr/>
        </p:nvSpPr>
        <p:spPr>
          <a:xfrm>
            <a:off x="5331001" y="5152687"/>
            <a:ext cx="435936" cy="308657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b="1" dirty="0">
                <a:solidFill>
                  <a:prstClr val="black"/>
                </a:solidFill>
                <a:latin typeface="+mj-lt"/>
              </a:rPr>
              <a:t>2015</a:t>
            </a:r>
            <a:endParaRPr lang="en-US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36" name="CaixaDeTexto 535"/>
          <p:cNvSpPr txBox="1"/>
          <p:nvPr/>
        </p:nvSpPr>
        <p:spPr>
          <a:xfrm>
            <a:off x="406131" y="6343775"/>
            <a:ext cx="60892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en-US" dirty="0">
                <a:solidFill>
                  <a:schemeClr val="tx2"/>
                </a:solidFill>
                <a:latin typeface="+mj-lt"/>
              </a:rPr>
              <a:t>Fontes: Estudo Bain &amp; Company, </a:t>
            </a:r>
            <a:r>
              <a:rPr lang="pt-BR" dirty="0">
                <a:solidFill>
                  <a:schemeClr val="tx2"/>
                </a:solidFill>
                <a:latin typeface="+mj-lt"/>
              </a:rPr>
              <a:t>Inep, Secretaria estadual de educação de PE</a:t>
            </a:r>
          </a:p>
        </p:txBody>
      </p:sp>
      <p:sp>
        <p:nvSpPr>
          <p:cNvPr id="172" name="TextBox 219"/>
          <p:cNvSpPr txBox="1"/>
          <p:nvPr/>
        </p:nvSpPr>
        <p:spPr>
          <a:xfrm>
            <a:off x="1448904" y="3920813"/>
            <a:ext cx="299680" cy="277879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sz="140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20º</a:t>
            </a:r>
            <a:endParaRPr lang="en-US" sz="14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537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3404469" y="6391660"/>
            <a:ext cx="2091002" cy="279638"/>
          </a:xfrm>
        </p:spPr>
        <p:txBody>
          <a:bodyPr/>
          <a:lstStyle/>
          <a:p>
            <a:fld id="{54E26E91-FA1B-6245-924D-A20CF7519F8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69" name="Oval 173">
            <a:extLst>
              <a:ext uri="{FF2B5EF4-FFF2-40B4-BE49-F238E27FC236}">
                <a16:creationId xmlns:a16="http://schemas.microsoft.com/office/drawing/2014/main" xmlns="" id="{D3FF4B58-D3BE-4CE6-B087-7753EA174EAD}"/>
              </a:ext>
            </a:extLst>
          </p:cNvPr>
          <p:cNvSpPr/>
          <p:nvPr/>
        </p:nvSpPr>
        <p:spPr>
          <a:xfrm>
            <a:off x="6594945" y="1933282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74" name="Oval 185">
            <a:extLst>
              <a:ext uri="{FF2B5EF4-FFF2-40B4-BE49-F238E27FC236}">
                <a16:creationId xmlns:a16="http://schemas.microsoft.com/office/drawing/2014/main" xmlns="" id="{F7593924-542D-482C-842B-03F21F617AB4}"/>
              </a:ext>
            </a:extLst>
          </p:cNvPr>
          <p:cNvSpPr/>
          <p:nvPr/>
        </p:nvSpPr>
        <p:spPr>
          <a:xfrm>
            <a:off x="6594945" y="3591313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79" name="Oval 194">
            <a:extLst>
              <a:ext uri="{FF2B5EF4-FFF2-40B4-BE49-F238E27FC236}">
                <a16:creationId xmlns:a16="http://schemas.microsoft.com/office/drawing/2014/main" xmlns="" id="{D31EB924-584F-4899-848A-93619D14F55D}"/>
              </a:ext>
            </a:extLst>
          </p:cNvPr>
          <p:cNvSpPr/>
          <p:nvPr/>
        </p:nvSpPr>
        <p:spPr>
          <a:xfrm>
            <a:off x="6594945" y="4834835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81" name="Oval 171">
            <a:extLst>
              <a:ext uri="{FF2B5EF4-FFF2-40B4-BE49-F238E27FC236}">
                <a16:creationId xmlns:a16="http://schemas.microsoft.com/office/drawing/2014/main" xmlns="" id="{E4D41F3C-6E56-4CBB-869B-89780D12C0CB}"/>
              </a:ext>
            </a:extLst>
          </p:cNvPr>
          <p:cNvSpPr/>
          <p:nvPr/>
        </p:nvSpPr>
        <p:spPr>
          <a:xfrm>
            <a:off x="6594945" y="1656943"/>
            <a:ext cx="178845" cy="118431"/>
          </a:xfrm>
          <a:prstGeom prst="ellipse">
            <a:avLst/>
          </a:pr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83" name="Oval 172">
            <a:extLst>
              <a:ext uri="{FF2B5EF4-FFF2-40B4-BE49-F238E27FC236}">
                <a16:creationId xmlns:a16="http://schemas.microsoft.com/office/drawing/2014/main" xmlns="" id="{C19FB53F-A581-4206-9830-22612D45C005}"/>
              </a:ext>
            </a:extLst>
          </p:cNvPr>
          <p:cNvSpPr/>
          <p:nvPr/>
        </p:nvSpPr>
        <p:spPr>
          <a:xfrm>
            <a:off x="6594945" y="1795115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84" name="Oval 175">
            <a:extLst>
              <a:ext uri="{FF2B5EF4-FFF2-40B4-BE49-F238E27FC236}">
                <a16:creationId xmlns:a16="http://schemas.microsoft.com/office/drawing/2014/main" xmlns="" id="{3D180499-E725-40F9-86F8-552D3D489CE3}"/>
              </a:ext>
            </a:extLst>
          </p:cNvPr>
          <p:cNvSpPr/>
          <p:nvPr/>
        </p:nvSpPr>
        <p:spPr>
          <a:xfrm>
            <a:off x="6594945" y="2081678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88" name="Oval 180">
            <a:extLst>
              <a:ext uri="{FF2B5EF4-FFF2-40B4-BE49-F238E27FC236}">
                <a16:creationId xmlns:a16="http://schemas.microsoft.com/office/drawing/2014/main" xmlns="" id="{BF31A8B2-548A-42C9-A63D-2DD5FF2DAD45}"/>
              </a:ext>
            </a:extLst>
          </p:cNvPr>
          <p:cNvSpPr/>
          <p:nvPr/>
        </p:nvSpPr>
        <p:spPr>
          <a:xfrm>
            <a:off x="6594945" y="2900467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191" name="Oval 182">
            <a:extLst>
              <a:ext uri="{FF2B5EF4-FFF2-40B4-BE49-F238E27FC236}">
                <a16:creationId xmlns:a16="http://schemas.microsoft.com/office/drawing/2014/main" xmlns="" id="{9260183D-5BBF-4C76-9B1B-3A08AE74B352}"/>
              </a:ext>
            </a:extLst>
          </p:cNvPr>
          <p:cNvSpPr/>
          <p:nvPr/>
        </p:nvSpPr>
        <p:spPr>
          <a:xfrm>
            <a:off x="6594945" y="3176805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18" name="Oval 188">
            <a:extLst>
              <a:ext uri="{FF2B5EF4-FFF2-40B4-BE49-F238E27FC236}">
                <a16:creationId xmlns:a16="http://schemas.microsoft.com/office/drawing/2014/main" xmlns="" id="{D5CA54D9-FE09-40C0-AF37-4CA5C4C45492}"/>
              </a:ext>
            </a:extLst>
          </p:cNvPr>
          <p:cNvSpPr/>
          <p:nvPr/>
        </p:nvSpPr>
        <p:spPr>
          <a:xfrm>
            <a:off x="6594945" y="4005820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19" name="Oval 191">
            <a:extLst>
              <a:ext uri="{FF2B5EF4-FFF2-40B4-BE49-F238E27FC236}">
                <a16:creationId xmlns:a16="http://schemas.microsoft.com/office/drawing/2014/main" xmlns="" id="{B53E613E-FF6E-4D59-8DE6-14E5B6C0DF03}"/>
              </a:ext>
            </a:extLst>
          </p:cNvPr>
          <p:cNvSpPr/>
          <p:nvPr/>
        </p:nvSpPr>
        <p:spPr>
          <a:xfrm>
            <a:off x="6594945" y="4420328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20" name="Oval 174">
            <a:extLst>
              <a:ext uri="{FF2B5EF4-FFF2-40B4-BE49-F238E27FC236}">
                <a16:creationId xmlns:a16="http://schemas.microsoft.com/office/drawing/2014/main" xmlns="" id="{D6B31368-8688-47BF-963A-B114C7C56A1D}"/>
              </a:ext>
            </a:extLst>
          </p:cNvPr>
          <p:cNvSpPr/>
          <p:nvPr/>
        </p:nvSpPr>
        <p:spPr>
          <a:xfrm>
            <a:off x="6594945" y="2219817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21" name="Oval 176">
            <a:extLst>
              <a:ext uri="{FF2B5EF4-FFF2-40B4-BE49-F238E27FC236}">
                <a16:creationId xmlns:a16="http://schemas.microsoft.com/office/drawing/2014/main" xmlns="" id="{0B42F4DC-D6F4-4558-BF7B-9F422DC4988A}"/>
              </a:ext>
            </a:extLst>
          </p:cNvPr>
          <p:cNvSpPr/>
          <p:nvPr/>
        </p:nvSpPr>
        <p:spPr>
          <a:xfrm>
            <a:off x="6594945" y="2347790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22" name="Oval 177">
            <a:extLst>
              <a:ext uri="{FF2B5EF4-FFF2-40B4-BE49-F238E27FC236}">
                <a16:creationId xmlns:a16="http://schemas.microsoft.com/office/drawing/2014/main" xmlns="" id="{53924D9B-BFC6-4FB8-B277-B9E198274001}"/>
              </a:ext>
            </a:extLst>
          </p:cNvPr>
          <p:cNvSpPr/>
          <p:nvPr/>
        </p:nvSpPr>
        <p:spPr>
          <a:xfrm>
            <a:off x="6594945" y="2485959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23" name="Oval 178">
            <a:extLst>
              <a:ext uri="{FF2B5EF4-FFF2-40B4-BE49-F238E27FC236}">
                <a16:creationId xmlns:a16="http://schemas.microsoft.com/office/drawing/2014/main" xmlns="" id="{1A867D7A-E601-4058-A09F-D79EFCC38306}"/>
              </a:ext>
            </a:extLst>
          </p:cNvPr>
          <p:cNvSpPr/>
          <p:nvPr/>
        </p:nvSpPr>
        <p:spPr>
          <a:xfrm>
            <a:off x="6594945" y="2624128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24" name="Oval 179">
            <a:extLst>
              <a:ext uri="{FF2B5EF4-FFF2-40B4-BE49-F238E27FC236}">
                <a16:creationId xmlns:a16="http://schemas.microsoft.com/office/drawing/2014/main" xmlns="" id="{D13B58C5-7785-42B2-9598-AEA1FBBAEE72}"/>
              </a:ext>
            </a:extLst>
          </p:cNvPr>
          <p:cNvSpPr/>
          <p:nvPr/>
        </p:nvSpPr>
        <p:spPr>
          <a:xfrm>
            <a:off x="6594945" y="2762297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25" name="Oval 181">
            <a:extLst>
              <a:ext uri="{FF2B5EF4-FFF2-40B4-BE49-F238E27FC236}">
                <a16:creationId xmlns:a16="http://schemas.microsoft.com/office/drawing/2014/main" xmlns="" id="{61015860-6A32-487C-AC2B-E4938BD16EAA}"/>
              </a:ext>
            </a:extLst>
          </p:cNvPr>
          <p:cNvSpPr/>
          <p:nvPr/>
        </p:nvSpPr>
        <p:spPr>
          <a:xfrm>
            <a:off x="6594945" y="3038636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26" name="Oval 183">
            <a:extLst>
              <a:ext uri="{FF2B5EF4-FFF2-40B4-BE49-F238E27FC236}">
                <a16:creationId xmlns:a16="http://schemas.microsoft.com/office/drawing/2014/main" xmlns="" id="{95F4D1F2-A537-4914-8D48-FB8112AA027A}"/>
              </a:ext>
            </a:extLst>
          </p:cNvPr>
          <p:cNvSpPr/>
          <p:nvPr/>
        </p:nvSpPr>
        <p:spPr>
          <a:xfrm>
            <a:off x="6594945" y="3314974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27" name="Oval 184">
            <a:extLst>
              <a:ext uri="{FF2B5EF4-FFF2-40B4-BE49-F238E27FC236}">
                <a16:creationId xmlns:a16="http://schemas.microsoft.com/office/drawing/2014/main" xmlns="" id="{61348584-9499-430C-87C9-0E573245E50E}"/>
              </a:ext>
            </a:extLst>
          </p:cNvPr>
          <p:cNvSpPr/>
          <p:nvPr/>
        </p:nvSpPr>
        <p:spPr>
          <a:xfrm>
            <a:off x="6594945" y="3453143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28" name="Oval 186">
            <a:extLst>
              <a:ext uri="{FF2B5EF4-FFF2-40B4-BE49-F238E27FC236}">
                <a16:creationId xmlns:a16="http://schemas.microsoft.com/office/drawing/2014/main" xmlns="" id="{9B7E63F5-FC8D-4B0F-84E2-2E85BDF6B2BA}"/>
              </a:ext>
            </a:extLst>
          </p:cNvPr>
          <p:cNvSpPr/>
          <p:nvPr/>
        </p:nvSpPr>
        <p:spPr>
          <a:xfrm>
            <a:off x="6594945" y="3729482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29" name="Oval 187">
            <a:extLst>
              <a:ext uri="{FF2B5EF4-FFF2-40B4-BE49-F238E27FC236}">
                <a16:creationId xmlns:a16="http://schemas.microsoft.com/office/drawing/2014/main" xmlns="" id="{DEE6EA26-47B3-4BDD-8F90-6D1BF18840AC}"/>
              </a:ext>
            </a:extLst>
          </p:cNvPr>
          <p:cNvSpPr/>
          <p:nvPr/>
        </p:nvSpPr>
        <p:spPr>
          <a:xfrm>
            <a:off x="6594945" y="3867651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30" name="Oval 189">
            <a:extLst>
              <a:ext uri="{FF2B5EF4-FFF2-40B4-BE49-F238E27FC236}">
                <a16:creationId xmlns:a16="http://schemas.microsoft.com/office/drawing/2014/main" xmlns="" id="{EF4D86AF-0D63-4204-8BE5-9ADDBB7EA76F}"/>
              </a:ext>
            </a:extLst>
          </p:cNvPr>
          <p:cNvSpPr/>
          <p:nvPr/>
        </p:nvSpPr>
        <p:spPr>
          <a:xfrm>
            <a:off x="6594945" y="4143989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31" name="Oval 190">
            <a:extLst>
              <a:ext uri="{FF2B5EF4-FFF2-40B4-BE49-F238E27FC236}">
                <a16:creationId xmlns:a16="http://schemas.microsoft.com/office/drawing/2014/main" xmlns="" id="{1C75254E-FA84-45E7-978A-1E73107D52DF}"/>
              </a:ext>
            </a:extLst>
          </p:cNvPr>
          <p:cNvSpPr/>
          <p:nvPr/>
        </p:nvSpPr>
        <p:spPr>
          <a:xfrm>
            <a:off x="6594945" y="4282159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32" name="Oval 192">
            <a:extLst>
              <a:ext uri="{FF2B5EF4-FFF2-40B4-BE49-F238E27FC236}">
                <a16:creationId xmlns:a16="http://schemas.microsoft.com/office/drawing/2014/main" xmlns="" id="{1B85A080-34FE-4B3D-9ABD-0B556F9BCB2A}"/>
              </a:ext>
            </a:extLst>
          </p:cNvPr>
          <p:cNvSpPr/>
          <p:nvPr/>
        </p:nvSpPr>
        <p:spPr>
          <a:xfrm>
            <a:off x="6594945" y="4558497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33" name="Oval 193">
            <a:extLst>
              <a:ext uri="{FF2B5EF4-FFF2-40B4-BE49-F238E27FC236}">
                <a16:creationId xmlns:a16="http://schemas.microsoft.com/office/drawing/2014/main" xmlns="" id="{52305542-6FE2-4C67-BB0D-50101D382B39}"/>
              </a:ext>
            </a:extLst>
          </p:cNvPr>
          <p:cNvSpPr/>
          <p:nvPr/>
        </p:nvSpPr>
        <p:spPr>
          <a:xfrm>
            <a:off x="6594945" y="4696666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34" name="Oval 195">
            <a:extLst>
              <a:ext uri="{FF2B5EF4-FFF2-40B4-BE49-F238E27FC236}">
                <a16:creationId xmlns:a16="http://schemas.microsoft.com/office/drawing/2014/main" xmlns="" id="{A652065D-583C-4D64-AE80-1CF19DE01A37}"/>
              </a:ext>
            </a:extLst>
          </p:cNvPr>
          <p:cNvSpPr/>
          <p:nvPr/>
        </p:nvSpPr>
        <p:spPr>
          <a:xfrm>
            <a:off x="6594945" y="4973004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35" name="Oval 196">
            <a:extLst>
              <a:ext uri="{FF2B5EF4-FFF2-40B4-BE49-F238E27FC236}">
                <a16:creationId xmlns:a16="http://schemas.microsoft.com/office/drawing/2014/main" xmlns="" id="{D65CF70C-3485-48F4-B4DB-C30160CE404B}"/>
              </a:ext>
            </a:extLst>
          </p:cNvPr>
          <p:cNvSpPr/>
          <p:nvPr/>
        </p:nvSpPr>
        <p:spPr>
          <a:xfrm>
            <a:off x="6594945" y="1524348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36" name="Oval 196">
            <a:extLst>
              <a:ext uri="{FF2B5EF4-FFF2-40B4-BE49-F238E27FC236}">
                <a16:creationId xmlns:a16="http://schemas.microsoft.com/office/drawing/2014/main" xmlns="" id="{4141D4F6-8772-4DA5-8C59-E6F3A8E4F415}"/>
              </a:ext>
            </a:extLst>
          </p:cNvPr>
          <p:cNvSpPr/>
          <p:nvPr/>
        </p:nvSpPr>
        <p:spPr>
          <a:xfrm>
            <a:off x="6594945" y="1401146"/>
            <a:ext cx="178845" cy="118431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23" tIns="25123" rIns="25123" bIns="25123" rtlCol="0" anchor="ctr"/>
          <a:lstStyle/>
          <a:p>
            <a:pPr algn="ctr" defTabSz="895743"/>
            <a:endParaRPr lang="en-US" sz="882" dirty="0">
              <a:solidFill>
                <a:prstClr val="black"/>
              </a:solidFill>
            </a:endParaRPr>
          </a:p>
        </p:txBody>
      </p:sp>
      <p:sp>
        <p:nvSpPr>
          <p:cNvPr id="237" name="TextBox 202">
            <a:extLst>
              <a:ext uri="{FF2B5EF4-FFF2-40B4-BE49-F238E27FC236}">
                <a16:creationId xmlns:a16="http://schemas.microsoft.com/office/drawing/2014/main" xmlns="" id="{3A16981F-A4C6-4538-86F6-D18753D79112}"/>
              </a:ext>
            </a:extLst>
          </p:cNvPr>
          <p:cNvSpPr txBox="1"/>
          <p:nvPr/>
        </p:nvSpPr>
        <p:spPr>
          <a:xfrm>
            <a:off x="6493339" y="5141312"/>
            <a:ext cx="434333" cy="308657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b="1" dirty="0">
                <a:solidFill>
                  <a:prstClr val="black"/>
                </a:solidFill>
                <a:latin typeface="+mj-lt"/>
              </a:rPr>
              <a:t>2017</a:t>
            </a:r>
            <a:endParaRPr lang="en-US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238" name="Retângulo 237">
            <a:extLst>
              <a:ext uri="{FF2B5EF4-FFF2-40B4-BE49-F238E27FC236}">
                <a16:creationId xmlns:a16="http://schemas.microsoft.com/office/drawing/2014/main" xmlns="" id="{B451F2A5-72D4-405C-9601-3DB75D640CF9}"/>
              </a:ext>
            </a:extLst>
          </p:cNvPr>
          <p:cNvSpPr/>
          <p:nvPr/>
        </p:nvSpPr>
        <p:spPr>
          <a:xfrm>
            <a:off x="6329867" y="5455108"/>
            <a:ext cx="1214383" cy="6632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2"/>
                </a:solidFill>
              </a:rPr>
              <a:t>26% integrais</a:t>
            </a:r>
          </a:p>
          <a:p>
            <a:pPr algn="ctr"/>
            <a:r>
              <a:rPr lang="pt-BR" sz="1400" dirty="0">
                <a:solidFill>
                  <a:schemeClr val="tx2"/>
                </a:solidFill>
              </a:rPr>
              <a:t>21% semi</a:t>
            </a:r>
          </a:p>
          <a:p>
            <a:pPr algn="ctr"/>
            <a:r>
              <a:rPr lang="pt-BR" sz="1400" dirty="0">
                <a:solidFill>
                  <a:schemeClr val="tx2"/>
                </a:solidFill>
              </a:rPr>
              <a:t>53% parciais</a:t>
            </a:r>
          </a:p>
        </p:txBody>
      </p:sp>
      <p:sp>
        <p:nvSpPr>
          <p:cNvPr id="240" name="TextBox 220">
            <a:extLst>
              <a:ext uri="{FF2B5EF4-FFF2-40B4-BE49-F238E27FC236}">
                <a16:creationId xmlns:a16="http://schemas.microsoft.com/office/drawing/2014/main" xmlns="" id="{927E77FF-774B-4E5E-9BAB-1A0290C54E5D}"/>
              </a:ext>
            </a:extLst>
          </p:cNvPr>
          <p:cNvSpPr txBox="1"/>
          <p:nvPr/>
        </p:nvSpPr>
        <p:spPr>
          <a:xfrm>
            <a:off x="6803033" y="1575053"/>
            <a:ext cx="243576" cy="339435"/>
          </a:xfrm>
          <a:prstGeom prst="rect">
            <a:avLst/>
          </a:prstGeom>
          <a:noFill/>
        </p:spPr>
        <p:txBody>
          <a:bodyPr wrap="none" lIns="30916" tIns="30916" rIns="30916" bIns="30916" rtlCol="0">
            <a:spAutoFit/>
          </a:bodyPr>
          <a:lstStyle/>
          <a:p>
            <a:pPr defTabSz="895743"/>
            <a:r>
              <a:rPr lang="pt-BR" sz="180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3º</a:t>
            </a:r>
            <a:endParaRPr lang="en-US" sz="18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xmlns="" id="{D1BD8962-7548-4464-82B6-24D5C4CA5C48}"/>
              </a:ext>
            </a:extLst>
          </p:cNvPr>
          <p:cNvSpPr/>
          <p:nvPr/>
        </p:nvSpPr>
        <p:spPr>
          <a:xfrm>
            <a:off x="7085765" y="1933282"/>
            <a:ext cx="1749807" cy="2119257"/>
          </a:xfrm>
          <a:prstGeom prst="roundRect">
            <a:avLst/>
          </a:prstGeom>
          <a:solidFill>
            <a:srgbClr val="FEC450"/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xmlns="" id="{53B1FF75-CB1C-4F8C-9BA1-7B9C08907621}"/>
              </a:ext>
            </a:extLst>
          </p:cNvPr>
          <p:cNvSpPr txBox="1"/>
          <p:nvPr/>
        </p:nvSpPr>
        <p:spPr>
          <a:xfrm>
            <a:off x="7091989" y="2057076"/>
            <a:ext cx="174358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tx2"/>
                </a:solidFill>
                <a:latin typeface="+mn-lt"/>
              </a:rPr>
              <a:t>Em 2017, PE  apresentou a menor taxa de evasão do Brasil no ensino médio (1.5%). A média nacional é de 6.9%</a:t>
            </a:r>
          </a:p>
          <a:p>
            <a:pPr algn="ctr"/>
            <a:r>
              <a:rPr lang="pt-BR" dirty="0"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0524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xmlns="" id="{4578994C-1AFF-4F57-910B-CB4A094A3E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919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Slide do think-cell" r:id="rId6" imgW="421" imgH="423" progId="TCLayout.ActiveDocument.1">
                  <p:embed/>
                </p:oleObj>
              </mc:Choice>
              <mc:Fallback>
                <p:oleObj name="Slide do think-cell" r:id="rId6" imgW="421" imgH="423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xmlns="" id="{4578994C-1AFF-4F57-910B-CB4A094A3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xmlns="" id="{032F30CB-9AE9-4A75-8B7C-E84E7E6593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352" dirty="0">
              <a:latin typeface="Gill Sans"/>
              <a:ea typeface="+mj-ea"/>
              <a:sym typeface="Gill Sans"/>
            </a:endParaRPr>
          </a:p>
        </p:txBody>
      </p:sp>
      <p:sp>
        <p:nvSpPr>
          <p:cNvPr id="178" name="Title 1"/>
          <p:cNvSpPr>
            <a:spLocks noGrp="1"/>
          </p:cNvSpPr>
          <p:nvPr>
            <p:ph type="ctrTitle"/>
          </p:nvPr>
        </p:nvSpPr>
        <p:spPr>
          <a:xfrm>
            <a:off x="363707" y="275358"/>
            <a:ext cx="8524948" cy="528182"/>
          </a:xfrm>
        </p:spPr>
        <p:txBody>
          <a:bodyPr>
            <a:noAutofit/>
          </a:bodyPr>
          <a:lstStyle/>
          <a:p>
            <a:r>
              <a:rPr lang="pt-BR" dirty="0"/>
              <a:t>AS ESCOLAS INTEGRAIS DE PERNAMBUCO EM NÚMEROS</a:t>
            </a:r>
          </a:p>
        </p:txBody>
      </p:sp>
      <p:sp>
        <p:nvSpPr>
          <p:cNvPr id="536" name="CaixaDeTexto 535"/>
          <p:cNvSpPr txBox="1"/>
          <p:nvPr/>
        </p:nvSpPr>
        <p:spPr>
          <a:xfrm>
            <a:off x="406131" y="6343775"/>
            <a:ext cx="60892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pt-BR" dirty="0">
                <a:solidFill>
                  <a:schemeClr val="tx2"/>
                </a:solidFill>
              </a:rPr>
              <a:t>Fonte: Secretaria Estadual de PE</a:t>
            </a:r>
          </a:p>
        </p:txBody>
      </p:sp>
      <p:sp>
        <p:nvSpPr>
          <p:cNvPr id="537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3404469" y="6391660"/>
            <a:ext cx="2091002" cy="279638"/>
          </a:xfrm>
        </p:spPr>
        <p:txBody>
          <a:bodyPr/>
          <a:lstStyle/>
          <a:p>
            <a:fld id="{54E26E91-FA1B-6245-924D-A20CF7519F8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xmlns="" id="{7F652702-2D97-41ED-BC05-9296FD411603}"/>
              </a:ext>
            </a:extLst>
          </p:cNvPr>
          <p:cNvSpPr/>
          <p:nvPr/>
        </p:nvSpPr>
        <p:spPr>
          <a:xfrm>
            <a:off x="406131" y="932635"/>
            <a:ext cx="8151015" cy="811583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381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1600" b="1" dirty="0">
                <a:solidFill>
                  <a:srgbClr val="FFFFFF"/>
                </a:solidFill>
              </a:rPr>
              <a:t>Atualmente, 389 escolas de Pernambuco adotam a jornada ampliada de no mínimo 7h que representa 49% das escolas de Ensino Médio</a:t>
            </a:r>
            <a:r>
              <a:rPr lang="pt-BR" b="1" dirty="0">
                <a:solidFill>
                  <a:srgbClr val="FFFFFF"/>
                </a:solidFill>
              </a:rPr>
              <a:t>.</a:t>
            </a:r>
            <a:endParaRPr lang="pt-BR" sz="1600" dirty="0">
              <a:solidFill>
                <a:srgbClr val="FFFFFF"/>
              </a:solidFill>
            </a:endParaRPr>
          </a:p>
        </p:txBody>
      </p:sp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xmlns="" id="{EBBB0F1E-52FE-4583-BCE9-B48E144B7B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4083453"/>
              </p:ext>
            </p:extLst>
          </p:nvPr>
        </p:nvGraphicFramePr>
        <p:xfrm>
          <a:off x="641445" y="2258815"/>
          <a:ext cx="7656394" cy="37052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4" name="CaixaDeTexto 3">
            <a:extLst>
              <a:ext uri="{FF2B5EF4-FFF2-40B4-BE49-F238E27FC236}">
                <a16:creationId xmlns:a16="http://schemas.microsoft.com/office/drawing/2014/main" xmlns="" id="{90823A48-365F-4763-9D26-3DD5AFA91416}"/>
              </a:ext>
            </a:extLst>
          </p:cNvPr>
          <p:cNvSpPr txBox="1"/>
          <p:nvPr/>
        </p:nvSpPr>
        <p:spPr>
          <a:xfrm>
            <a:off x="649541" y="3533325"/>
            <a:ext cx="150125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5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1%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xmlns="" id="{14E17FC1-1C8D-41B9-B6DF-7001D902AE20}"/>
              </a:ext>
            </a:extLst>
          </p:cNvPr>
          <p:cNvSpPr txBox="1"/>
          <p:nvPr/>
        </p:nvSpPr>
        <p:spPr>
          <a:xfrm>
            <a:off x="2599250" y="3056271"/>
            <a:ext cx="150125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5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5%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xmlns="" id="{3F057CE3-CD09-4954-B096-58D725989BF9}"/>
              </a:ext>
            </a:extLst>
          </p:cNvPr>
          <p:cNvSpPr txBox="1"/>
          <p:nvPr/>
        </p:nvSpPr>
        <p:spPr>
          <a:xfrm>
            <a:off x="4548959" y="2580664"/>
            <a:ext cx="150125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5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21%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A9B3E3ED-29EA-4F60-A26C-3F1DB57C42C1}"/>
              </a:ext>
            </a:extLst>
          </p:cNvPr>
          <p:cNvSpPr txBox="1"/>
          <p:nvPr/>
        </p:nvSpPr>
        <p:spPr>
          <a:xfrm>
            <a:off x="6481778" y="2087855"/>
            <a:ext cx="150125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5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22%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A9AB297E-57FF-4E1F-91CF-6CD1E5DF6B7E}"/>
              </a:ext>
            </a:extLst>
          </p:cNvPr>
          <p:cNvSpPr txBox="1"/>
          <p:nvPr/>
        </p:nvSpPr>
        <p:spPr>
          <a:xfrm>
            <a:off x="813314" y="4859286"/>
            <a:ext cx="178593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2 turnos de 7hs/dia (7hs-14hs e 14h30 – 20h40)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xmlns="" id="{A3447B4B-3FA9-4EC6-AAC4-E1261A83F19F}"/>
              </a:ext>
            </a:extLst>
          </p:cNvPr>
          <p:cNvSpPr txBox="1"/>
          <p:nvPr/>
        </p:nvSpPr>
        <p:spPr>
          <a:xfrm>
            <a:off x="2784767" y="4386538"/>
            <a:ext cx="17859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9hs/ dia</a:t>
            </a:r>
          </a:p>
          <a:p>
            <a:r>
              <a:rPr lang="pt-BR" sz="15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Turno único 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1042EC71-7DB1-457D-A6FB-9C763534A4D8}"/>
              </a:ext>
            </a:extLst>
          </p:cNvPr>
          <p:cNvSpPr txBox="1"/>
          <p:nvPr/>
        </p:nvSpPr>
        <p:spPr>
          <a:xfrm>
            <a:off x="4756574" y="3630695"/>
            <a:ext cx="17859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7hs/ dia</a:t>
            </a:r>
          </a:p>
          <a:p>
            <a:r>
              <a:rPr lang="pt-BR" sz="15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Turno único 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xmlns="" id="{C9791936-3219-4419-A182-254C66F516CA}"/>
              </a:ext>
            </a:extLst>
          </p:cNvPr>
          <p:cNvSpPr txBox="1"/>
          <p:nvPr/>
        </p:nvSpPr>
        <p:spPr>
          <a:xfrm>
            <a:off x="6694333" y="2779272"/>
            <a:ext cx="17859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Integrais 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xmlns="" id="{0717D6FB-EF84-4D41-B5CB-7A89930B97D4}"/>
              </a:ext>
            </a:extLst>
          </p:cNvPr>
          <p:cNvSpPr txBox="1"/>
          <p:nvPr/>
        </p:nvSpPr>
        <p:spPr>
          <a:xfrm>
            <a:off x="6736131" y="3141646"/>
            <a:ext cx="17859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9hs/ dia</a:t>
            </a:r>
          </a:p>
          <a:p>
            <a:r>
              <a:rPr lang="pt-BR" sz="15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Turno único </a:t>
            </a:r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xmlns="" id="{4FE906C3-E97B-42B5-B711-4839D901DF53}"/>
              </a:ext>
            </a:extLst>
          </p:cNvPr>
          <p:cNvSpPr/>
          <p:nvPr/>
        </p:nvSpPr>
        <p:spPr>
          <a:xfrm>
            <a:off x="5336610" y="4757670"/>
            <a:ext cx="3220536" cy="113154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381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b="1" dirty="0">
                <a:solidFill>
                  <a:srgbClr val="FFFFFF"/>
                </a:solidFill>
              </a:rPr>
              <a:t>Para 2019, estão previstas mais 16 escolas integrais (15 integrais e 1 técnica), totalizando 53% da rede estadual de Pernambuco </a:t>
            </a:r>
            <a:endParaRPr lang="pt-BR" sz="1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8770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4A6CBC0-1AC4-4A50-9328-20E195DBED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IDEB 2017 DE Pernambuco, dividido por grupos de escolas 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xmlns="" id="{14D94BBE-8A6A-4363-8DB8-7CD41B26EE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31895" y="6520094"/>
            <a:ext cx="2091002" cy="279638"/>
          </a:xfrm>
        </p:spPr>
        <p:txBody>
          <a:bodyPr/>
          <a:lstStyle/>
          <a:p>
            <a:fld id="{54E26E91-FA1B-6245-924D-A20CF7519F85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22" name="Gráfico 21">
            <a:extLst>
              <a:ext uri="{FF2B5EF4-FFF2-40B4-BE49-F238E27FC236}">
                <a16:creationId xmlns:a16="http://schemas.microsoft.com/office/drawing/2014/main" xmlns="" id="{604BC019-179F-4FC5-BF2A-84884746BF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9961912"/>
              </p:ext>
            </p:extLst>
          </p:nvPr>
        </p:nvGraphicFramePr>
        <p:xfrm>
          <a:off x="167191" y="1253878"/>
          <a:ext cx="7172461" cy="4505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Seta: Curva para Baixo 22">
            <a:extLst>
              <a:ext uri="{FF2B5EF4-FFF2-40B4-BE49-F238E27FC236}">
                <a16:creationId xmlns:a16="http://schemas.microsoft.com/office/drawing/2014/main" xmlns="" id="{910EDAEE-5B89-4DFF-8CF3-759F6A30748A}"/>
              </a:ext>
            </a:extLst>
          </p:cNvPr>
          <p:cNvSpPr/>
          <p:nvPr/>
        </p:nvSpPr>
        <p:spPr>
          <a:xfrm rot="21137526">
            <a:off x="1253808" y="2930314"/>
            <a:ext cx="1008927" cy="389883"/>
          </a:xfrm>
          <a:prstGeom prst="curved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76" dirty="0">
              <a:solidFill>
                <a:schemeClr val="tx1"/>
              </a:solidFill>
            </a:endParaRP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xmlns="" id="{8D94BAE2-6E8B-4D1B-8634-EB55A3818238}"/>
              </a:ext>
            </a:extLst>
          </p:cNvPr>
          <p:cNvSpPr txBox="1"/>
          <p:nvPr/>
        </p:nvSpPr>
        <p:spPr>
          <a:xfrm>
            <a:off x="1329088" y="2552643"/>
            <a:ext cx="63619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00" b="1" dirty="0">
                <a:solidFill>
                  <a:schemeClr val="accent4"/>
                </a:solidFill>
                <a:latin typeface="+mj-lt"/>
              </a:rPr>
              <a:t>+ 0.4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xmlns="" id="{34147608-7A52-48C8-895D-648502334658}"/>
              </a:ext>
            </a:extLst>
          </p:cNvPr>
          <p:cNvSpPr txBox="1"/>
          <p:nvPr/>
        </p:nvSpPr>
        <p:spPr>
          <a:xfrm>
            <a:off x="2538947" y="2118869"/>
            <a:ext cx="65714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00" b="1" dirty="0">
                <a:solidFill>
                  <a:schemeClr val="accent4"/>
                </a:solidFill>
                <a:latin typeface="+mj-lt"/>
              </a:rPr>
              <a:t>+ 0.4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xmlns="" id="{AB6339A3-EC28-4114-A844-2994A02B682B}"/>
              </a:ext>
            </a:extLst>
          </p:cNvPr>
          <p:cNvSpPr txBox="1"/>
          <p:nvPr/>
        </p:nvSpPr>
        <p:spPr>
          <a:xfrm>
            <a:off x="5532899" y="1051587"/>
            <a:ext cx="65714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00" b="1" dirty="0">
                <a:solidFill>
                  <a:schemeClr val="accent4"/>
                </a:solidFill>
                <a:latin typeface="+mj-lt"/>
              </a:rPr>
              <a:t>+ 0.5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F0277451-3A95-486E-A355-011A804B38FF}"/>
              </a:ext>
            </a:extLst>
          </p:cNvPr>
          <p:cNvSpPr txBox="1"/>
          <p:nvPr/>
        </p:nvSpPr>
        <p:spPr>
          <a:xfrm>
            <a:off x="4110953" y="1571070"/>
            <a:ext cx="65714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00" b="1" dirty="0">
                <a:solidFill>
                  <a:schemeClr val="accent4"/>
                </a:solidFill>
                <a:latin typeface="+mj-lt"/>
              </a:rPr>
              <a:t>+ 0.5</a:t>
            </a:r>
          </a:p>
        </p:txBody>
      </p:sp>
      <p:sp>
        <p:nvSpPr>
          <p:cNvPr id="31" name="Seta: Curva para Baixo 30">
            <a:extLst>
              <a:ext uri="{FF2B5EF4-FFF2-40B4-BE49-F238E27FC236}">
                <a16:creationId xmlns:a16="http://schemas.microsoft.com/office/drawing/2014/main" xmlns="" id="{02EF59FC-6A10-4068-A2A1-C0984CF020A4}"/>
              </a:ext>
            </a:extLst>
          </p:cNvPr>
          <p:cNvSpPr/>
          <p:nvPr/>
        </p:nvSpPr>
        <p:spPr>
          <a:xfrm rot="21137526">
            <a:off x="2560536" y="2460150"/>
            <a:ext cx="1008927" cy="389883"/>
          </a:xfrm>
          <a:prstGeom prst="curved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76" dirty="0">
              <a:solidFill>
                <a:schemeClr val="tx1"/>
              </a:solidFill>
            </a:endParaRPr>
          </a:p>
        </p:txBody>
      </p:sp>
      <p:sp>
        <p:nvSpPr>
          <p:cNvPr id="32" name="Seta: Curva para Baixo 31">
            <a:extLst>
              <a:ext uri="{FF2B5EF4-FFF2-40B4-BE49-F238E27FC236}">
                <a16:creationId xmlns:a16="http://schemas.microsoft.com/office/drawing/2014/main" xmlns="" id="{C86791D6-19D8-4941-9B80-D5210C7B1C6F}"/>
              </a:ext>
            </a:extLst>
          </p:cNvPr>
          <p:cNvSpPr/>
          <p:nvPr/>
        </p:nvSpPr>
        <p:spPr>
          <a:xfrm rot="21137526">
            <a:off x="3723331" y="1886865"/>
            <a:ext cx="1326489" cy="389883"/>
          </a:xfrm>
          <a:prstGeom prst="curved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0" dirty="0">
              <a:solidFill>
                <a:schemeClr val="tx1"/>
              </a:solidFill>
            </a:endParaRPr>
          </a:p>
        </p:txBody>
      </p:sp>
      <p:sp>
        <p:nvSpPr>
          <p:cNvPr id="33" name="Seta: Curva para Baixo 32">
            <a:extLst>
              <a:ext uri="{FF2B5EF4-FFF2-40B4-BE49-F238E27FC236}">
                <a16:creationId xmlns:a16="http://schemas.microsoft.com/office/drawing/2014/main" xmlns="" id="{B3D3486E-052A-47FA-9E36-CFFAC94D5AAA}"/>
              </a:ext>
            </a:extLst>
          </p:cNvPr>
          <p:cNvSpPr/>
          <p:nvPr/>
        </p:nvSpPr>
        <p:spPr>
          <a:xfrm rot="21137526">
            <a:off x="5243042" y="1345949"/>
            <a:ext cx="1326489" cy="389883"/>
          </a:xfrm>
          <a:prstGeom prst="curved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0" dirty="0">
              <a:solidFill>
                <a:schemeClr val="tx1"/>
              </a:solidFill>
            </a:endParaRP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xmlns="" id="{FA9D8666-5E4C-4CE2-AECC-2774C3C71414}"/>
              </a:ext>
            </a:extLst>
          </p:cNvPr>
          <p:cNvSpPr txBox="1"/>
          <p:nvPr/>
        </p:nvSpPr>
        <p:spPr>
          <a:xfrm>
            <a:off x="7230708" y="5250389"/>
            <a:ext cx="1213345" cy="64633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tx2"/>
                </a:solidFill>
                <a:latin typeface="+mj-lt"/>
              </a:rPr>
              <a:t>78% das escolas de PE tiveram IDEB calculado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xmlns="" id="{8697D1B2-BCA8-4D6C-AC66-BD622DDFCA5D}"/>
              </a:ext>
            </a:extLst>
          </p:cNvPr>
          <p:cNvSpPr txBox="1"/>
          <p:nvPr/>
        </p:nvSpPr>
        <p:spPr>
          <a:xfrm>
            <a:off x="7230708" y="4973390"/>
            <a:ext cx="1213345" cy="27699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chemeClr val="tx2"/>
                </a:solidFill>
                <a:latin typeface="Berlin Sans FB Demi" panose="020E0802020502020306" pitchFamily="34" charset="0"/>
              </a:rPr>
              <a:t>Obs: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xmlns="" id="{E470649B-4919-4E69-A572-E867CB4D6F8F}"/>
              </a:ext>
            </a:extLst>
          </p:cNvPr>
          <p:cNvSpPr txBox="1"/>
          <p:nvPr/>
        </p:nvSpPr>
        <p:spPr>
          <a:xfrm>
            <a:off x="18720" y="6461206"/>
            <a:ext cx="60892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pt-BR" dirty="0">
                <a:solidFill>
                  <a:schemeClr val="tx2"/>
                </a:solidFill>
              </a:rPr>
              <a:t>Fonte: INEP | IDEB 2017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xmlns="" id="{A2E27C74-DD07-4BF9-B367-8227C1218D1C}"/>
              </a:ext>
            </a:extLst>
          </p:cNvPr>
          <p:cNvSpPr txBox="1"/>
          <p:nvPr/>
        </p:nvSpPr>
        <p:spPr>
          <a:xfrm>
            <a:off x="-17174" y="5463887"/>
            <a:ext cx="91197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dirty="0">
                <a:solidFill>
                  <a:schemeClr val="accent4"/>
                </a:solidFill>
                <a:latin typeface="+mj-lt"/>
              </a:rPr>
              <a:t># escolas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xmlns="" id="{236B43D9-9D65-48C3-A157-B574F2FABCC0}"/>
              </a:ext>
            </a:extLst>
          </p:cNvPr>
          <p:cNvSpPr txBox="1"/>
          <p:nvPr/>
        </p:nvSpPr>
        <p:spPr>
          <a:xfrm>
            <a:off x="853523" y="5464716"/>
            <a:ext cx="61818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dirty="0">
                <a:solidFill>
                  <a:schemeClr val="accent4"/>
                </a:solidFill>
                <a:latin typeface="+mj-lt"/>
              </a:rPr>
              <a:t>269</a:t>
            </a: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xmlns="" id="{E91F24CC-F169-483A-90B7-29B7ED03F36D}"/>
              </a:ext>
            </a:extLst>
          </p:cNvPr>
          <p:cNvSpPr txBox="1"/>
          <p:nvPr/>
        </p:nvSpPr>
        <p:spPr>
          <a:xfrm>
            <a:off x="2331342" y="5484126"/>
            <a:ext cx="61818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dirty="0">
                <a:solidFill>
                  <a:schemeClr val="accent4"/>
                </a:solidFill>
                <a:latin typeface="+mj-lt"/>
              </a:rPr>
              <a:t>163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xmlns="" id="{2C133ABD-7550-4263-BB92-1AD9BFE9085B}"/>
              </a:ext>
            </a:extLst>
          </p:cNvPr>
          <p:cNvSpPr txBox="1"/>
          <p:nvPr/>
        </p:nvSpPr>
        <p:spPr>
          <a:xfrm>
            <a:off x="3565297" y="5489184"/>
            <a:ext cx="61818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dirty="0">
                <a:solidFill>
                  <a:schemeClr val="accent4"/>
                </a:solidFill>
                <a:latin typeface="+mj-lt"/>
              </a:rPr>
              <a:t>156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xmlns="" id="{5416478D-BDEC-4D94-A75A-2E4E409165B2}"/>
              </a:ext>
            </a:extLst>
          </p:cNvPr>
          <p:cNvSpPr txBox="1"/>
          <p:nvPr/>
        </p:nvSpPr>
        <p:spPr>
          <a:xfrm>
            <a:off x="4891654" y="5489184"/>
            <a:ext cx="61818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dirty="0">
                <a:solidFill>
                  <a:schemeClr val="accent4"/>
                </a:solidFill>
                <a:latin typeface="+mj-lt"/>
              </a:rPr>
              <a:t>29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xmlns="" id="{D2A16B35-78E9-4D5C-B866-A908A3D94602}"/>
              </a:ext>
            </a:extLst>
          </p:cNvPr>
          <p:cNvSpPr txBox="1"/>
          <p:nvPr/>
        </p:nvSpPr>
        <p:spPr>
          <a:xfrm>
            <a:off x="6134273" y="5487500"/>
            <a:ext cx="61818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dirty="0">
                <a:solidFill>
                  <a:schemeClr val="accent4"/>
                </a:solidFill>
                <a:latin typeface="+mj-lt"/>
              </a:rPr>
              <a:t>28</a:t>
            </a: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xmlns="" id="{D326BD37-84C3-47F9-BC48-A730A0240E23}"/>
              </a:ext>
            </a:extLst>
          </p:cNvPr>
          <p:cNvCxnSpPr/>
          <p:nvPr/>
        </p:nvCxnSpPr>
        <p:spPr>
          <a:xfrm flipV="1">
            <a:off x="310376" y="3916912"/>
            <a:ext cx="7884000" cy="0"/>
          </a:xfrm>
          <a:prstGeom prst="line">
            <a:avLst/>
          </a:prstGeom>
          <a:ln>
            <a:solidFill>
              <a:srgbClr val="FEC450"/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CaixaDeTexto 27">
            <a:extLst>
              <a:ext uri="{FF2B5EF4-FFF2-40B4-BE49-F238E27FC236}">
                <a16:creationId xmlns:a16="http://schemas.microsoft.com/office/drawing/2014/main" xmlns="" id="{01219D08-7A81-4947-814C-18DAD3D63D8A}"/>
              </a:ext>
            </a:extLst>
          </p:cNvPr>
          <p:cNvSpPr txBox="1"/>
          <p:nvPr/>
        </p:nvSpPr>
        <p:spPr>
          <a:xfrm>
            <a:off x="7205010" y="3616063"/>
            <a:ext cx="162317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dirty="0">
                <a:solidFill>
                  <a:schemeClr val="accent4"/>
                </a:solidFill>
                <a:latin typeface="+mj-lt"/>
              </a:rPr>
              <a:t>Média IDEB Brasil 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xmlns="" id="{83B48FFE-23A2-46E6-87E5-1E30E5DDB8B8}"/>
              </a:ext>
            </a:extLst>
          </p:cNvPr>
          <p:cNvSpPr txBox="1"/>
          <p:nvPr/>
        </p:nvSpPr>
        <p:spPr>
          <a:xfrm>
            <a:off x="7336659" y="3899545"/>
            <a:ext cx="162317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dirty="0">
                <a:solidFill>
                  <a:schemeClr val="accent4"/>
                </a:solidFill>
                <a:latin typeface="+mj-lt"/>
              </a:rPr>
              <a:t>3,5</a:t>
            </a:r>
          </a:p>
        </p:txBody>
      </p:sp>
    </p:spTree>
    <p:extLst>
      <p:ext uri="{BB962C8B-B14F-4D97-AF65-F5344CB8AC3E}">
        <p14:creationId xmlns:p14="http://schemas.microsoft.com/office/powerpoint/2010/main" val="1619762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3707" y="139340"/>
            <a:ext cx="8227378" cy="528182"/>
          </a:xfrm>
        </p:spPr>
        <p:txBody>
          <a:bodyPr rtlCol="0">
            <a:noAutofit/>
          </a:bodyPr>
          <a:lstStyle/>
          <a:p>
            <a:pPr rtl="0"/>
            <a:r>
              <a:rPr lang="pt-BR" sz="2350" dirty="0">
                <a:solidFill>
                  <a:schemeClr val="tx2"/>
                </a:solidFill>
              </a:rPr>
              <a:t>Principais características de algumas análises de impacto realizadas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4E26E91-FA1B-6245-924D-A20CF7519F85}" type="slidenum">
              <a:rPr kumimoji="0" lang="en-US" sz="1176" b="0" i="0" u="none" strike="noStrike" kern="1200" cap="none" spc="0" normalizeH="0" baseline="0" noProof="0" smtClean="0">
                <a:ln>
                  <a:noFill/>
                </a:ln>
                <a:solidFill>
                  <a:srgbClr val="95BC4A"/>
                </a:solidFill>
                <a:effectLst/>
                <a:uLnTx/>
                <a:uFillTx/>
                <a:latin typeface="Gill Sans"/>
                <a:ea typeface="+mn-ea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srgbClr val="95BC4A"/>
              </a:solidFill>
              <a:effectLst/>
              <a:uLnTx/>
              <a:uFillTx/>
              <a:latin typeface="Gill Sans"/>
              <a:ea typeface="+mn-ea"/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67019" y="1433261"/>
            <a:ext cx="1744255" cy="1023336"/>
          </a:xfrm>
          <a:prstGeom prst="rect">
            <a:avLst/>
          </a:prstGeom>
          <a:solidFill>
            <a:srgbClr val="FFFFFF"/>
          </a:solidFill>
          <a:ln w="2857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28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LEARN/ FGV</a:t>
            </a:r>
          </a:p>
        </p:txBody>
      </p:sp>
      <p:sp>
        <p:nvSpPr>
          <p:cNvPr id="23" name="Rectangle 12"/>
          <p:cNvSpPr txBox="1"/>
          <p:nvPr/>
        </p:nvSpPr>
        <p:spPr>
          <a:xfrm>
            <a:off x="1901522" y="1390759"/>
            <a:ext cx="3366512" cy="1923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507 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escolas de EM </a:t>
            </a:r>
            <a:r>
              <a:rPr kumimoji="0" lang="pt-BR" sz="1500" b="0" i="0" u="none" strike="noStrike" kern="0" cap="none" spc="0" normalizeH="0" baseline="0" noProof="0" dirty="0" err="1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em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4 estados</a:t>
            </a:r>
          </a:p>
          <a:p>
            <a:pPr marL="550895" marR="0" lvl="2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0000"/>
              <a:buFont typeface="Candara" panose="020E0502030303020204" pitchFamily="34" charset="0"/>
              <a:buChar char="₋"/>
              <a:tabLst/>
              <a:defRPr/>
            </a:pP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306 escolas em Pernambuco (PE)</a:t>
            </a:r>
          </a:p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500" b="0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Como a escolha das escolas não foi aleatória, o impacto foi medido utilizando uma estratégia de diferenças em diferenças, com </a:t>
            </a:r>
            <a:r>
              <a:rPr kumimoji="0" lang="pt-BR" sz="1500" b="0" i="1" u="none" strike="noStrike" kern="1200" cap="none" spc="0" normalizeH="0" baseline="0" noProof="0" dirty="0" err="1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propensity</a:t>
            </a:r>
            <a:r>
              <a:rPr kumimoji="0" lang="pt-BR" sz="1500" b="0" i="1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score </a:t>
            </a:r>
            <a:r>
              <a:rPr kumimoji="0" lang="pt-BR" sz="1500" b="0" i="1" u="none" strike="noStrike" kern="1200" cap="none" spc="0" normalizeH="0" baseline="0" noProof="0" dirty="0" err="1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matching</a:t>
            </a:r>
            <a:r>
              <a:rPr kumimoji="0" lang="pt-BR" sz="1500" b="0" i="1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</a:t>
            </a:r>
            <a:r>
              <a:rPr kumimoji="0" lang="pt-BR" sz="1500" b="0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com base em características observáveis</a:t>
            </a:r>
            <a:endParaRPr kumimoji="0" lang="pt-BR" sz="1500" b="0" i="1" u="none" strike="noStrike" kern="0" cap="none" spc="0" normalizeH="0" baseline="0" noProof="0" dirty="0">
              <a:ln>
                <a:noFill/>
              </a:ln>
              <a:solidFill>
                <a:srgbClr val="0D64AD"/>
              </a:solidFill>
              <a:effectLst/>
              <a:uLnTx/>
              <a:uFillTx/>
              <a:latin typeface="Candara"/>
              <a:ea typeface="+mn-ea"/>
              <a:cs typeface="+mn-cs"/>
            </a:endParaRPr>
          </a:p>
        </p:txBody>
      </p:sp>
      <p:cxnSp>
        <p:nvCxnSpPr>
          <p:cNvPr id="45" name="Conector reto 44"/>
          <p:cNvCxnSpPr/>
          <p:nvPr/>
        </p:nvCxnSpPr>
        <p:spPr>
          <a:xfrm>
            <a:off x="2008169" y="3645240"/>
            <a:ext cx="6871381" cy="0"/>
          </a:xfrm>
          <a:prstGeom prst="line">
            <a:avLst/>
          </a:prstGeom>
          <a:ln w="3175"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to 45"/>
          <p:cNvCxnSpPr/>
          <p:nvPr/>
        </p:nvCxnSpPr>
        <p:spPr>
          <a:xfrm>
            <a:off x="2090057" y="6962505"/>
            <a:ext cx="6963057" cy="0"/>
          </a:xfrm>
          <a:prstGeom prst="line">
            <a:avLst/>
          </a:prstGeom>
          <a:ln w="3175"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McK Date"/>
          <p:cNvSpPr txBox="1">
            <a:spLocks noChangeArrowheads="1"/>
          </p:cNvSpPr>
          <p:nvPr/>
        </p:nvSpPr>
        <p:spPr bwMode="auto">
          <a:xfrm>
            <a:off x="1878657" y="921141"/>
            <a:ext cx="3389378" cy="248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Descrição do estudo</a:t>
            </a:r>
          </a:p>
        </p:txBody>
      </p:sp>
      <p:sp>
        <p:nvSpPr>
          <p:cNvPr id="49" name="Retângulo 48"/>
          <p:cNvSpPr/>
          <p:nvPr/>
        </p:nvSpPr>
        <p:spPr>
          <a:xfrm>
            <a:off x="1878655" y="1178041"/>
            <a:ext cx="3389379" cy="747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0" cap="none" spc="0" normalizeH="0" baseline="0" noProof="0" dirty="0" err="1">
              <a:ln>
                <a:noFill/>
              </a:ln>
              <a:solidFill>
                <a:srgbClr val="FDB82B"/>
              </a:solidFill>
              <a:effectLst/>
              <a:uLnTx/>
              <a:uFillTx/>
              <a:latin typeface="Candara"/>
              <a:ea typeface="+mn-ea"/>
              <a:cs typeface="+mn-cs"/>
            </a:endParaRPr>
          </a:p>
        </p:txBody>
      </p:sp>
      <p:sp>
        <p:nvSpPr>
          <p:cNvPr id="11" name="AutoShape 2" descr="https://sites.google.com/site/vponczek/_/rsrc/1472868692215/Home/LEARN_ingles_azul%20%281%29.png?height=70&amp;width=400"/>
          <p:cNvSpPr>
            <a:spLocks noChangeAspect="1" noChangeArrowheads="1"/>
          </p:cNvSpPr>
          <p:nvPr/>
        </p:nvSpPr>
        <p:spPr bwMode="auto">
          <a:xfrm>
            <a:off x="4245637" y="320833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DB82B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AutoShape 4" descr="https://sites.google.com/site/vponczek/_/rsrc/1472868692215/Home/LEARN_ingles_azul%20%281%29.png?height=70&amp;width=400"/>
          <p:cNvSpPr>
            <a:spLocks noChangeAspect="1" noChangeArrowheads="1"/>
          </p:cNvSpPr>
          <p:nvPr/>
        </p:nvSpPr>
        <p:spPr bwMode="auto">
          <a:xfrm>
            <a:off x="4605479" y="2882352"/>
            <a:ext cx="56750" cy="5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DB82B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1510" name="Picture 6" descr="https://5d85a0e9-a-62cb3a1a-s-sites.googlegroups.com/site/vponczek/Home/LEARN_ingles_azul%20%281%29.png?attachauth=ANoY7cpyWzNxGQFs_c-8z4pI9WwwnOUCpHkvJFdJOsapA9Tl2iteM8pVwZiSZPabgNiyOiSbjB1TdFdb0F0a-Bs9Ao2QKnCN8-zPru_1iikI83n16IS81jYnHuzjNI9AZR_OMILAAKcoVp11lLD7_n3VErNU4F0ZDEWTp8gtIUhDGkoa6knq4RRagKy0m7I-CoT2VK6bYDeQlc4n6l_g4IoQobLycY-8K1zTPjlvF6WupdpoEhghvaM%3D&amp;attredirects=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55" y="1859762"/>
            <a:ext cx="1644775" cy="290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12"/>
          <p:cNvSpPr txBox="1"/>
          <p:nvPr/>
        </p:nvSpPr>
        <p:spPr>
          <a:xfrm>
            <a:off x="5413583" y="1390759"/>
            <a:ext cx="3366512" cy="2192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Impacto positivo em </a:t>
            </a: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proficiência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de </a:t>
            </a: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0,41 d.p.</a:t>
            </a:r>
            <a:r>
              <a:rPr kumimoji="0" lang="pt-BR" sz="1500" b="0" i="0" u="none" strike="noStrike" kern="0" cap="none" spc="0" normalizeH="0" baseline="3000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1</a:t>
            </a: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em PE</a:t>
            </a:r>
            <a:r>
              <a:rPr kumimoji="0" lang="pt-BR" sz="1500" b="0" i="0" u="none" strike="noStrike" kern="0" cap="none" spc="0" normalizeH="0" baseline="3000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após 3 anos</a:t>
            </a:r>
            <a:endParaRPr kumimoji="0" lang="pt-BR" sz="1500" b="0" i="0" u="none" strike="noStrike" kern="0" cap="none" spc="0" normalizeH="0" baseline="30000" noProof="0" dirty="0">
              <a:ln>
                <a:noFill/>
              </a:ln>
              <a:solidFill>
                <a:srgbClr val="0D64AD"/>
              </a:solidFill>
              <a:effectLst/>
              <a:uLnTx/>
              <a:uFillTx/>
              <a:latin typeface="Candara"/>
              <a:ea typeface="+mn-ea"/>
              <a:cs typeface="+mn-cs"/>
            </a:endParaRPr>
          </a:p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Impacto negativo (desejável) de </a:t>
            </a: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0,38 d.p.</a:t>
            </a:r>
            <a:r>
              <a:rPr kumimoji="0" lang="pt-BR" sz="1500" b="0" i="0" u="none" strike="noStrike" kern="0" cap="none" spc="0" normalizeH="0" baseline="3000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1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em </a:t>
            </a: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abandono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, </a:t>
            </a: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0,52 d.p.</a:t>
            </a:r>
            <a:r>
              <a:rPr kumimoji="0" lang="pt-BR" sz="1500" b="0" i="0" u="none" strike="noStrike" kern="0" cap="none" spc="0" normalizeH="0" baseline="3000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1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em </a:t>
            </a: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distorção idade-série e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</a:t>
            </a: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0,37 d.p.</a:t>
            </a:r>
            <a:r>
              <a:rPr kumimoji="0" lang="pt-BR" sz="1500" b="0" i="0" u="none" strike="noStrike" kern="0" cap="none" spc="0" normalizeH="0" baseline="3000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1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em </a:t>
            </a: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reprovação em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PE</a:t>
            </a:r>
          </a:p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Impacto maior em escolas com 45h semanais (vs. 35h semanais)</a:t>
            </a:r>
          </a:p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Não há efeito </a:t>
            </a:r>
            <a:r>
              <a:rPr kumimoji="0" lang="pt-BR" sz="1500" b="0" i="1" u="none" strike="noStrike" kern="0" cap="none" spc="0" normalizeH="0" baseline="0" noProof="0" dirty="0" err="1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spillover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em PE</a:t>
            </a:r>
            <a:r>
              <a:rPr kumimoji="0" lang="pt-BR" sz="1500" b="0" i="0" u="none" strike="noStrike" kern="0" cap="none" spc="0" normalizeH="0" baseline="3000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2</a:t>
            </a:r>
            <a:endParaRPr kumimoji="0" lang="pt-BR" sz="1500" b="0" i="0" u="none" strike="noStrike" kern="0" cap="none" spc="0" normalizeH="0" baseline="0" noProof="0" dirty="0">
              <a:ln>
                <a:noFill/>
              </a:ln>
              <a:solidFill>
                <a:srgbClr val="0D64AD"/>
              </a:solidFill>
              <a:effectLst/>
              <a:uLnTx/>
              <a:uFillTx/>
              <a:latin typeface="Candara"/>
              <a:ea typeface="+mn-ea"/>
              <a:cs typeface="+mn-cs"/>
            </a:endParaRPr>
          </a:p>
        </p:txBody>
      </p:sp>
      <p:sp>
        <p:nvSpPr>
          <p:cNvPr id="63" name="McK Date"/>
          <p:cNvSpPr txBox="1">
            <a:spLocks noChangeArrowheads="1"/>
          </p:cNvSpPr>
          <p:nvPr/>
        </p:nvSpPr>
        <p:spPr bwMode="auto">
          <a:xfrm>
            <a:off x="5390718" y="921141"/>
            <a:ext cx="3389378" cy="248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Principais resultados</a:t>
            </a:r>
          </a:p>
        </p:txBody>
      </p:sp>
      <p:sp>
        <p:nvSpPr>
          <p:cNvPr id="64" name="Retângulo 63"/>
          <p:cNvSpPr/>
          <p:nvPr/>
        </p:nvSpPr>
        <p:spPr>
          <a:xfrm>
            <a:off x="5390716" y="1178041"/>
            <a:ext cx="3389379" cy="747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0" cap="none" spc="0" normalizeH="0" baseline="0" noProof="0" dirty="0" err="1">
              <a:ln>
                <a:noFill/>
              </a:ln>
              <a:solidFill>
                <a:srgbClr val="FDB82B"/>
              </a:solidFill>
              <a:effectLst/>
              <a:uLnTx/>
              <a:uFillTx/>
              <a:latin typeface="Candara"/>
              <a:ea typeface="+mn-ea"/>
              <a:cs typeface="+mn-cs"/>
            </a:endParaRPr>
          </a:p>
        </p:txBody>
      </p:sp>
      <p:sp>
        <p:nvSpPr>
          <p:cNvPr id="66" name="Retângulo 65"/>
          <p:cNvSpPr/>
          <p:nvPr/>
        </p:nvSpPr>
        <p:spPr>
          <a:xfrm>
            <a:off x="67019" y="3756031"/>
            <a:ext cx="1744255" cy="1023336"/>
          </a:xfrm>
          <a:prstGeom prst="rect">
            <a:avLst/>
          </a:prstGeom>
          <a:solidFill>
            <a:srgbClr val="FFFFFF"/>
          </a:solidFill>
          <a:ln w="2857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28" b="1" i="0" u="none" strike="noStrike" kern="0" cap="none" spc="0" normalizeH="0" baseline="0" noProof="0" dirty="0" err="1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Bain</a:t>
            </a:r>
            <a:r>
              <a:rPr kumimoji="0" lang="pt-BR" sz="1428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&amp; </a:t>
            </a:r>
            <a:r>
              <a:rPr kumimoji="0" lang="pt-BR" sz="1428" b="1" i="0" u="none" strike="noStrike" kern="0" cap="none" spc="0" normalizeH="0" baseline="0" noProof="0" dirty="0" err="1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Company</a:t>
            </a:r>
            <a:endParaRPr kumimoji="0" lang="pt-BR" sz="1428" b="1" i="0" u="none" strike="noStrike" kern="0" cap="none" spc="0" normalizeH="0" baseline="0" noProof="0" dirty="0">
              <a:ln>
                <a:noFill/>
              </a:ln>
              <a:solidFill>
                <a:srgbClr val="0D64AD"/>
              </a:solidFill>
              <a:effectLst/>
              <a:uLnTx/>
              <a:uFillTx/>
              <a:latin typeface="Candara"/>
              <a:ea typeface="+mn-ea"/>
              <a:cs typeface="+mn-cs"/>
            </a:endParaRPr>
          </a:p>
        </p:txBody>
      </p:sp>
      <p:sp>
        <p:nvSpPr>
          <p:cNvPr id="67" name="Rectangle 12"/>
          <p:cNvSpPr txBox="1"/>
          <p:nvPr/>
        </p:nvSpPr>
        <p:spPr>
          <a:xfrm>
            <a:off x="1901522" y="3713529"/>
            <a:ext cx="3366512" cy="961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Dois </a:t>
            </a:r>
            <a:r>
              <a:rPr kumimoji="0" lang="pt-BR" sz="1500" b="1" i="1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clusters</a:t>
            </a: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de escolas comparáveis (</a:t>
            </a:r>
            <a:r>
              <a:rPr kumimoji="0" lang="pt-BR" sz="1500" b="0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um de escolas mais privilegiadas e outro de mais vulneráveis)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D64AD"/>
              </a:solidFill>
              <a:effectLst/>
              <a:uLnTx/>
              <a:uFillTx/>
              <a:latin typeface="Candara"/>
              <a:ea typeface="+mn-ea"/>
              <a:cs typeface="+mn-cs"/>
            </a:endParaRPr>
          </a:p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Dados de PE</a:t>
            </a:r>
            <a:endParaRPr kumimoji="0" lang="pt-BR" sz="1500" b="0" i="0" u="none" strike="noStrike" kern="0" cap="none" spc="0" normalizeH="0" baseline="0" noProof="0" dirty="0">
              <a:ln>
                <a:noFill/>
              </a:ln>
              <a:solidFill>
                <a:srgbClr val="0D64AD"/>
              </a:solidFill>
              <a:effectLst/>
              <a:uLnTx/>
              <a:uFillTx/>
              <a:latin typeface="Candara"/>
              <a:ea typeface="+mn-ea"/>
              <a:cs typeface="+mn-cs"/>
            </a:endParaRPr>
          </a:p>
        </p:txBody>
      </p:sp>
      <p:sp>
        <p:nvSpPr>
          <p:cNvPr id="69" name="Rectangle 12"/>
          <p:cNvSpPr txBox="1"/>
          <p:nvPr/>
        </p:nvSpPr>
        <p:spPr>
          <a:xfrm>
            <a:off x="5413582" y="3713529"/>
            <a:ext cx="3557643" cy="1192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500" b="0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Escolas em tempo integral atingem </a:t>
            </a: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melhores resultados</a:t>
            </a:r>
          </a:p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500" b="0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Escolas em tempo integral no cluster menos privilegiado </a:t>
            </a: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diminuem as diferenças.</a:t>
            </a:r>
            <a:endParaRPr kumimoji="0" lang="pt-BR" sz="1500" b="1" i="0" u="none" strike="noStrike" kern="0" cap="none" spc="0" normalizeH="0" baseline="0" noProof="0" dirty="0">
              <a:ln>
                <a:noFill/>
              </a:ln>
              <a:solidFill>
                <a:srgbClr val="0D64AD"/>
              </a:solidFill>
              <a:effectLst/>
              <a:uLnTx/>
              <a:uFillTx/>
              <a:latin typeface="Candara"/>
              <a:ea typeface="+mn-ea"/>
              <a:cs typeface="+mn-cs"/>
            </a:endParaRPr>
          </a:p>
        </p:txBody>
      </p:sp>
      <p:pic>
        <p:nvPicPr>
          <p:cNvPr id="21518" name="Picture 14" descr="Resultado de imagem para bain &amp; company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927" y="4098486"/>
            <a:ext cx="946478" cy="591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5" name="Conector reto 74"/>
          <p:cNvCxnSpPr/>
          <p:nvPr/>
        </p:nvCxnSpPr>
        <p:spPr>
          <a:xfrm>
            <a:off x="2008169" y="4969075"/>
            <a:ext cx="6871381" cy="0"/>
          </a:xfrm>
          <a:prstGeom prst="line">
            <a:avLst/>
          </a:prstGeom>
          <a:ln w="3175"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Retângulo 75"/>
          <p:cNvSpPr/>
          <p:nvPr/>
        </p:nvSpPr>
        <p:spPr>
          <a:xfrm>
            <a:off x="67019" y="5052570"/>
            <a:ext cx="1744255" cy="1023336"/>
          </a:xfrm>
          <a:prstGeom prst="rect">
            <a:avLst/>
          </a:prstGeom>
          <a:solidFill>
            <a:srgbClr val="FFFFFF"/>
          </a:solidFill>
          <a:ln w="2857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28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Análise interna</a:t>
            </a:r>
          </a:p>
        </p:txBody>
      </p:sp>
      <p:sp>
        <p:nvSpPr>
          <p:cNvPr id="77" name="Rectangle 12"/>
          <p:cNvSpPr txBox="1"/>
          <p:nvPr/>
        </p:nvSpPr>
        <p:spPr>
          <a:xfrm>
            <a:off x="1901522" y="5037364"/>
            <a:ext cx="3366512" cy="1023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Dados de PE</a:t>
            </a:r>
          </a:p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Metodologia adaptada </a:t>
            </a:r>
            <a:r>
              <a:rPr kumimoji="0" lang="pt-BR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do estudo do LEARN, com a utilização de dados </a:t>
            </a: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nível aluno </a:t>
            </a:r>
            <a:r>
              <a:rPr kumimoji="0" lang="pt-BR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do </a:t>
            </a: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SAEPE</a:t>
            </a:r>
          </a:p>
        </p:txBody>
      </p:sp>
      <p:sp>
        <p:nvSpPr>
          <p:cNvPr id="78" name="Rectangle 12"/>
          <p:cNvSpPr txBox="1"/>
          <p:nvPr/>
        </p:nvSpPr>
        <p:spPr>
          <a:xfrm>
            <a:off x="5413582" y="5037364"/>
            <a:ext cx="3557643" cy="500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500" b="0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Matemática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: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0.39 </a:t>
            </a: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d.p.</a:t>
            </a:r>
            <a:r>
              <a:rPr kumimoji="0" lang="pt-BR" sz="1500" b="0" i="0" u="none" strike="noStrike" kern="0" cap="none" spc="0" normalizeH="0" baseline="3000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1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</a:t>
            </a:r>
            <a:r>
              <a:rPr kumimoji="0" lang="pt-BR" sz="1500" b="0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após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3 </a:t>
            </a:r>
            <a:r>
              <a:rPr kumimoji="0" lang="pt-BR" sz="1500" b="0" i="0" u="none" strike="noStrike" kern="120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anos</a:t>
            </a:r>
          </a:p>
          <a:p>
            <a:pPr marL="287370" marR="0" lvl="1" indent="-28575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Português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: </a:t>
            </a: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0.29 </a:t>
            </a: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d.p.</a:t>
            </a:r>
            <a:r>
              <a:rPr kumimoji="0" lang="pt-BR" sz="1500" b="0" i="0" u="none" strike="noStrike" kern="0" cap="none" spc="0" normalizeH="0" baseline="3000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1</a:t>
            </a: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</a:t>
            </a:r>
            <a:r>
              <a:rPr kumimoji="0" lang="pt-BR" sz="15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após 3 anos</a:t>
            </a:r>
          </a:p>
        </p:txBody>
      </p:sp>
      <p:sp>
        <p:nvSpPr>
          <p:cNvPr id="21509" name="AutoShape 16" descr="Lemann Center"/>
          <p:cNvSpPr>
            <a:spLocks noChangeAspect="1" noChangeArrowheads="1"/>
          </p:cNvSpPr>
          <p:nvPr/>
        </p:nvSpPr>
        <p:spPr bwMode="auto">
          <a:xfrm>
            <a:off x="1350810" y="5713759"/>
            <a:ext cx="170818" cy="170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DB82B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7" name="Imagem 26">
            <a:extLst>
              <a:ext uri="{FF2B5EF4-FFF2-40B4-BE49-F238E27FC236}">
                <a16:creationId xmlns:a16="http://schemas.microsoft.com/office/drawing/2014/main" xmlns="" id="{76314F91-E9E5-4838-9B60-88BF41D2649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07" t="24034" r="24861" b="30730"/>
          <a:stretch/>
        </p:blipFill>
        <p:spPr>
          <a:xfrm>
            <a:off x="636367" y="5381840"/>
            <a:ext cx="624196" cy="604222"/>
          </a:xfrm>
          <a:prstGeom prst="rect">
            <a:avLst/>
          </a:prstGeom>
        </p:spPr>
      </p:pic>
      <p:sp>
        <p:nvSpPr>
          <p:cNvPr id="28" name="CaixaDeTexto 27">
            <a:extLst>
              <a:ext uri="{FF2B5EF4-FFF2-40B4-BE49-F238E27FC236}">
                <a16:creationId xmlns:a16="http://schemas.microsoft.com/office/drawing/2014/main" xmlns="" id="{7BDA6F73-DED8-4E52-9C95-934F0C5DFF31}"/>
              </a:ext>
            </a:extLst>
          </p:cNvPr>
          <p:cNvSpPr txBox="1"/>
          <p:nvPr/>
        </p:nvSpPr>
        <p:spPr>
          <a:xfrm>
            <a:off x="330275" y="6329430"/>
            <a:ext cx="6089295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pPr marL="1620" marR="0" lvl="1" indent="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Tx/>
              <a:buFontTx/>
              <a:buNone/>
              <a:tabLst/>
              <a:defRPr/>
            </a:pPr>
            <a:r>
              <a:rPr kumimoji="0" lang="pt-BR" sz="10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1 -  Estatisticamente significativo a 1%</a:t>
            </a:r>
          </a:p>
          <a:p>
            <a:pPr marL="1620" marR="0" lvl="1" indent="0" algn="l" defTabSz="913526" rtl="0" eaLnBrk="1" fontAlgn="base" latinLnBrk="0" hangingPunct="1">
              <a:lnSpc>
                <a:spcPct val="100000"/>
              </a:lnSpc>
              <a:spcBef>
                <a:spcPts val="306"/>
              </a:spcBef>
              <a:spcAft>
                <a:spcPct val="0"/>
              </a:spcAft>
              <a:buClr>
                <a:srgbClr val="464649"/>
              </a:buClr>
              <a:buSzTx/>
              <a:buFontTx/>
              <a:buNone/>
              <a:tabLst/>
              <a:defRPr/>
            </a:pPr>
            <a:r>
              <a:rPr kumimoji="0" lang="pt-BR" sz="10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2 – Alguns efeitos </a:t>
            </a:r>
            <a:r>
              <a:rPr kumimoji="0" lang="pt-BR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spillover</a:t>
            </a:r>
            <a:r>
              <a:rPr kumimoji="0" lang="pt-BR" sz="1000" b="0" i="0" u="none" strike="noStrike" kern="0" cap="none" spc="0" normalizeH="0" baseline="0" noProof="0" dirty="0">
                <a:ln>
                  <a:noFill/>
                </a:ln>
                <a:solidFill>
                  <a:srgbClr val="0D64AD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 negativos (indesejáveis) em outros estados, onde há seleção de estudantes</a:t>
            </a:r>
          </a:p>
        </p:txBody>
      </p:sp>
      <p:pic>
        <p:nvPicPr>
          <p:cNvPr id="29" name="Picture 2" descr="Bandeira de Pernambuco">
            <a:extLst>
              <a:ext uri="{FF2B5EF4-FFF2-40B4-BE49-F238E27FC236}">
                <a16:creationId xmlns:a16="http://schemas.microsoft.com/office/drawing/2014/main" xmlns="" id="{8E308C29-78C2-4386-8BE3-906B39D5B3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4109" y="91282"/>
            <a:ext cx="354546" cy="26967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8120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9w5TjJRtaW1.6Udojj6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RblpLRyKf98Rhk6fdZ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RblpLRyKf98Rhk6fdZ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RblpLRyKf98Rhk6fdZ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RblpLRyKf98Rhk6fdZ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RblpLRyKf98Rhk6fdZ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9w5TjJRtaW1.6Udojj6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9w5TjJRtaW1.6Udojj6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9w5TjJRtaW1.6Udojj6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9w5TjJRtaW1.6Udojj6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R2tfIURDGW7e8btGzd0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6815479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RblpLRyKf98Rhk6fdZ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RblpLRyKf98Rhk6fdZ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RblpLRyKf98Rhk6fdZ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RblpLRyKf98Rhk6fdZ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RblpLRyKf98Rhk6fdZ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vhw7.VT5aEf7lNM3nLd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pqw4R2EEmI1eqOhG06d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41u5Z.QMmQ_Pxcu94M.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CLDhO0SYqVfj3HZTu4Y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vphSC1UEG4IgCBre.Z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TKLZtWb02TOYUcK9i_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halQioUG8ZZB4em4S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ZPZsLBLEqUsRHOIYaH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nf3ugRZ0WnJEYYcqgO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zIIP.AeEuCfXR7lnSp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CBQSAfc3ek6LUB2mRc86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XOfEp2Rqew7iH_57Jj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3QRe3kTeC37wSdh8pQ4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J2UfdT7CbikOHusl6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sRe5ceTomYUvjkVFWP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pJh7t4QfG6KKGF4KPb0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xLzLvZSSGygJGg5VLJ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W0FPVPTJOl4I5EeGOQ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FaVG3HSXeWzjwNFpBW8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q77D8bS7CWkSPvcQAN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Ckpz4HRLC_RaVKHm1P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ZklZLpRqa7DsJNNnlZ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.1WE2WTaa_6awq82FrT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vGDnTKRxeZWO99Y9Z_3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KbdVOTumJRrTPmvWJs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2rXY_USxiY2EnH5kCq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CHWyd7SeqOB3FFWSqCQ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5_4n_1QcGXu26Uj6a.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RA9NO8Tl.r2E2hOU5X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TKxHtbQIuFvEKm1ake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hCDOxYTtGo06iamicRm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Ucu0gpSa.GSuyr3e09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C.Ct5uTO.murfEGPDv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6d6JS_Sbip0vmrbI99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cVFXnPS06mzOnowq2m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ylWpJR1G0k5Rm7pvik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Iou8LUSfCifONljt5j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waUI6lSdeLWNQLrO7h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RhzcxnQMCuFfcMggH6u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7vJBtYSPivXRDBUycE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Q0MHsKPk.Jjk3Fo2t37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xHWyOGShqmg2Ta59enN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Xe6MaZRNOH_KgQviGY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wRPdw.Q8OUjpQJq86D8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dkxybQQb6vTGdyts1I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iTCxmqR1qxJvqgCwor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4RzT29R16BlLR1oBrJG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H.qm7dSvSHRe4KQWIW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qJRUUhQ6CvPco8wB6my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TD14nIRUSKSdlsm5dEY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q1BeM7TkudXRiJ87z85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85nLBLpUCWtQq5UMzph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PLvtbzT3O05F0RppXfO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jdHS9jTEWoUBnJjYmcu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kYzmRlSHuDWhrBziH5j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FoXnR2TrGLq2TNjws.A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ZpQboNRQaHS1lmMlQzC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zk91AESqK7qnxM.dFbZ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gVl57QPuy5Nko3OGkP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XQTQKNRYyzJZkU7rqCt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5aYR1WROeQYcPlbfTc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y1zTncQnKmuAVOoO9Q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ntZvt4EU2JwpTOPIvwL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AjvEsSRpO_dY.9qC2gF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CrAbMpS46xZqzWK2frS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TmIcFiT5S_YZqDYBE8O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sa8WdaTYCAC26ZiGiW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hF2MeIQmyG6wWXuwQ57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UulkQuT1q0Yp4GkkKqB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lJyc_GSgGPdvAy73DA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F9pZqKSoi5nCc5MMvfN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ImMQ.bFkOQgQ7FJRCI6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Wr0WVtSUKXXGzCTIX9v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c6wTEPSiCYUWQ9Du9hU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m_ye.sRyeKkUkbvqx.b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kFODqpSdO4ih9.N1vZ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h7H2FSA6kGRydM.dKP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Fuj0hWQQq3x2c9tYMpp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ceDIDWQem5syNT3W7C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aF3LFVSS.dqSlwxPAVc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r4U4WtTh.DqK.MBJAqi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IkWC6EQiywWlqXk.En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uo_hdVLkOG8kWTzUb_a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qMfrJpSgO7.VPS1MzQ2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y.UYdsRCOJzQatRVqnR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jtwcSARMKKNuT29MNV2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.xgM0DR1mwLd5rs0LYi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DZin7oTRuHFOVzixg4J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1FjGJgS8mei9jvH02lp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niHFltR7mKdpbweiVHp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m9f9KrRyy8bg6mMD_vZ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TM7CFMTNW5unx9VtIpAQ"/>
</p:tagLst>
</file>

<file path=ppt/theme/theme1.xml><?xml version="1.0" encoding="utf-8"?>
<a:theme xmlns:a="http://schemas.openxmlformats.org/drawingml/2006/main" name="ISG">
  <a:themeElements>
    <a:clrScheme name="SONHO_GRANDE">
      <a:dk1>
        <a:srgbClr val="FDB82B"/>
      </a:dk1>
      <a:lt1>
        <a:srgbClr val="A0007F"/>
      </a:lt1>
      <a:dk2>
        <a:srgbClr val="0D64AD"/>
      </a:dk2>
      <a:lt2>
        <a:srgbClr val="85B232"/>
      </a:lt2>
      <a:accent1>
        <a:srgbClr val="464649"/>
      </a:accent1>
      <a:accent2>
        <a:srgbClr val="B60018"/>
      </a:accent2>
      <a:accent3>
        <a:srgbClr val="E0500B"/>
      </a:accent3>
      <a:accent4>
        <a:srgbClr val="179A9D"/>
      </a:accent4>
      <a:accent5>
        <a:srgbClr val="FB0253"/>
      </a:accent5>
      <a:accent6>
        <a:srgbClr val="6D00A6"/>
      </a:accent6>
      <a:hlink>
        <a:srgbClr val="0D63AC"/>
      </a:hlink>
      <a:folHlink>
        <a:srgbClr val="85B132"/>
      </a:folHlink>
    </a:clrScheme>
    <a:fontScheme name="Orbit">
      <a:majorFont>
        <a:latin typeface="Candara"/>
        <a:ea typeface=""/>
        <a:cs typeface=""/>
        <a:font script="Jpan" typeface="ＭＳ Ｐゴシック"/>
        <a:font script="Hans" typeface="宋体"/>
        <a:font script="Hant" typeface="新細明體"/>
      </a:majorFont>
      <a:minorFont>
        <a:latin typeface="Candara"/>
        <a:ea typeface=""/>
        <a:cs typeface=""/>
        <a:font script="Jpan" typeface="ＭＳ Ｐゴシック"/>
        <a:font script="Hans" typeface="宋体"/>
        <a:font script="Hant" typeface="新細明體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G" id="{FBCA6393-ECCF-4338-B6BA-AF5FB385B21F}" vid="{EAC525F7-8D03-439B-AABC-841E15DEB430}"/>
    </a:ext>
  </a:extLst>
</a:theme>
</file>

<file path=ppt/theme/theme2.xml><?xml version="1.0" encoding="utf-8"?>
<a:theme xmlns:a="http://schemas.openxmlformats.org/drawingml/2006/main" name="Firm Format - Portuguese (Brazil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Firm Format 2">
    <a:dk1>
      <a:srgbClr val="000000"/>
    </a:dk1>
    <a:lt1>
      <a:srgbClr val="FFFFFF"/>
    </a:lt1>
    <a:dk2>
      <a:srgbClr val="002960"/>
    </a:dk2>
    <a:lt2>
      <a:srgbClr val="FFFFFF"/>
    </a:lt2>
    <a:accent1>
      <a:srgbClr val="C7E0FB"/>
    </a:accent1>
    <a:accent2>
      <a:srgbClr val="91B0FF"/>
    </a:accent2>
    <a:accent3>
      <a:srgbClr val="0066CC"/>
    </a:accent3>
    <a:accent4>
      <a:srgbClr val="002960"/>
    </a:accent4>
    <a:accent5>
      <a:srgbClr val="FF6600"/>
    </a:accent5>
    <a:accent6>
      <a:srgbClr val="808080"/>
    </a:accent6>
    <a:hlink>
      <a:srgbClr val="0066CC"/>
    </a:hlink>
    <a:folHlink>
      <a:srgbClr val="002960"/>
    </a:folHlink>
  </a:clrScheme>
  <a:fontScheme name="Default Design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93221A4DC29C140B2A9B7A612E4CD54" ma:contentTypeVersion="10" ma:contentTypeDescription="Crie um novo documento." ma:contentTypeScope="" ma:versionID="95c5142142d96680531e3949b7086559">
  <xsd:schema xmlns:xsd="http://www.w3.org/2001/XMLSchema" xmlns:xs="http://www.w3.org/2001/XMLSchema" xmlns:p="http://schemas.microsoft.com/office/2006/metadata/properties" xmlns:ns2="1a415c1e-176c-4d3d-b96c-2d48fb7e5363" xmlns:ns3="ddec7c2a-b879-4e7c-9173-cbb11a1ad50e" targetNamespace="http://schemas.microsoft.com/office/2006/metadata/properties" ma:root="true" ma:fieldsID="22ac7ded7c5418ca945bf87ef7786c57" ns2:_="" ns3:_="">
    <xsd:import namespace="1a415c1e-176c-4d3d-b96c-2d48fb7e5363"/>
    <xsd:import namespace="ddec7c2a-b879-4e7c-9173-cbb11a1ad50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15c1e-176c-4d3d-b96c-2d48fb7e53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ec7c2a-b879-4e7c-9173-cbb11a1ad50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dec7c2a-b879-4e7c-9173-cbb11a1ad50e">
      <UserInfo>
        <DisplayName>Igor Lima</DisplayName>
        <AccountId>24</AccountId>
        <AccountType/>
      </UserInfo>
      <UserInfo>
        <DisplayName>Sandro Castro</DisplayName>
        <AccountId>1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E818E952-A85F-4550-B06B-2E8B9BD1779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7C93D28-4183-46BB-A1A9-95D5D49006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415c1e-176c-4d3d-b96c-2d48fb7e5363"/>
    <ds:schemaRef ds:uri="ddec7c2a-b879-4e7c-9173-cbb11a1ad5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12B92C9-4D8E-4A11-94D1-8BE8F386385C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ddec7c2a-b879-4e7c-9173-cbb11a1ad50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1a415c1e-176c-4d3d-b96c-2d48fb7e536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rm Format - Portuguese (Brazil)</Template>
  <TotalTime>68746</TotalTime>
  <Words>3387</Words>
  <Application>Microsoft Office PowerPoint</Application>
  <PresentationFormat>Personalizar</PresentationFormat>
  <Paragraphs>611</Paragraphs>
  <Slides>34</Slides>
  <Notes>26</Notes>
  <HiddenSlides>0</HiddenSlides>
  <MMClips>0</MMClips>
  <ScaleCrop>false</ScaleCrop>
  <HeadingPairs>
    <vt:vector size="8" baseType="variant">
      <vt:variant>
        <vt:lpstr>Fontes usadas</vt:lpstr>
      </vt:variant>
      <vt:variant>
        <vt:i4>15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34</vt:i4>
      </vt:variant>
    </vt:vector>
  </HeadingPairs>
  <TitlesOfParts>
    <vt:vector size="53" baseType="lpstr">
      <vt:lpstr>MS PGothic</vt:lpstr>
      <vt:lpstr>Arial</vt:lpstr>
      <vt:lpstr>Arial Black</vt:lpstr>
      <vt:lpstr>Azo Sans Black</vt:lpstr>
      <vt:lpstr>Berlin Sans FB Demi</vt:lpstr>
      <vt:lpstr>Calibri</vt:lpstr>
      <vt:lpstr>Candara</vt:lpstr>
      <vt:lpstr>Century Gothic</vt:lpstr>
      <vt:lpstr>Copperplate Gothic Bold</vt:lpstr>
      <vt:lpstr>Elephant</vt:lpstr>
      <vt:lpstr>Gill Sans</vt:lpstr>
      <vt:lpstr>NaturaSans</vt:lpstr>
      <vt:lpstr>Neutra Text</vt:lpstr>
      <vt:lpstr>Neutra Text-Bold</vt:lpstr>
      <vt:lpstr>Rubrik</vt:lpstr>
      <vt:lpstr>ISG</vt:lpstr>
      <vt:lpstr>Firm Format - Portuguese (Brazil)</vt:lpstr>
      <vt:lpstr>Slide do think-cell</vt:lpstr>
      <vt:lpstr>Chart</vt:lpstr>
      <vt:lpstr>Ensino médio em tempo integral </vt:lpstr>
      <vt:lpstr>ESCOLA INTEGRAL PARA FORMAR PARA A VIDA</vt:lpstr>
      <vt:lpstr>UMA formação integral, com foco EM RESULTADOS E na redução da desigualdade social</vt:lpstr>
      <vt:lpstr>O CASO DE PERNAMBUCO: APRENDIZAGEM E FLUXO </vt:lpstr>
      <vt:lpstr>PERNAMBUCO Apresenta uma situação socioeconômica desafiadora</vt:lpstr>
      <vt:lpstr>EM APENAS 8 ANOS, O estado de Pernambuco SAIU DA 22ª posição e alcançou As primeiras posições no ideb</vt:lpstr>
      <vt:lpstr>AS ESCOLAS INTEGRAIS DE PERNAMBUCO EM NÚMEROS</vt:lpstr>
      <vt:lpstr>IDEB 2017 DE Pernambuco, dividido por grupos de escolas </vt:lpstr>
      <vt:lpstr>Principais características de algumas análises de impacto realizadas</vt:lpstr>
      <vt:lpstr>O CASO DE Pernambuco: resultados positivos NA DIMINUIÇÃO DAS DESIGUALDADES SOCIAIS </vt:lpstr>
      <vt:lpstr>Saeb 2017: menores diferenças em proficiência, considerando o nível socioeconômico nas escolas em pernambuco</vt:lpstr>
      <vt:lpstr>IDEPE 2015: O nível socioeconômico está correlacionado com a renda em escolas parciais, mas não em escolas integrais</vt:lpstr>
      <vt:lpstr>As escolas integrais contribuem com as reduções das desigualdades sociais</vt:lpstr>
      <vt:lpstr>Principais CARACTERÍSTICAS da política DE FOMENTO</vt:lpstr>
      <vt:lpstr>A política DE FOMENTO AO emti em números até 2018</vt:lpstr>
      <vt:lpstr>O EMTI tem impacto equivalente a aumentar cerca de três anos letivos em comparação às escolas parciais</vt:lpstr>
      <vt:lpstr>A AMOSTRA PARA ANÁLISE ECONOMÉTRICA do ideb tem 105 ESCOLAS</vt:lpstr>
      <vt:lpstr>Resultados da primeira portaria no ideb 2017: efeito de 0.6 ponto no ideb das escolas integrais</vt:lpstr>
      <vt:lpstr>É POSSÍVEL EXPANDIR AS ESCOLAS INTEGRAIS A CUSTOS FACTÍVEIS </vt:lpstr>
      <vt:lpstr>CUSTO por aluno formado na escola integral </vt:lpstr>
      <vt:lpstr>Apresentação do PowerPoint</vt:lpstr>
      <vt:lpstr>Os estudantes demonstram satisfação com as escolas integrais</vt:lpstr>
      <vt:lpstr>A percepção dos estudantes dO eMti é mais positiva em comparação com seus pares das escolas EM TEMPO PARCIAL</vt:lpstr>
      <vt:lpstr>As ESCOLAS INTEGRAIS PODEM RESIGNIFICAR O ENSINO MÉDIO PARA OS JOVENS  </vt:lpstr>
      <vt:lpstr>AS ESCOLAS INTEGRAIS PODEM CONTRIBUIR NA RESSIGNIFICAÇÃO DO ENSINO MÉDIO PARA OS JOVENS. </vt:lpstr>
      <vt:lpstr>As escolas integrais melhoram acesso ao ensino superior e têm impacto sobre renda dos egressos</vt:lpstr>
      <vt:lpstr>EM PERNAMBUCO, O ENSINO INTEGRAL TEM  IMPACTO POSITIVO EM ESCOLARIDADE, RENDA E EQUIDADE</vt:lpstr>
      <vt:lpstr>O acesso ao ensino superior aumenta</vt:lpstr>
      <vt:lpstr>O aumento potencial de renda é expressivo: 19% do salário logo nos primeiros anos </vt:lpstr>
      <vt:lpstr>O impacto na promoção da equidade: RAÇA E GÊNERO</vt:lpstr>
      <vt:lpstr>Outras elementos de melhoria nas condições de vida dos egressos das escolas integrais</vt:lpstr>
      <vt:lpstr>Back-up</vt:lpstr>
      <vt:lpstr>Legenda – níveis socioeconômicos</vt:lpstr>
      <vt:lpstr>ANÁLISE COM EGRESSOS EM PERNAMBUCO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angel Barbosa</dc:creator>
  <cp:lastModifiedBy>Angela Silva Da Veiga</cp:lastModifiedBy>
  <cp:revision>2767</cp:revision>
  <cp:lastPrinted>2015-05-18T16:15:56Z</cp:lastPrinted>
  <dcterms:created xsi:type="dcterms:W3CDTF">2013-12-30T17:52:59Z</dcterms:created>
  <dcterms:modified xsi:type="dcterms:W3CDTF">2018-12-12T10:4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a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  <property fmtid="{D5CDD505-2E9C-101B-9397-08002B2CF9AE}" pid="11" name="ContentTypeId">
    <vt:lpwstr>0x010100293221A4DC29C140B2A9B7A612E4CD54</vt:lpwstr>
  </property>
</Properties>
</file>